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12"/>
  </p:notesMasterIdLst>
  <p:sldIdLst>
    <p:sldId id="2147480027" r:id="rId5"/>
    <p:sldId id="2147480029" r:id="rId6"/>
    <p:sldId id="2147480020" r:id="rId7"/>
    <p:sldId id="2147480036" r:id="rId8"/>
    <p:sldId id="2147480024" r:id="rId9"/>
    <p:sldId id="2147480033" r:id="rId10"/>
    <p:sldId id="2147480034" r:id="rId11"/>
  </p:sldIdLst>
  <p:sldSz cx="24384000" cy="13716000"/>
  <p:notesSz cx="6858000" cy="9144000"/>
  <p:custDataLst>
    <p:tags r:id="rId13"/>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1pPr>
    <a:lvl2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2pPr>
    <a:lvl3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3pPr>
    <a:lvl4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4pPr>
    <a:lvl5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5pPr>
    <a:lvl6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6pPr>
    <a:lvl7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7pPr>
    <a:lvl8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8pPr>
    <a:lvl9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85410D0-8B8C-A12C-A42B-6F052CBE8387}" name="Tuma, Anita" initials="TA" userId="S::anita.tuma@capgemini.com::741300d6-8dc7-45f0-92b6-93b5b5dbaa56" providerId="AD"/>
  <p188:author id="{71FCB5DD-C049-A002-D565-CF5F5080F366}" name="Hachicha, Rami" initials="HR" userId="S::rami.hachicha@capgemini.com::1a3ab561-edea-4489-b029-206467ae015a" providerId="AD"/>
  <p188:author id="{E0C7CBE4-FCD8-2FEA-2014-BA4BA77A09CA}" name="Aresu Imhof" initials="AI" userId="Aresu Imhof" providerId="None"/>
  <p188:author id="{A8D207F8-23BE-52FE-BEDB-8EF7D5118168}" name="Cary Potter" initials="CP" userId="S::cary.potter@frogdesign.com::fa23664d-c274-4c92-9ea4-a54818471f6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6CF9"/>
    <a:srgbClr val="0E176D"/>
    <a:srgbClr val="C7D4FD"/>
    <a:srgbClr val="96AEFC"/>
    <a:srgbClr val="FFFFFF"/>
    <a:srgbClr val="EFF2FF"/>
    <a:srgbClr val="7980E7"/>
    <a:srgbClr val="6F6F6F"/>
    <a:srgbClr val="29317D"/>
    <a:srgbClr val="78C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80EB6A-8ABD-4AF5-9010-BBD7FA5F582A}" v="1" dt="2024-03-24T22:54:37.120"/>
  </p1510:revLst>
</p1510:revInfo>
</file>

<file path=ppt/tableStyles.xml><?xml version="1.0" encoding="utf-8"?>
<a:tblStyleLst xmlns:a="http://schemas.openxmlformats.org/drawingml/2006/main" def="{5940675A-B579-460E-94D1-54222C63F5DA}">
  <a:tblStyle styleId="{2D46E05B-61F0-46AD-ACB7-3E560CB32FED}" styleName="">
    <a:tblBg/>
    <a:wholeTbl>
      <a:tcTxStyle b="off" i="off">
        <a:font>
          <a:latin typeface="BentonSansF ExtraLight"/>
          <a:ea typeface="BentonSansF ExtraLight"/>
          <a:cs typeface="BentonSansF ExtraLight"/>
        </a:font>
        <a:schemeClr val="accent1">
          <a:lumOff val="-57413"/>
        </a:schemeClr>
      </a:tcTxStyle>
      <a:tcStyle>
        <a:tcBdr>
          <a:left>
            <a:ln w="25400" cap="flat">
              <a:solidFill>
                <a:srgbClr val="FFFFFF"/>
              </a:solidFill>
              <a:prstDash val="solid"/>
              <a:miter lim="400000"/>
            </a:ln>
          </a:left>
          <a:right>
            <a:ln w="25400" cap="flat">
              <a:solidFill>
                <a:srgbClr val="FFFFFF"/>
              </a:solidFill>
              <a:prstDash val="solid"/>
              <a:miter lim="400000"/>
            </a:ln>
          </a:right>
          <a:top>
            <a:ln w="25400" cap="flat">
              <a:solidFill>
                <a:srgbClr val="FFFFFF"/>
              </a:solidFill>
              <a:prstDash val="solid"/>
              <a:miter lim="400000"/>
            </a:ln>
          </a:top>
          <a:bottom>
            <a:ln w="25400" cap="flat">
              <a:solidFill>
                <a:srgbClr val="FFFFFF"/>
              </a:solidFill>
              <a:prstDash val="solid"/>
              <a:miter lim="400000"/>
            </a:ln>
          </a:bottom>
          <a:insideH>
            <a:ln w="25400" cap="flat">
              <a:solidFill>
                <a:srgbClr val="FFFFFF"/>
              </a:solidFill>
              <a:prstDash val="solid"/>
              <a:miter lim="400000"/>
            </a:ln>
          </a:insideH>
          <a:insideV>
            <a:ln w="25400" cap="flat">
              <a:solidFill>
                <a:srgbClr val="FFFFFF"/>
              </a:solidFill>
              <a:prstDash val="solid"/>
              <a:miter lim="400000"/>
            </a:ln>
          </a:insideV>
        </a:tcBdr>
        <a:fill>
          <a:solidFill>
            <a:schemeClr val="accent4"/>
          </a:solidFill>
        </a:fill>
      </a:tcStyle>
    </a:wholeTbl>
    <a:band2H>
      <a:tcTxStyle/>
      <a:tcStyle>
        <a:tcBdr/>
        <a:fill>
          <a:solidFill>
            <a:schemeClr val="accent4"/>
          </a:solidFill>
        </a:fill>
      </a:tcStyle>
    </a:band2H>
    <a:firstCol>
      <a:tcTxStyle b="on" i="off">
        <a:fontRef idx="minor">
          <a:srgbClr val="FFFFFF"/>
        </a:fontRef>
        <a:srgbClr val="FFFFFF"/>
      </a:tcTxStyle>
      <a:tcStyle>
        <a:tcBdr>
          <a:left>
            <a:ln w="12700" cap="flat">
              <a:solidFill>
                <a:schemeClr val="accent1">
                  <a:lumOff val="-57413"/>
                </a:schemeClr>
              </a:solidFill>
              <a:prstDash val="solid"/>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firstCol>
    <a:lastRow>
      <a:tcTxStyle b="off" i="off">
        <a:font>
          <a:latin typeface="BentonSansF ExtraLight"/>
          <a:ea typeface="BentonSansF ExtraLight"/>
          <a:cs typeface="BentonSansF ExtraLight"/>
        </a:font>
        <a:schemeClr val="accent1">
          <a:lumOff val="-57413"/>
        </a:schemeClr>
      </a:tcTxStyle>
      <a:tcStyle>
        <a:tcBdr>
          <a:left>
            <a:ln w="12700" cap="flat">
              <a:noFill/>
              <a:miter lim="400000"/>
            </a:ln>
          </a:left>
          <a:right>
            <a:ln w="12700" cap="flat">
              <a:noFill/>
              <a:miter lim="400000"/>
            </a:ln>
          </a:right>
          <a:top>
            <a:ln w="12700" cap="flat">
              <a:solidFill>
                <a:schemeClr val="accent1">
                  <a:lumOff val="-57413"/>
                </a:schemeClr>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firstRow>
  </a:tblStyle>
  <a:tblStyle styleId="{4C3C2611-4C71-4FC5-86AE-919BDF0F9419}" styleName="">
    <a:tblBg/>
    <a:wholeTbl>
      <a:tcTxStyle b="off" i="off">
        <a:font>
          <a:latin typeface="BentonSansF ExtraLight"/>
          <a:ea typeface="BentonSansF ExtraLight"/>
          <a:cs typeface="BentonSansF ExtraLight"/>
        </a:font>
        <a:schemeClr val="accent1">
          <a:lumOff val="-57413"/>
        </a:schemeClr>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chemeClr val="accent4"/>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
          <a:latin typeface="BentonSansF ExtraLight"/>
          <a:ea typeface="BentonSansF ExtraLight"/>
          <a:cs typeface="BentonSansF ExtraLight"/>
        </a:font>
        <a:schemeClr val="accent1">
          <a:lumOff val="-57413"/>
        </a:schemeClr>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365C0"/>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61" d="100"/>
          <a:sy n="61" d="100"/>
        </p:scale>
        <p:origin x="636" y="102"/>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ydarov, Valentin" userId="a1c03536-ef13-4ed1-88ef-808f5169b006" providerId="ADAL" clId="{6480EB6A-8ABD-4AF5-9010-BBD7FA5F582A}"/>
    <pc:docChg chg="delSld delMainMaster delSection modSection">
      <pc:chgData name="Khaydarov, Valentin" userId="a1c03536-ef13-4ed1-88ef-808f5169b006" providerId="ADAL" clId="{6480EB6A-8ABD-4AF5-9010-BBD7FA5F582A}" dt="2024-03-24T22:54:21.535" v="1" actId="17853"/>
      <pc:docMkLst>
        <pc:docMk/>
      </pc:docMkLst>
      <pc:sldChg chg="del">
        <pc:chgData name="Khaydarov, Valentin" userId="a1c03536-ef13-4ed1-88ef-808f5169b006" providerId="ADAL" clId="{6480EB6A-8ABD-4AF5-9010-BBD7FA5F582A}" dt="2024-03-24T22:54:18.749" v="0" actId="47"/>
        <pc:sldMkLst>
          <pc:docMk/>
          <pc:sldMk cId="3703301154" sldId="436"/>
        </pc:sldMkLst>
      </pc:sldChg>
      <pc:sldChg chg="del">
        <pc:chgData name="Khaydarov, Valentin" userId="a1c03536-ef13-4ed1-88ef-808f5169b006" providerId="ADAL" clId="{6480EB6A-8ABD-4AF5-9010-BBD7FA5F582A}" dt="2024-03-24T22:54:18.749" v="0" actId="47"/>
        <pc:sldMkLst>
          <pc:docMk/>
          <pc:sldMk cId="2019780437" sldId="469"/>
        </pc:sldMkLst>
      </pc:sldChg>
      <pc:sldChg chg="del">
        <pc:chgData name="Khaydarov, Valentin" userId="a1c03536-ef13-4ed1-88ef-808f5169b006" providerId="ADAL" clId="{6480EB6A-8ABD-4AF5-9010-BBD7FA5F582A}" dt="2024-03-24T22:54:18.749" v="0" actId="47"/>
        <pc:sldMkLst>
          <pc:docMk/>
          <pc:sldMk cId="819562693" sldId="471"/>
        </pc:sldMkLst>
      </pc:sldChg>
      <pc:sldChg chg="del">
        <pc:chgData name="Khaydarov, Valentin" userId="a1c03536-ef13-4ed1-88ef-808f5169b006" providerId="ADAL" clId="{6480EB6A-8ABD-4AF5-9010-BBD7FA5F582A}" dt="2024-03-24T22:54:18.749" v="0" actId="47"/>
        <pc:sldMkLst>
          <pc:docMk/>
          <pc:sldMk cId="1983322576" sldId="479"/>
        </pc:sldMkLst>
      </pc:sldChg>
      <pc:sldChg chg="del">
        <pc:chgData name="Khaydarov, Valentin" userId="a1c03536-ef13-4ed1-88ef-808f5169b006" providerId="ADAL" clId="{6480EB6A-8ABD-4AF5-9010-BBD7FA5F582A}" dt="2024-03-24T22:54:18.749" v="0" actId="47"/>
        <pc:sldMkLst>
          <pc:docMk/>
          <pc:sldMk cId="3763968070" sldId="2145706653"/>
        </pc:sldMkLst>
      </pc:sldChg>
      <pc:sldChg chg="del">
        <pc:chgData name="Khaydarov, Valentin" userId="a1c03536-ef13-4ed1-88ef-808f5169b006" providerId="ADAL" clId="{6480EB6A-8ABD-4AF5-9010-BBD7FA5F582A}" dt="2024-03-24T22:54:18.749" v="0" actId="47"/>
        <pc:sldMkLst>
          <pc:docMk/>
          <pc:sldMk cId="2709492712" sldId="2147479993"/>
        </pc:sldMkLst>
      </pc:sldChg>
      <pc:sldChg chg="del">
        <pc:chgData name="Khaydarov, Valentin" userId="a1c03536-ef13-4ed1-88ef-808f5169b006" providerId="ADAL" clId="{6480EB6A-8ABD-4AF5-9010-BBD7FA5F582A}" dt="2024-03-24T22:54:18.749" v="0" actId="47"/>
        <pc:sldMkLst>
          <pc:docMk/>
          <pc:sldMk cId="2753567430" sldId="2147479995"/>
        </pc:sldMkLst>
      </pc:sldChg>
      <pc:sldChg chg="del">
        <pc:chgData name="Khaydarov, Valentin" userId="a1c03536-ef13-4ed1-88ef-808f5169b006" providerId="ADAL" clId="{6480EB6A-8ABD-4AF5-9010-BBD7FA5F582A}" dt="2024-03-24T22:54:18.749" v="0" actId="47"/>
        <pc:sldMkLst>
          <pc:docMk/>
          <pc:sldMk cId="302741513" sldId="2147479997"/>
        </pc:sldMkLst>
      </pc:sldChg>
      <pc:sldChg chg="del">
        <pc:chgData name="Khaydarov, Valentin" userId="a1c03536-ef13-4ed1-88ef-808f5169b006" providerId="ADAL" clId="{6480EB6A-8ABD-4AF5-9010-BBD7FA5F582A}" dt="2024-03-24T22:54:18.749" v="0" actId="47"/>
        <pc:sldMkLst>
          <pc:docMk/>
          <pc:sldMk cId="1133670857" sldId="2147479999"/>
        </pc:sldMkLst>
      </pc:sldChg>
      <pc:sldChg chg="del">
        <pc:chgData name="Khaydarov, Valentin" userId="a1c03536-ef13-4ed1-88ef-808f5169b006" providerId="ADAL" clId="{6480EB6A-8ABD-4AF5-9010-BBD7FA5F582A}" dt="2024-03-24T22:54:18.749" v="0" actId="47"/>
        <pc:sldMkLst>
          <pc:docMk/>
          <pc:sldMk cId="402461967" sldId="2147480006"/>
        </pc:sldMkLst>
      </pc:sldChg>
      <pc:sldChg chg="del">
        <pc:chgData name="Khaydarov, Valentin" userId="a1c03536-ef13-4ed1-88ef-808f5169b006" providerId="ADAL" clId="{6480EB6A-8ABD-4AF5-9010-BBD7FA5F582A}" dt="2024-03-24T22:54:18.749" v="0" actId="47"/>
        <pc:sldMkLst>
          <pc:docMk/>
          <pc:sldMk cId="1576320747" sldId="2147480009"/>
        </pc:sldMkLst>
      </pc:sldChg>
      <pc:sldChg chg="del">
        <pc:chgData name="Khaydarov, Valentin" userId="a1c03536-ef13-4ed1-88ef-808f5169b006" providerId="ADAL" clId="{6480EB6A-8ABD-4AF5-9010-BBD7FA5F582A}" dt="2024-03-24T22:54:18.749" v="0" actId="47"/>
        <pc:sldMkLst>
          <pc:docMk/>
          <pc:sldMk cId="3970974942" sldId="2147480010"/>
        </pc:sldMkLst>
      </pc:sldChg>
      <pc:sldChg chg="del">
        <pc:chgData name="Khaydarov, Valentin" userId="a1c03536-ef13-4ed1-88ef-808f5169b006" providerId="ADAL" clId="{6480EB6A-8ABD-4AF5-9010-BBD7FA5F582A}" dt="2024-03-24T22:54:18.749" v="0" actId="47"/>
        <pc:sldMkLst>
          <pc:docMk/>
          <pc:sldMk cId="3656705309" sldId="2147480013"/>
        </pc:sldMkLst>
      </pc:sldChg>
      <pc:sldChg chg="del">
        <pc:chgData name="Khaydarov, Valentin" userId="a1c03536-ef13-4ed1-88ef-808f5169b006" providerId="ADAL" clId="{6480EB6A-8ABD-4AF5-9010-BBD7FA5F582A}" dt="2024-03-24T22:54:18.749" v="0" actId="47"/>
        <pc:sldMkLst>
          <pc:docMk/>
          <pc:sldMk cId="1772053878" sldId="2147480014"/>
        </pc:sldMkLst>
      </pc:sldChg>
      <pc:sldChg chg="del">
        <pc:chgData name="Khaydarov, Valentin" userId="a1c03536-ef13-4ed1-88ef-808f5169b006" providerId="ADAL" clId="{6480EB6A-8ABD-4AF5-9010-BBD7FA5F582A}" dt="2024-03-24T22:54:18.749" v="0" actId="47"/>
        <pc:sldMkLst>
          <pc:docMk/>
          <pc:sldMk cId="1186174062" sldId="2147480015"/>
        </pc:sldMkLst>
      </pc:sldChg>
      <pc:sldChg chg="del">
        <pc:chgData name="Khaydarov, Valentin" userId="a1c03536-ef13-4ed1-88ef-808f5169b006" providerId="ADAL" clId="{6480EB6A-8ABD-4AF5-9010-BBD7FA5F582A}" dt="2024-03-24T22:54:18.749" v="0" actId="47"/>
        <pc:sldMkLst>
          <pc:docMk/>
          <pc:sldMk cId="3845367147" sldId="2147480016"/>
        </pc:sldMkLst>
      </pc:sldChg>
      <pc:sldChg chg="del">
        <pc:chgData name="Khaydarov, Valentin" userId="a1c03536-ef13-4ed1-88ef-808f5169b006" providerId="ADAL" clId="{6480EB6A-8ABD-4AF5-9010-BBD7FA5F582A}" dt="2024-03-24T22:54:18.749" v="0" actId="47"/>
        <pc:sldMkLst>
          <pc:docMk/>
          <pc:sldMk cId="1527045465" sldId="2147480018"/>
        </pc:sldMkLst>
      </pc:sldChg>
      <pc:sldChg chg="del">
        <pc:chgData name="Khaydarov, Valentin" userId="a1c03536-ef13-4ed1-88ef-808f5169b006" providerId="ADAL" clId="{6480EB6A-8ABD-4AF5-9010-BBD7FA5F582A}" dt="2024-03-24T22:54:18.749" v="0" actId="47"/>
        <pc:sldMkLst>
          <pc:docMk/>
          <pc:sldMk cId="3824415879" sldId="2147480019"/>
        </pc:sldMkLst>
      </pc:sldChg>
      <pc:sldChg chg="del">
        <pc:chgData name="Khaydarov, Valentin" userId="a1c03536-ef13-4ed1-88ef-808f5169b006" providerId="ADAL" clId="{6480EB6A-8ABD-4AF5-9010-BBD7FA5F582A}" dt="2024-03-24T22:54:18.749" v="0" actId="47"/>
        <pc:sldMkLst>
          <pc:docMk/>
          <pc:sldMk cId="2416703866" sldId="2147480021"/>
        </pc:sldMkLst>
      </pc:sldChg>
      <pc:sldChg chg="del">
        <pc:chgData name="Khaydarov, Valentin" userId="a1c03536-ef13-4ed1-88ef-808f5169b006" providerId="ADAL" clId="{6480EB6A-8ABD-4AF5-9010-BBD7FA5F582A}" dt="2024-03-24T22:54:18.749" v="0" actId="47"/>
        <pc:sldMkLst>
          <pc:docMk/>
          <pc:sldMk cId="1057328214" sldId="2147480025"/>
        </pc:sldMkLst>
      </pc:sldChg>
      <pc:sldChg chg="del">
        <pc:chgData name="Khaydarov, Valentin" userId="a1c03536-ef13-4ed1-88ef-808f5169b006" providerId="ADAL" clId="{6480EB6A-8ABD-4AF5-9010-BBD7FA5F582A}" dt="2024-03-24T22:54:18.749" v="0" actId="47"/>
        <pc:sldMkLst>
          <pc:docMk/>
          <pc:sldMk cId="447961759" sldId="2147480026"/>
        </pc:sldMkLst>
      </pc:sldChg>
      <pc:sldChg chg="del">
        <pc:chgData name="Khaydarov, Valentin" userId="a1c03536-ef13-4ed1-88ef-808f5169b006" providerId="ADAL" clId="{6480EB6A-8ABD-4AF5-9010-BBD7FA5F582A}" dt="2024-03-24T22:54:18.749" v="0" actId="47"/>
        <pc:sldMkLst>
          <pc:docMk/>
          <pc:sldMk cId="3998184004" sldId="2147480030"/>
        </pc:sldMkLst>
      </pc:sldChg>
      <pc:sldChg chg="del">
        <pc:chgData name="Khaydarov, Valentin" userId="a1c03536-ef13-4ed1-88ef-808f5169b006" providerId="ADAL" clId="{6480EB6A-8ABD-4AF5-9010-BBD7FA5F582A}" dt="2024-03-24T22:54:18.749" v="0" actId="47"/>
        <pc:sldMkLst>
          <pc:docMk/>
          <pc:sldMk cId="2522134333" sldId="2147480031"/>
        </pc:sldMkLst>
      </pc:sldChg>
      <pc:sldChg chg="del">
        <pc:chgData name="Khaydarov, Valentin" userId="a1c03536-ef13-4ed1-88ef-808f5169b006" providerId="ADAL" clId="{6480EB6A-8ABD-4AF5-9010-BBD7FA5F582A}" dt="2024-03-24T22:54:18.749" v="0" actId="47"/>
        <pc:sldMkLst>
          <pc:docMk/>
          <pc:sldMk cId="5723706" sldId="2147480032"/>
        </pc:sldMkLst>
      </pc:sldChg>
      <pc:sldChg chg="del">
        <pc:chgData name="Khaydarov, Valentin" userId="a1c03536-ef13-4ed1-88ef-808f5169b006" providerId="ADAL" clId="{6480EB6A-8ABD-4AF5-9010-BBD7FA5F582A}" dt="2024-03-24T22:54:18.749" v="0" actId="47"/>
        <pc:sldMkLst>
          <pc:docMk/>
          <pc:sldMk cId="653090181" sldId="2147480035"/>
        </pc:sldMkLst>
      </pc:sldChg>
      <pc:sldChg chg="del">
        <pc:chgData name="Khaydarov, Valentin" userId="a1c03536-ef13-4ed1-88ef-808f5169b006" providerId="ADAL" clId="{6480EB6A-8ABD-4AF5-9010-BBD7FA5F582A}" dt="2024-03-24T22:54:18.749" v="0" actId="47"/>
        <pc:sldMkLst>
          <pc:docMk/>
          <pc:sldMk cId="2043607723" sldId="2147480037"/>
        </pc:sldMkLst>
      </pc:sldChg>
      <pc:sldChg chg="del">
        <pc:chgData name="Khaydarov, Valentin" userId="a1c03536-ef13-4ed1-88ef-808f5169b006" providerId="ADAL" clId="{6480EB6A-8ABD-4AF5-9010-BBD7FA5F582A}" dt="2024-03-24T22:54:18.749" v="0" actId="47"/>
        <pc:sldMkLst>
          <pc:docMk/>
          <pc:sldMk cId="2040181353" sldId="2147480038"/>
        </pc:sldMkLst>
      </pc:sldChg>
      <pc:sldMasterChg chg="del delSldLayout">
        <pc:chgData name="Khaydarov, Valentin" userId="a1c03536-ef13-4ed1-88ef-808f5169b006" providerId="ADAL" clId="{6480EB6A-8ABD-4AF5-9010-BBD7FA5F582A}" dt="2024-03-24T22:54:18.749" v="0" actId="47"/>
        <pc:sldMasterMkLst>
          <pc:docMk/>
          <pc:sldMasterMk cId="2257957507" sldId="2147483916"/>
        </pc:sldMasterMkLst>
        <pc:sldLayoutChg chg="del">
          <pc:chgData name="Khaydarov, Valentin" userId="a1c03536-ef13-4ed1-88ef-808f5169b006" providerId="ADAL" clId="{6480EB6A-8ABD-4AF5-9010-BBD7FA5F582A}" dt="2024-03-24T22:54:18.749" v="0" actId="47"/>
          <pc:sldLayoutMkLst>
            <pc:docMk/>
            <pc:sldMasterMk cId="2257957507" sldId="2147483916"/>
            <pc:sldLayoutMk cId="1832872672" sldId="2147483917"/>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1312486035" sldId="2147483918"/>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3447997609" sldId="2147483919"/>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2823980763" sldId="2147483920"/>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3964537981" sldId="2147483921"/>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2450833236" sldId="2147483922"/>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1772972209" sldId="2147483923"/>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1369555399" sldId="2147483924"/>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3850557636" sldId="2147483925"/>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4230066023" sldId="2147483926"/>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2513871311" sldId="2147483927"/>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118533901" sldId="2147483928"/>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2467568958" sldId="2147483929"/>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1492046583" sldId="2147483930"/>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2406171042" sldId="2147483931"/>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2422959364" sldId="2147483932"/>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3218263046" sldId="2147483933"/>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3623947736" sldId="2147483934"/>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2101549734" sldId="2147483935"/>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4237054451" sldId="2147483936"/>
          </pc:sldLayoutMkLst>
        </pc:sldLayoutChg>
        <pc:sldLayoutChg chg="del">
          <pc:chgData name="Khaydarov, Valentin" userId="a1c03536-ef13-4ed1-88ef-808f5169b006" providerId="ADAL" clId="{6480EB6A-8ABD-4AF5-9010-BBD7FA5F582A}" dt="2024-03-24T22:54:18.749" v="0" actId="47"/>
          <pc:sldLayoutMkLst>
            <pc:docMk/>
            <pc:sldMasterMk cId="2257957507" sldId="2147483916"/>
            <pc:sldLayoutMk cId="3938959311" sldId="214748393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303" name="Shape 2303"/>
          <p:cNvSpPr>
            <a:spLocks noGrp="1" noRot="1" noChangeAspect="1"/>
          </p:cNvSpPr>
          <p:nvPr>
            <p:ph type="sldImg"/>
          </p:nvPr>
        </p:nvSpPr>
        <p:spPr>
          <a:xfrm>
            <a:off x="1143000" y="685800"/>
            <a:ext cx="4572000" cy="3429000"/>
          </a:xfrm>
          <a:prstGeom prst="rect">
            <a:avLst/>
          </a:prstGeom>
        </p:spPr>
        <p:txBody>
          <a:bodyPr/>
          <a:lstStyle/>
          <a:p>
            <a:endParaRPr/>
          </a:p>
        </p:txBody>
      </p:sp>
      <p:sp>
        <p:nvSpPr>
          <p:cNvPr id="2304" name="Shape 230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30000"/>
      </a:lnSpc>
      <a:defRPr sz="1400" b="0" i="0">
        <a:solidFill>
          <a:schemeClr val="accent1">
            <a:lumOff val="-57413"/>
          </a:schemeClr>
        </a:solidFill>
        <a:latin typeface="Arial" panose="020B0604020202020204" pitchFamily="34" charset="0"/>
        <a:ea typeface="Arial" panose="020B0604020202020204" pitchFamily="34" charset="0"/>
        <a:cs typeface="Arial" panose="020B0604020202020204" pitchFamily="34" charset="0"/>
        <a:sym typeface="BentonSansF ExtraLight"/>
      </a:defRPr>
    </a:lvl1pPr>
    <a:lvl2pPr indent="228600" defTabSz="457200" latinLnBrk="0">
      <a:lnSpc>
        <a:spcPct val="130000"/>
      </a:lnSpc>
      <a:defRPr sz="1400">
        <a:solidFill>
          <a:schemeClr val="accent1">
            <a:lumOff val="-57413"/>
          </a:schemeClr>
        </a:solidFill>
        <a:latin typeface="BentonSansF ExtraLight"/>
        <a:ea typeface="BentonSansF ExtraLight"/>
        <a:cs typeface="BentonSansF ExtraLight"/>
        <a:sym typeface="BentonSansF ExtraLight"/>
      </a:defRPr>
    </a:lvl2pPr>
    <a:lvl3pPr indent="457200" defTabSz="457200" latinLnBrk="0">
      <a:lnSpc>
        <a:spcPct val="130000"/>
      </a:lnSpc>
      <a:defRPr sz="1400">
        <a:solidFill>
          <a:schemeClr val="accent1">
            <a:lumOff val="-57413"/>
          </a:schemeClr>
        </a:solidFill>
        <a:latin typeface="BentonSansF ExtraLight"/>
        <a:ea typeface="BentonSansF ExtraLight"/>
        <a:cs typeface="BentonSansF ExtraLight"/>
        <a:sym typeface="BentonSansF ExtraLight"/>
      </a:defRPr>
    </a:lvl3pPr>
    <a:lvl4pPr indent="685800" defTabSz="457200" latinLnBrk="0">
      <a:lnSpc>
        <a:spcPct val="130000"/>
      </a:lnSpc>
      <a:defRPr sz="1400">
        <a:solidFill>
          <a:schemeClr val="accent1">
            <a:lumOff val="-57413"/>
          </a:schemeClr>
        </a:solidFill>
        <a:latin typeface="BentonSansF ExtraLight"/>
        <a:ea typeface="BentonSansF ExtraLight"/>
        <a:cs typeface="BentonSansF ExtraLight"/>
        <a:sym typeface="BentonSansF ExtraLight"/>
      </a:defRPr>
    </a:lvl4pPr>
    <a:lvl5pPr indent="914400" defTabSz="457200" latinLnBrk="0">
      <a:lnSpc>
        <a:spcPct val="130000"/>
      </a:lnSpc>
      <a:defRPr sz="1400">
        <a:solidFill>
          <a:schemeClr val="accent1">
            <a:lumOff val="-57413"/>
          </a:schemeClr>
        </a:solidFill>
        <a:latin typeface="BentonSansF ExtraLight"/>
        <a:ea typeface="BentonSansF ExtraLight"/>
        <a:cs typeface="BentonSansF ExtraLight"/>
        <a:sym typeface="BentonSansF ExtraLight"/>
      </a:defRPr>
    </a:lvl5pPr>
    <a:lvl6pPr indent="1143000" defTabSz="457200" latinLnBrk="0">
      <a:lnSpc>
        <a:spcPct val="130000"/>
      </a:lnSpc>
      <a:defRPr sz="1400">
        <a:solidFill>
          <a:schemeClr val="accent1">
            <a:lumOff val="-57413"/>
          </a:schemeClr>
        </a:solidFill>
        <a:latin typeface="BentonSansF ExtraLight"/>
        <a:ea typeface="BentonSansF ExtraLight"/>
        <a:cs typeface="BentonSansF ExtraLight"/>
        <a:sym typeface="BentonSansF ExtraLight"/>
      </a:defRPr>
    </a:lvl6pPr>
    <a:lvl7pPr indent="1371600" defTabSz="457200" latinLnBrk="0">
      <a:lnSpc>
        <a:spcPct val="130000"/>
      </a:lnSpc>
      <a:defRPr sz="1400">
        <a:solidFill>
          <a:schemeClr val="accent1">
            <a:lumOff val="-57413"/>
          </a:schemeClr>
        </a:solidFill>
        <a:latin typeface="BentonSansF ExtraLight"/>
        <a:ea typeface="BentonSansF ExtraLight"/>
        <a:cs typeface="BentonSansF ExtraLight"/>
        <a:sym typeface="BentonSansF ExtraLight"/>
      </a:defRPr>
    </a:lvl7pPr>
    <a:lvl8pPr indent="1600200" defTabSz="457200" latinLnBrk="0">
      <a:lnSpc>
        <a:spcPct val="130000"/>
      </a:lnSpc>
      <a:defRPr sz="1400">
        <a:solidFill>
          <a:schemeClr val="accent1">
            <a:lumOff val="-57413"/>
          </a:schemeClr>
        </a:solidFill>
        <a:latin typeface="BentonSansF ExtraLight"/>
        <a:ea typeface="BentonSansF ExtraLight"/>
        <a:cs typeface="BentonSansF ExtraLight"/>
        <a:sym typeface="BentonSansF ExtraLight"/>
      </a:defRPr>
    </a:lvl8pPr>
    <a:lvl9pPr indent="1828800" defTabSz="457200" latinLnBrk="0">
      <a:lnSpc>
        <a:spcPct val="130000"/>
      </a:lnSpc>
      <a:defRPr sz="1400">
        <a:solidFill>
          <a:schemeClr val="accent1">
            <a:lumOff val="-57413"/>
          </a:schemeClr>
        </a:solidFill>
        <a:latin typeface="BentonSansF ExtraLight"/>
        <a:ea typeface="BentonSansF ExtraLight"/>
        <a:cs typeface="BentonSansF ExtraLight"/>
        <a:sym typeface="BentonSansF ExtraLigh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valleycollision.com/blog/when-you-should-avoid-going-through-your-insurance-for-car-repair/#:~:text=It%20is%20standard%20protocol%20to%20get%20at%20least,you%20can%20still%20decide%20to%20go%20through%20insuranc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valleycollision.com/blog/when-you-should-avoid-going-through-your-insurance-for-car-repair/#:~:text=It%20is%20standard%20protocol%20to%20get%20at%20least,you%20can%20still%20decide%20to%20go%20through%20insuranc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valleycollision.com/blog/when-you-should-avoid-going-through-your-insurance-for-car-repair/#:~:text=It%20is%20standard%20protocol%20to%20get%20at%20least,you%20can%20still%20decide%20to%20go%20through%20insurance."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valleycollision.com/blog/when-you-should-avoid-going-through-your-insurance-for-car-repair/#:~:text=It%20is%20standard%20protocol%20to%20get%20at%20least,you%20can%20still%20decide%20to%20go%20through%20insuranc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valleycollision.com/blog/when-you-should-avoid-going-through-your-insurance-for-car-repair/#:~:text=It%20is%20standard%20protocol%20to%20get%20at%20least,you%20can%20still%20decide%20to%20go%20through%20insuranc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7200" eaLnBrk="1" fontAlgn="auto" latinLnBrk="0" hangingPunct="1">
              <a:lnSpc>
                <a:spcPct val="130000"/>
              </a:lnSpc>
              <a:spcBef>
                <a:spcPts val="0"/>
              </a:spcBef>
              <a:spcAft>
                <a:spcPts val="0"/>
              </a:spcAft>
              <a:buClrTx/>
              <a:buSzTx/>
              <a:buFontTx/>
              <a:buNone/>
              <a:tabLst/>
              <a:defRPr/>
            </a:pPr>
            <a:r>
              <a:rPr lang="en-US" sz="1400">
                <a:solidFill>
                  <a:schemeClr val="accent1">
                    <a:lumOff val="-57413"/>
                  </a:schemeClr>
                </a:solidFill>
                <a:effectLst/>
                <a:ea typeface="BentonSansF ExtraLight"/>
                <a:sym typeface="BentonSansF ExtraLight"/>
              </a:rPr>
              <a:t>Cover image should provide an iconic representation of the project; a signature photo or hero mock-up. “How would we show the project in a magazine?”</a:t>
            </a:r>
          </a:p>
          <a:p>
            <a:endParaRPr lang="en-US"/>
          </a:p>
        </p:txBody>
      </p:sp>
    </p:spTree>
    <p:extLst>
      <p:ext uri="{BB962C8B-B14F-4D97-AF65-F5344CB8AC3E}">
        <p14:creationId xmlns:p14="http://schemas.microsoft.com/office/powerpoint/2010/main" val="3909987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https://</a:t>
            </a:r>
            <a:r>
              <a:rPr lang="en-US" err="1"/>
              <a:t>gitnux.org</a:t>
            </a:r>
            <a:r>
              <a:rPr lang="en-US"/>
              <a:t>/u-s-auto-repair-industry-statistics/</a:t>
            </a:r>
          </a:p>
          <a:p>
            <a:r>
              <a:rPr lang="en-US">
                <a:hlinkClick r:id="rId3"/>
              </a:rPr>
              <a:t>When You Should Avoid Going Through Your Insurance for Car Repair | Valley Collision UT</a:t>
            </a:r>
            <a:r>
              <a:rPr lang="en-US"/>
              <a:t> </a:t>
            </a:r>
          </a:p>
          <a:p>
            <a:r>
              <a:rPr lang="en-US"/>
              <a:t>https://</a:t>
            </a:r>
            <a:r>
              <a:rPr lang="en-US" err="1"/>
              <a:t>www.ddlawtampa.com</a:t>
            </a:r>
            <a:r>
              <a:rPr lang="en-US"/>
              <a:t>/resources/car-accident-statistics-you-need-to-know-in-2021/#:~:text=Total%20number%20of%20car%20accidents%20per%20year%20in%20the%20U.S.&amp;text=This%20is%20up%20from%20238.6,losing%20their%20lives%20each%20year.</a:t>
            </a:r>
          </a:p>
        </p:txBody>
      </p:sp>
    </p:spTree>
    <p:extLst>
      <p:ext uri="{BB962C8B-B14F-4D97-AF65-F5344CB8AC3E}">
        <p14:creationId xmlns:p14="http://schemas.microsoft.com/office/powerpoint/2010/main" val="39766535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https://gitnux.org/u-s-auto-repair-industry-statistics/</a:t>
            </a:r>
          </a:p>
          <a:p>
            <a:r>
              <a:rPr lang="en-US">
                <a:hlinkClick r:id="rId3"/>
              </a:rPr>
              <a:t>When You Should Avoid Going Through Your Insurance for Car Repair | Valley Collision UT</a:t>
            </a:r>
            <a:r>
              <a:rPr lang="en-US"/>
              <a:t> </a:t>
            </a:r>
          </a:p>
          <a:p>
            <a:r>
              <a:rPr lang="en-US">
                <a:hlinkClick r:id="rId3"/>
              </a:rPr>
              <a:t>When You Should Avoid Going Through Your Insurance for Car Repair | Valley Collision UT</a:t>
            </a:r>
            <a:endParaRPr lang="en-US"/>
          </a:p>
          <a:p>
            <a:r>
              <a:rPr lang="en-US"/>
              <a:t>https://www.ddlawtampa.com/resources/car-accident-statistics-you-need-to-know-in-2021/#:~:text=Total%20number%20of%20car%20accidents%20per%20year%20in%20the%20U.S.&amp;text=This%20is%20up%20from%20238.6,losing%20their%20lives%20each%20year.</a:t>
            </a:r>
          </a:p>
        </p:txBody>
      </p:sp>
    </p:spTree>
    <p:extLst>
      <p:ext uri="{BB962C8B-B14F-4D97-AF65-F5344CB8AC3E}">
        <p14:creationId xmlns:p14="http://schemas.microsoft.com/office/powerpoint/2010/main" val="1838774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https://</a:t>
            </a:r>
            <a:r>
              <a:rPr lang="en-US" err="1"/>
              <a:t>gitnux.org</a:t>
            </a:r>
            <a:r>
              <a:rPr lang="en-US"/>
              <a:t>/u-s-auto-repair-industry-statistics/</a:t>
            </a:r>
          </a:p>
          <a:p>
            <a:r>
              <a:rPr lang="en-US">
                <a:hlinkClick r:id="rId3"/>
              </a:rPr>
              <a:t>When You Should Avoid Going Through Your Insurance for Car Repair | Valley Collision UT</a:t>
            </a:r>
            <a:r>
              <a:rPr lang="en-US"/>
              <a:t> </a:t>
            </a:r>
          </a:p>
          <a:p>
            <a:r>
              <a:rPr lang="en-US">
                <a:hlinkClick r:id="rId3"/>
              </a:rPr>
              <a:t>When You Should Avoid Going Through Your Insurance for Car Repair | Valley Collision UT</a:t>
            </a:r>
            <a:endParaRPr lang="en-US"/>
          </a:p>
          <a:p>
            <a:r>
              <a:rPr lang="en-US"/>
              <a:t>https://</a:t>
            </a:r>
            <a:r>
              <a:rPr lang="en-US" err="1"/>
              <a:t>www.ddlawtampa.com</a:t>
            </a:r>
            <a:r>
              <a:rPr lang="en-US"/>
              <a:t>/resources/car-accident-statistics-you-need-to-know-in-2021/#:~:text=Total%20number%20of%20car%20accidents%20per%20year%20in%20the%20U.S.&amp;text=This%20is%20up%20from%20238.6,losing%20their%20lives%20each%20year.</a:t>
            </a:r>
          </a:p>
        </p:txBody>
      </p:sp>
    </p:spTree>
    <p:extLst>
      <p:ext uri="{BB962C8B-B14F-4D97-AF65-F5344CB8AC3E}">
        <p14:creationId xmlns:p14="http://schemas.microsoft.com/office/powerpoint/2010/main" val="3664725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https://gitnux.org/u-s-auto-repair-industry-statistics/</a:t>
            </a:r>
          </a:p>
          <a:p>
            <a:r>
              <a:rPr lang="en-US">
                <a:hlinkClick r:id="rId3"/>
              </a:rPr>
              <a:t>When You Should Avoid Going Through Your Insurance for Car Repair | Valley Collision UT</a:t>
            </a:r>
            <a:r>
              <a:rPr lang="en-US"/>
              <a:t> </a:t>
            </a:r>
          </a:p>
          <a:p>
            <a:r>
              <a:rPr lang="en-US">
                <a:hlinkClick r:id="rId3"/>
              </a:rPr>
              <a:t>When You Should Avoid Going Through Your Insurance for Car Repair | Valley Collision UT</a:t>
            </a:r>
            <a:endParaRPr lang="en-US"/>
          </a:p>
          <a:p>
            <a:r>
              <a:rPr lang="en-US"/>
              <a:t>https://www.ddlawtampa.com/resources/car-accident-statistics-you-need-to-know-in-2021/#:~:text=Total%20number%20of%20car%20accidents%20per%20year%20in%20the%20U.S.&amp;text=This%20is%20up%20from%20238.6,losing%20their%20lives%20each%20year.</a:t>
            </a:r>
          </a:p>
        </p:txBody>
      </p:sp>
    </p:spTree>
    <p:extLst>
      <p:ext uri="{BB962C8B-B14F-4D97-AF65-F5344CB8AC3E}">
        <p14:creationId xmlns:p14="http://schemas.microsoft.com/office/powerpoint/2010/main" val="1085741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https://gitnux.org/u-s-auto-repair-industry-statistics/</a:t>
            </a:r>
          </a:p>
          <a:p>
            <a:r>
              <a:rPr lang="en-US">
                <a:hlinkClick r:id="rId3"/>
              </a:rPr>
              <a:t>When You Should Avoid Going Through Your Insurance for Car Repair | Valley Collision UT</a:t>
            </a:r>
            <a:r>
              <a:rPr lang="en-US"/>
              <a:t> </a:t>
            </a:r>
          </a:p>
          <a:p>
            <a:r>
              <a:rPr lang="en-US">
                <a:hlinkClick r:id="rId3"/>
              </a:rPr>
              <a:t>When You Should Avoid Going Through Your Insurance for Car Repair | Valley Collision UT</a:t>
            </a:r>
            <a:endParaRPr lang="en-US"/>
          </a:p>
          <a:p>
            <a:r>
              <a:rPr lang="en-US"/>
              <a:t>https://www.ddlawtampa.com/resources/car-accident-statistics-you-need-to-know-in-2021/#:~:text=Total%20number%20of%20car%20accidents%20per%20year%20in%20the%20U.S.&amp;text=This%20is%20up%20from%20238.6,losing%20their%20lives%20each%20year.</a:t>
            </a:r>
          </a:p>
        </p:txBody>
      </p:sp>
    </p:spTree>
    <p:extLst>
      <p:ext uri="{BB962C8B-B14F-4D97-AF65-F5344CB8AC3E}">
        <p14:creationId xmlns:p14="http://schemas.microsoft.com/office/powerpoint/2010/main" val="1658787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7346359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tiff"/><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W)">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i="0">
                <a:solidFill>
                  <a:schemeClr val="tx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400" b="0" i="0" cap="all" baseline="0">
                <a:solidFill>
                  <a:schemeClr val="tx1"/>
                </a:solidFill>
                <a:latin typeface="Arial" panose="020B0604020202020204" pitchFamily="34" charset="0"/>
                <a:cs typeface="Arial" panose="020B0604020202020204" pitchFamily="34" charset="0"/>
              </a:defRPr>
            </a:lvl1pPr>
          </a:lstStyle>
          <a:p>
            <a:endParaRPr lang="de-DE"/>
          </a:p>
        </p:txBody>
      </p:sp>
      <p:pic>
        <p:nvPicPr>
          <p:cNvPr id="15" name="21-frog-Cap-Invent-logo-horizontal-BW.png">
            <a:extLst>
              <a:ext uri="{FF2B5EF4-FFF2-40B4-BE49-F238E27FC236}">
                <a16:creationId xmlns:a16="http://schemas.microsoft.com/office/drawing/2014/main" id="{F78B4AFD-0AC3-4F29-8C33-552888C287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11130" y="10290306"/>
            <a:ext cx="4619817" cy="1178622"/>
          </a:xfrm>
          <a:prstGeom prst="rect">
            <a:avLst/>
          </a:prstGeom>
          <a:ln w="12700">
            <a:miter lim="400000"/>
          </a:ln>
        </p:spPr>
      </p:pic>
      <p:sp>
        <p:nvSpPr>
          <p:cNvPr id="16" name="Title 3">
            <a:extLst>
              <a:ext uri="{FF2B5EF4-FFF2-40B4-BE49-F238E27FC236}">
                <a16:creationId xmlns:a16="http://schemas.microsoft.com/office/drawing/2014/main" id="{B17DB3DB-A4A2-464C-9D6B-D63045A0D6C0}"/>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tx1"/>
                </a:solidFill>
              </a:defRPr>
            </a:lvl1pPr>
          </a:lstStyle>
          <a:p>
            <a:r>
              <a:rPr lang="de-DE"/>
              <a:t>Presentation title</a:t>
            </a:r>
          </a:p>
        </p:txBody>
      </p:sp>
      <p:sp>
        <p:nvSpPr>
          <p:cNvPr id="3" name="Footer Placeholder 8">
            <a:extLst>
              <a:ext uri="{FF2B5EF4-FFF2-40B4-BE49-F238E27FC236}">
                <a16:creationId xmlns:a16="http://schemas.microsoft.com/office/drawing/2014/main" id="{836F8200-A194-4D53-5CB7-FE47B1AAAD58}"/>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b="0" i="0" spc="48">
                <a:solidFill>
                  <a:schemeClr val="bg1">
                    <a:lumMod val="65000"/>
                  </a:schemeClr>
                </a:solidFill>
                <a:latin typeface="Arial" panose="020B0604020202020204" pitchFamily="34" charset="0"/>
                <a:cs typeface="Arial" panose="020B0604020202020204" pitchFamily="34" charset="0"/>
              </a:defRPr>
            </a:lvl1pPr>
          </a:lstStyle>
          <a:p>
            <a:r>
              <a:rPr lang="en-US"/>
              <a:t>AI Genies | Claire the Car Repair Assessment Agent</a:t>
            </a:r>
            <a:endParaRPr lang="de-DE"/>
          </a:p>
        </p:txBody>
      </p:sp>
    </p:spTree>
    <p:extLst>
      <p:ext uri="{BB962C8B-B14F-4D97-AF65-F5344CB8AC3E}">
        <p14:creationId xmlns:p14="http://schemas.microsoft.com/office/powerpoint/2010/main" val="3779560395"/>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3 w. MYM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b="0" i="0" cap="all" baseline="0">
                <a:solidFill>
                  <a:schemeClr val="bg1"/>
                </a:solidFill>
                <a:latin typeface="Arial" panose="020B0604020202020204" pitchFamily="34" charset="0"/>
                <a:cs typeface="Arial" panose="020B0604020202020204" pitchFamily="34" charset="0"/>
              </a:defRPr>
            </a:lvl1pPr>
          </a:lstStyle>
          <a:p>
            <a:endParaRPr lang="de-DE"/>
          </a:p>
        </p:txBody>
      </p:sp>
      <p:sp>
        <p:nvSpPr>
          <p:cNvPr id="16" name="Line">
            <a:extLst>
              <a:ext uri="{FF2B5EF4-FFF2-40B4-BE49-F238E27FC236}">
                <a16:creationId xmlns:a16="http://schemas.microsoft.com/office/drawing/2014/main" id="{2B6F9B2A-E8C0-4635-9165-B7F716458DB7}"/>
              </a:ext>
            </a:extLst>
          </p:cNvPr>
          <p:cNvSpPr/>
          <p:nvPr userDrawn="1"/>
        </p:nvSpPr>
        <p:spPr>
          <a:xfrm flipV="1">
            <a:off x="12197998" y="10580330"/>
            <a:ext cx="1" cy="1158876"/>
          </a:xfrm>
          <a:prstGeom prst="line">
            <a:avLst/>
          </a:prstGeom>
          <a:ln w="25400">
            <a:solidFill>
              <a:srgbClr val="FFFFFF"/>
            </a:solidFill>
          </a:ln>
        </p:spPr>
        <p:txBody>
          <a:bodyPr lIns="45718" tIns="45718" rIns="45718" bIns="45718"/>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7" name="Image">
            <a:extLst>
              <a:ext uri="{FF2B5EF4-FFF2-40B4-BE49-F238E27FC236}">
                <a16:creationId xmlns:a16="http://schemas.microsoft.com/office/drawing/2014/main" id="{B00A6559-F404-4DD6-807E-AB35DE63F0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974075" y="10750529"/>
            <a:ext cx="1485909" cy="1153448"/>
          </a:xfrm>
          <a:prstGeom prst="rect">
            <a:avLst/>
          </a:prstGeom>
          <a:ln w="12700">
            <a:miter lim="400000"/>
          </a:ln>
          <a:effectLst>
            <a:outerShdw blurRad="1066800" dist="29840" dir="5400000" rotWithShape="0">
              <a:schemeClr val="accent1">
                <a:lumOff val="-57413"/>
                <a:alpha val="55067"/>
              </a:schemeClr>
            </a:outerShdw>
          </a:effectLst>
        </p:spPr>
      </p:pic>
      <p:pic>
        <p:nvPicPr>
          <p:cNvPr id="18" name="21-frog-Cap-Invent-logo-square-WHITE.png">
            <a:extLst>
              <a:ext uri="{FF2B5EF4-FFF2-40B4-BE49-F238E27FC236}">
                <a16:creationId xmlns:a16="http://schemas.microsoft.com/office/drawing/2014/main" id="{012650E3-FAAF-4BE1-B865-C607C28F832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618728" y="10664299"/>
            <a:ext cx="1907948" cy="1677945"/>
          </a:xfrm>
          <a:prstGeom prst="rect">
            <a:avLst/>
          </a:prstGeom>
          <a:ln w="12700">
            <a:miter lim="400000"/>
          </a:ln>
        </p:spPr>
      </p:pic>
      <p:sp>
        <p:nvSpPr>
          <p:cNvPr id="20" name="Title 2">
            <a:extLst>
              <a:ext uri="{FF2B5EF4-FFF2-40B4-BE49-F238E27FC236}">
                <a16:creationId xmlns:a16="http://schemas.microsoft.com/office/drawing/2014/main" id="{21A8F96B-7E3B-4D53-96D7-71BEFAE84620}"/>
              </a:ext>
            </a:extLst>
          </p:cNvPr>
          <p:cNvSpPr>
            <a:spLocks noGrp="1"/>
          </p:cNvSpPr>
          <p:nvPr>
            <p:ph type="title" hasCustomPrompt="1"/>
          </p:nvPr>
        </p:nvSpPr>
        <p:spPr>
          <a:xfrm>
            <a:off x="0" y="5666741"/>
            <a:ext cx="24384000" cy="2117503"/>
          </a:xfrm>
        </p:spPr>
        <p:txBody>
          <a:bodyPr anchor="t">
            <a:noAutofit/>
          </a:bodyPr>
          <a:lstStyle>
            <a:lvl1pPr algn="ctr">
              <a:lnSpc>
                <a:spcPct val="80000"/>
              </a:lnSpc>
              <a:defRPr sz="12200">
                <a:solidFill>
                  <a:schemeClr val="bg1"/>
                </a:solidFill>
              </a:defRPr>
            </a:lvl1pPr>
          </a:lstStyle>
          <a:p>
            <a:r>
              <a:rPr lang="de-DE"/>
              <a:t>Presentation title</a:t>
            </a:r>
          </a:p>
        </p:txBody>
      </p:sp>
    </p:spTree>
    <p:extLst>
      <p:ext uri="{BB962C8B-B14F-4D97-AF65-F5344CB8AC3E}">
        <p14:creationId xmlns:p14="http://schemas.microsoft.com/office/powerpoint/2010/main" val="1334031046"/>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Longform case study outcome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p:txBody>
          <a:bodyPr/>
          <a:lstStyle>
            <a:lvl1pPr>
              <a:defRPr>
                <a:solidFill>
                  <a:schemeClr val="bg1"/>
                </a:solidFill>
              </a:defRPr>
            </a:lvl1pPr>
          </a:lstStyle>
          <a:p>
            <a:r>
              <a:rPr lang="en-US"/>
              <a:t>Client Outcomes</a:t>
            </a:r>
          </a:p>
        </p:txBody>
      </p:sp>
      <p:sp>
        <p:nvSpPr>
          <p:cNvPr id="3" name="Date Placeholder 2">
            <a:extLst>
              <a:ext uri="{FF2B5EF4-FFF2-40B4-BE49-F238E27FC236}">
                <a16:creationId xmlns:a16="http://schemas.microsoft.com/office/drawing/2014/main" id="{45AE3FB7-84C5-44B8-92CF-AD18F6DB4E08}"/>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8" name="Text Placeholder 8">
            <a:extLst>
              <a:ext uri="{FF2B5EF4-FFF2-40B4-BE49-F238E27FC236}">
                <a16:creationId xmlns:a16="http://schemas.microsoft.com/office/drawing/2014/main" id="{63CAC65F-22CE-4D43-AB26-EA5F35B2118B}"/>
              </a:ext>
            </a:extLst>
          </p:cNvPr>
          <p:cNvSpPr>
            <a:spLocks noGrp="1"/>
          </p:cNvSpPr>
          <p:nvPr>
            <p:ph type="body" sz="quarter" idx="29" hasCustomPrompt="1"/>
          </p:nvPr>
        </p:nvSpPr>
        <p:spPr>
          <a:xfrm>
            <a:off x="1763673" y="7695829"/>
            <a:ext cx="6055578" cy="388633"/>
          </a:xfrm>
        </p:spPr>
        <p:txBody>
          <a:bodyPr wrap="square" anchor="t">
            <a:spAutoFit/>
          </a:bodyPr>
          <a:lstStyle>
            <a:lvl1pPr>
              <a:defRPr sz="2000" b="0" i="0" cap="all" spc="200" baseline="0">
                <a:solidFill>
                  <a:schemeClr val="bg1"/>
                </a:solidFill>
                <a:latin typeface="Arial" panose="020B0604020202020204" pitchFamily="34" charset="0"/>
              </a:defRPr>
            </a:lvl1pPr>
          </a:lstStyle>
          <a:p>
            <a:pPr lvl="0"/>
            <a:r>
              <a:rPr lang="en-US"/>
              <a:t>SUPPORTING DESCRIPTOR</a:t>
            </a:r>
          </a:p>
        </p:txBody>
      </p:sp>
      <p:sp>
        <p:nvSpPr>
          <p:cNvPr id="7" name="Text Placeholder 8">
            <a:extLst>
              <a:ext uri="{FF2B5EF4-FFF2-40B4-BE49-F238E27FC236}">
                <a16:creationId xmlns:a16="http://schemas.microsoft.com/office/drawing/2014/main" id="{53A5EBFD-096D-478E-B3EB-B8BE38A56A35}"/>
              </a:ext>
            </a:extLst>
          </p:cNvPr>
          <p:cNvSpPr>
            <a:spLocks noGrp="1"/>
          </p:cNvSpPr>
          <p:nvPr>
            <p:ph type="body" sz="quarter" idx="27" hasCustomPrompt="1"/>
          </p:nvPr>
        </p:nvSpPr>
        <p:spPr>
          <a:xfrm>
            <a:off x="1761449" y="9462033"/>
            <a:ext cx="6055578" cy="1750607"/>
          </a:xfrm>
        </p:spPr>
        <p:txBody>
          <a:bodyPr wrap="square">
            <a:spAutoFit/>
          </a:bodyPr>
          <a:lstStyle>
            <a:lvl1pPr>
              <a:defRPr sz="2800" b="0" i="0">
                <a:solidFill>
                  <a:schemeClr val="bg1"/>
                </a:solidFill>
              </a:defRPr>
            </a:lvl1pPr>
          </a:lstStyle>
          <a:p>
            <a:pPr lvl="0"/>
            <a:r>
              <a:rPr lang="en-US"/>
              <a:t>Multi-line description of key data point or figure from the program that represents an outcome or KPI.</a:t>
            </a:r>
          </a:p>
        </p:txBody>
      </p:sp>
      <p:sp>
        <p:nvSpPr>
          <p:cNvPr id="13" name="Text Placeholder 8">
            <a:extLst>
              <a:ext uri="{FF2B5EF4-FFF2-40B4-BE49-F238E27FC236}">
                <a16:creationId xmlns:a16="http://schemas.microsoft.com/office/drawing/2014/main" id="{ABFA24E5-6993-494F-A8E5-6A1A1D034CA3}"/>
              </a:ext>
            </a:extLst>
          </p:cNvPr>
          <p:cNvSpPr>
            <a:spLocks noGrp="1"/>
          </p:cNvSpPr>
          <p:nvPr>
            <p:ph type="body" sz="quarter" idx="30" hasCustomPrompt="1"/>
          </p:nvPr>
        </p:nvSpPr>
        <p:spPr>
          <a:xfrm>
            <a:off x="9158634" y="7695829"/>
            <a:ext cx="6055578" cy="388633"/>
          </a:xfrm>
        </p:spPr>
        <p:txBody>
          <a:bodyPr wrap="square" anchor="t">
            <a:spAutoFit/>
          </a:bodyPr>
          <a:lstStyle>
            <a:lvl1pPr>
              <a:defRPr sz="2000" b="0" i="0" cap="all" spc="200" baseline="0">
                <a:solidFill>
                  <a:schemeClr val="bg1"/>
                </a:solidFill>
                <a:latin typeface="Arial" panose="020B0604020202020204" pitchFamily="34" charset="0"/>
              </a:defRPr>
            </a:lvl1pPr>
          </a:lstStyle>
          <a:p>
            <a:pPr lvl="0"/>
            <a:r>
              <a:rPr lang="en-US"/>
              <a:t>SUPPORTING DESCRIPTOR</a:t>
            </a:r>
          </a:p>
        </p:txBody>
      </p:sp>
      <p:sp>
        <p:nvSpPr>
          <p:cNvPr id="14" name="Text Placeholder 8">
            <a:extLst>
              <a:ext uri="{FF2B5EF4-FFF2-40B4-BE49-F238E27FC236}">
                <a16:creationId xmlns:a16="http://schemas.microsoft.com/office/drawing/2014/main" id="{EF1B4F0F-AC8B-48F9-A5E8-FFD4B7EA7219}"/>
              </a:ext>
            </a:extLst>
          </p:cNvPr>
          <p:cNvSpPr>
            <a:spLocks noGrp="1"/>
          </p:cNvSpPr>
          <p:nvPr>
            <p:ph type="body" sz="quarter" idx="31" hasCustomPrompt="1"/>
          </p:nvPr>
        </p:nvSpPr>
        <p:spPr>
          <a:xfrm>
            <a:off x="9157522" y="9462033"/>
            <a:ext cx="6055578" cy="1750607"/>
          </a:xfrm>
        </p:spPr>
        <p:txBody>
          <a:bodyPr wrap="square">
            <a:spAutoFit/>
          </a:bodyPr>
          <a:lstStyle>
            <a:lvl1pPr>
              <a:defRPr sz="2800" b="0" i="0">
                <a:solidFill>
                  <a:schemeClr val="bg1"/>
                </a:solidFill>
              </a:defRPr>
            </a:lvl1pPr>
          </a:lstStyle>
          <a:p>
            <a:pPr lvl="0"/>
            <a:r>
              <a:rPr lang="en-US"/>
              <a:t>Multi-line description of key data point or figure from the program that represents an outcome or KPI.</a:t>
            </a:r>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6553594" y="7695829"/>
            <a:ext cx="6055578" cy="388633"/>
          </a:xfrm>
        </p:spPr>
        <p:txBody>
          <a:bodyPr wrap="square" anchor="t">
            <a:spAutoFit/>
          </a:bodyPr>
          <a:lstStyle>
            <a:lvl1pPr>
              <a:defRPr sz="2000" b="0" i="0" cap="all" spc="200" baseline="0">
                <a:solidFill>
                  <a:schemeClr val="bg1"/>
                </a:solidFill>
                <a:latin typeface="Arial" panose="020B0604020202020204" pitchFamily="34" charset="0"/>
              </a:defRPr>
            </a:lvl1pPr>
          </a:lstStyle>
          <a:p>
            <a:pPr lvl="0"/>
            <a:r>
              <a:rPr lang="en-US"/>
              <a:t>SUPPORTING DESCRIPTOR</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6553594" y="9462033"/>
            <a:ext cx="6055578" cy="1750607"/>
          </a:xfrm>
        </p:spPr>
        <p:txBody>
          <a:bodyPr wrap="square">
            <a:spAutoFit/>
          </a:bodyPr>
          <a:lstStyle>
            <a:lvl1pPr>
              <a:defRPr sz="2800" b="0" i="0">
                <a:solidFill>
                  <a:schemeClr val="bg1"/>
                </a:solidFill>
              </a:defRPr>
            </a:lvl1pPr>
          </a:lstStyle>
          <a:p>
            <a:pPr lvl="0"/>
            <a:r>
              <a:rPr lang="en-US"/>
              <a:t>Multi-line description of key data point or figure from the program that represents an outcome or KPI.</a:t>
            </a:r>
          </a:p>
        </p:txBody>
      </p:sp>
      <p:sp>
        <p:nvSpPr>
          <p:cNvPr id="18" name="Text Placeholder 4">
            <a:extLst>
              <a:ext uri="{FF2B5EF4-FFF2-40B4-BE49-F238E27FC236}">
                <a16:creationId xmlns:a16="http://schemas.microsoft.com/office/drawing/2014/main" id="{828217A3-D77B-4812-8E52-61821D1AB97D}"/>
              </a:ext>
            </a:extLst>
          </p:cNvPr>
          <p:cNvSpPr>
            <a:spLocks noGrp="1"/>
          </p:cNvSpPr>
          <p:nvPr>
            <p:ph type="body" sz="quarter" idx="63" hasCustomPrompt="1"/>
          </p:nvPr>
        </p:nvSpPr>
        <p:spPr>
          <a:xfrm rot="10800000">
            <a:off x="1763673" y="8669932"/>
            <a:ext cx="648693" cy="72000"/>
          </a:xfrm>
          <a:solidFill>
            <a:srgbClr val="CCCCCC"/>
          </a:solidFill>
        </p:spPr>
        <p:txBody>
          <a:bodyPr>
            <a:noAutofit/>
          </a:bodyPr>
          <a:lstStyle>
            <a:lvl1pPr>
              <a:defRPr b="0" i="0"/>
            </a:lvl1pPr>
          </a:lstStyle>
          <a:p>
            <a:pPr lvl="0"/>
            <a:r>
              <a:rPr lang="en-US"/>
              <a:t> </a:t>
            </a:r>
            <a:endParaRPr lang="de-DE"/>
          </a:p>
        </p:txBody>
      </p:sp>
      <p:sp>
        <p:nvSpPr>
          <p:cNvPr id="19" name="Text Placeholder 4">
            <a:extLst>
              <a:ext uri="{FF2B5EF4-FFF2-40B4-BE49-F238E27FC236}">
                <a16:creationId xmlns:a16="http://schemas.microsoft.com/office/drawing/2014/main" id="{E0A7EBEF-D443-4EBD-A2A0-88511CC27DFA}"/>
              </a:ext>
            </a:extLst>
          </p:cNvPr>
          <p:cNvSpPr>
            <a:spLocks noGrp="1"/>
          </p:cNvSpPr>
          <p:nvPr>
            <p:ph type="body" sz="quarter" idx="64" hasCustomPrompt="1"/>
          </p:nvPr>
        </p:nvSpPr>
        <p:spPr>
          <a:xfrm rot="10800000">
            <a:off x="9158632" y="8669932"/>
            <a:ext cx="648693" cy="72000"/>
          </a:xfrm>
          <a:solidFill>
            <a:srgbClr val="CCCCCC"/>
          </a:solidFill>
        </p:spPr>
        <p:txBody>
          <a:bodyPr>
            <a:noAutofit/>
          </a:bodyPr>
          <a:lstStyle>
            <a:lvl1pPr>
              <a:defRPr b="0" i="0"/>
            </a:lvl1pPr>
          </a:lstStyle>
          <a:p>
            <a:pPr lvl="0"/>
            <a:r>
              <a:rPr lang="en-US"/>
              <a:t> </a:t>
            </a:r>
            <a:endParaRPr lang="de-DE"/>
          </a:p>
        </p:txBody>
      </p:sp>
      <p:sp>
        <p:nvSpPr>
          <p:cNvPr id="20" name="Text Placeholder 4">
            <a:extLst>
              <a:ext uri="{FF2B5EF4-FFF2-40B4-BE49-F238E27FC236}">
                <a16:creationId xmlns:a16="http://schemas.microsoft.com/office/drawing/2014/main" id="{B3BEA46B-7846-4F5E-8471-96BD5258EFE6}"/>
              </a:ext>
            </a:extLst>
          </p:cNvPr>
          <p:cNvSpPr>
            <a:spLocks noGrp="1"/>
          </p:cNvSpPr>
          <p:nvPr>
            <p:ph type="body" sz="quarter" idx="65" hasCustomPrompt="1"/>
          </p:nvPr>
        </p:nvSpPr>
        <p:spPr>
          <a:xfrm rot="10800000">
            <a:off x="16553596" y="8669932"/>
            <a:ext cx="648693" cy="72000"/>
          </a:xfrm>
          <a:solidFill>
            <a:srgbClr val="CCCCCC"/>
          </a:solidFill>
        </p:spPr>
        <p:txBody>
          <a:bodyPr>
            <a:noAutofit/>
          </a:bodyPr>
          <a:lstStyle>
            <a:lvl1pPr>
              <a:defRPr b="0" i="0"/>
            </a:lvl1pPr>
          </a:lstStyle>
          <a:p>
            <a:pPr lvl="0"/>
            <a:r>
              <a:rPr lang="en-US"/>
              <a:t> </a:t>
            </a:r>
            <a:endParaRPr lang="de-DE"/>
          </a:p>
        </p:txBody>
      </p:sp>
      <p:sp>
        <p:nvSpPr>
          <p:cNvPr id="21" name="Text Placeholder 8">
            <a:extLst>
              <a:ext uri="{FF2B5EF4-FFF2-40B4-BE49-F238E27FC236}">
                <a16:creationId xmlns:a16="http://schemas.microsoft.com/office/drawing/2014/main" id="{28AC4E19-9886-4A6C-B456-53E919430CCA}"/>
              </a:ext>
            </a:extLst>
          </p:cNvPr>
          <p:cNvSpPr>
            <a:spLocks noGrp="1"/>
          </p:cNvSpPr>
          <p:nvPr>
            <p:ph type="body" sz="quarter" idx="66" hasCustomPrompt="1"/>
          </p:nvPr>
        </p:nvSpPr>
        <p:spPr>
          <a:xfrm>
            <a:off x="1763673" y="4253967"/>
            <a:ext cx="6055578" cy="2827127"/>
          </a:xfrm>
        </p:spPr>
        <p:txBody>
          <a:bodyPr wrap="square" anchor="b">
            <a:noAutofit/>
          </a:bodyPr>
          <a:lstStyle>
            <a:lvl1pPr>
              <a:defRPr sz="18200" b="0" i="0">
                <a:solidFill>
                  <a:schemeClr val="bg1"/>
                </a:solidFill>
                <a:latin typeface="Times New Roman" panose="02020603050405020304" pitchFamily="18" charset="0"/>
              </a:defRPr>
            </a:lvl1pPr>
          </a:lstStyle>
          <a:p>
            <a:pPr lvl="0"/>
            <a:r>
              <a:rPr lang="en-US"/>
              <a:t>+x%</a:t>
            </a:r>
          </a:p>
        </p:txBody>
      </p:sp>
      <p:sp>
        <p:nvSpPr>
          <p:cNvPr id="23" name="Text Placeholder 8">
            <a:extLst>
              <a:ext uri="{FF2B5EF4-FFF2-40B4-BE49-F238E27FC236}">
                <a16:creationId xmlns:a16="http://schemas.microsoft.com/office/drawing/2014/main" id="{D463160F-8E7F-4CC8-A6F2-A36BE4105FE1}"/>
              </a:ext>
            </a:extLst>
          </p:cNvPr>
          <p:cNvSpPr>
            <a:spLocks noGrp="1"/>
          </p:cNvSpPr>
          <p:nvPr>
            <p:ph type="body" sz="quarter" idx="67" hasCustomPrompt="1"/>
          </p:nvPr>
        </p:nvSpPr>
        <p:spPr>
          <a:xfrm>
            <a:off x="9158633" y="4253967"/>
            <a:ext cx="6055578" cy="2827127"/>
          </a:xfrm>
        </p:spPr>
        <p:txBody>
          <a:bodyPr wrap="square" anchor="b">
            <a:noAutofit/>
          </a:bodyPr>
          <a:lstStyle>
            <a:lvl1pPr>
              <a:defRPr sz="18200" b="0" i="0">
                <a:solidFill>
                  <a:schemeClr val="bg1"/>
                </a:solidFill>
                <a:latin typeface="Times New Roman" panose="02020603050405020304" pitchFamily="18" charset="0"/>
              </a:defRPr>
            </a:lvl1pPr>
          </a:lstStyle>
          <a:p>
            <a:pPr lvl="0"/>
            <a:r>
              <a:rPr lang="en-US" err="1"/>
              <a:t>xk</a:t>
            </a:r>
            <a:endParaRPr lang="en-US"/>
          </a:p>
        </p:txBody>
      </p:sp>
      <p:sp>
        <p:nvSpPr>
          <p:cNvPr id="24" name="Text Placeholder 8">
            <a:extLst>
              <a:ext uri="{FF2B5EF4-FFF2-40B4-BE49-F238E27FC236}">
                <a16:creationId xmlns:a16="http://schemas.microsoft.com/office/drawing/2014/main" id="{00C2B73F-3340-401B-83CB-D19615E33E77}"/>
              </a:ext>
            </a:extLst>
          </p:cNvPr>
          <p:cNvSpPr>
            <a:spLocks noGrp="1"/>
          </p:cNvSpPr>
          <p:nvPr>
            <p:ph type="body" sz="quarter" idx="68" hasCustomPrompt="1"/>
          </p:nvPr>
        </p:nvSpPr>
        <p:spPr>
          <a:xfrm>
            <a:off x="16553596" y="4253967"/>
            <a:ext cx="6055578" cy="2827127"/>
          </a:xfrm>
        </p:spPr>
        <p:txBody>
          <a:bodyPr wrap="square" anchor="b">
            <a:noAutofit/>
          </a:bodyPr>
          <a:lstStyle>
            <a:lvl1pPr>
              <a:defRPr sz="18200" b="0" i="0">
                <a:solidFill>
                  <a:schemeClr val="bg1"/>
                </a:solidFill>
                <a:latin typeface="Times New Roman" panose="02020603050405020304" pitchFamily="18" charset="0"/>
              </a:defRPr>
            </a:lvl1pPr>
          </a:lstStyle>
          <a:p>
            <a:pPr lvl="0"/>
            <a:r>
              <a:rPr lang="en-US"/>
              <a:t>xx</a:t>
            </a:r>
          </a:p>
        </p:txBody>
      </p:sp>
      <p:grpSp>
        <p:nvGrpSpPr>
          <p:cNvPr id="25" name="Group">
            <a:extLst>
              <a:ext uri="{FF2B5EF4-FFF2-40B4-BE49-F238E27FC236}">
                <a16:creationId xmlns:a16="http://schemas.microsoft.com/office/drawing/2014/main" id="{DD722FEE-16C9-4E6E-BBA4-15BCBA5B57C8}"/>
              </a:ext>
            </a:extLst>
          </p:cNvPr>
          <p:cNvGrpSpPr/>
          <p:nvPr userDrawn="1"/>
        </p:nvGrpSpPr>
        <p:grpSpPr>
          <a:xfrm>
            <a:off x="885450" y="12829819"/>
            <a:ext cx="885653" cy="885653"/>
            <a:chOff x="0" y="0"/>
            <a:chExt cx="885651" cy="885651"/>
          </a:xfrm>
        </p:grpSpPr>
        <p:sp>
          <p:nvSpPr>
            <p:cNvPr id="26" name="Square">
              <a:extLst>
                <a:ext uri="{FF2B5EF4-FFF2-40B4-BE49-F238E27FC236}">
                  <a16:creationId xmlns:a16="http://schemas.microsoft.com/office/drawing/2014/main" id="{D57F9C72-6311-41D4-AA0B-9CBF04632A3B}"/>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27" name="Image">
              <a:extLst>
                <a:ext uri="{FF2B5EF4-FFF2-40B4-BE49-F238E27FC236}">
                  <a16:creationId xmlns:a16="http://schemas.microsoft.com/office/drawing/2014/main" id="{746A527F-FEA6-492C-88CC-AF5ADBEFEC3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745292088"/>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Landscape image 1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63C95-ADBF-F34B-BE3C-45F7F3054397}"/>
              </a:ext>
            </a:extLst>
          </p:cNvPr>
          <p:cNvSpPr>
            <a:spLocks noGrp="1"/>
          </p:cNvSpPr>
          <p:nvPr>
            <p:ph type="title" hasCustomPrompt="1"/>
          </p:nvPr>
        </p:nvSpPr>
        <p:spPr>
          <a:xfrm>
            <a:off x="1742893" y="9108735"/>
            <a:ext cx="3743508" cy="997196"/>
          </a:xfrm>
        </p:spPr>
        <p:txBody>
          <a:bodyPr/>
          <a:lstStyle>
            <a:lvl1pPr>
              <a:defRPr>
                <a:solidFill>
                  <a:schemeClr val="bg1"/>
                </a:solidFill>
              </a:defRPr>
            </a:lvl1pPr>
          </a:lstStyle>
          <a:p>
            <a:r>
              <a:rPr lang="en-US"/>
              <a:t>Challenge</a:t>
            </a:r>
          </a:p>
        </p:txBody>
      </p:sp>
      <p:sp>
        <p:nvSpPr>
          <p:cNvPr id="17" name="Image">
            <a:extLst>
              <a:ext uri="{FF2B5EF4-FFF2-40B4-BE49-F238E27FC236}">
                <a16:creationId xmlns:a16="http://schemas.microsoft.com/office/drawing/2014/main" id="{123E640E-CF8D-D942-A223-36FB1E529235}"/>
              </a:ext>
            </a:extLst>
          </p:cNvPr>
          <p:cNvSpPr>
            <a:spLocks noGrp="1"/>
          </p:cNvSpPr>
          <p:nvPr>
            <p:ph type="pic" idx="56"/>
          </p:nvPr>
        </p:nvSpPr>
        <p:spPr>
          <a:xfrm>
            <a:off x="-1863" y="32799"/>
            <a:ext cx="8129863" cy="8051327"/>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8" name="Image">
            <a:extLst>
              <a:ext uri="{FF2B5EF4-FFF2-40B4-BE49-F238E27FC236}">
                <a16:creationId xmlns:a16="http://schemas.microsoft.com/office/drawing/2014/main" id="{48403709-E40C-F24D-B30B-B96AB4168F30}"/>
              </a:ext>
            </a:extLst>
          </p:cNvPr>
          <p:cNvSpPr>
            <a:spLocks noGrp="1"/>
          </p:cNvSpPr>
          <p:nvPr>
            <p:ph type="pic" idx="38"/>
          </p:nvPr>
        </p:nvSpPr>
        <p:spPr>
          <a:xfrm>
            <a:off x="8128000" y="32799"/>
            <a:ext cx="8129863" cy="8051327"/>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9" name="Image">
            <a:extLst>
              <a:ext uri="{FF2B5EF4-FFF2-40B4-BE49-F238E27FC236}">
                <a16:creationId xmlns:a16="http://schemas.microsoft.com/office/drawing/2014/main" id="{19068A8A-00AA-B34E-ABFB-2B98DA68B85E}"/>
              </a:ext>
            </a:extLst>
          </p:cNvPr>
          <p:cNvSpPr>
            <a:spLocks noGrp="1"/>
          </p:cNvSpPr>
          <p:nvPr>
            <p:ph type="pic" idx="39"/>
          </p:nvPr>
        </p:nvSpPr>
        <p:spPr>
          <a:xfrm>
            <a:off x="16257863" y="32799"/>
            <a:ext cx="8129863" cy="8051327"/>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grpSp>
        <p:nvGrpSpPr>
          <p:cNvPr id="10" name="Group">
            <a:extLst>
              <a:ext uri="{FF2B5EF4-FFF2-40B4-BE49-F238E27FC236}">
                <a16:creationId xmlns:a16="http://schemas.microsoft.com/office/drawing/2014/main" id="{CC6126CE-30F1-436F-938D-CC12D3ABFAE2}"/>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E15130E-9000-422D-854C-FEBCB8B0566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7F13688E-0F2F-4A9F-AF5A-7BD71CFC56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13" name="Text Placeholder 8">
            <a:extLst>
              <a:ext uri="{FF2B5EF4-FFF2-40B4-BE49-F238E27FC236}">
                <a16:creationId xmlns:a16="http://schemas.microsoft.com/office/drawing/2014/main" id="{A4798921-C276-F240-83AC-28409ABD35B7}"/>
              </a:ext>
            </a:extLst>
          </p:cNvPr>
          <p:cNvSpPr>
            <a:spLocks noGrp="1"/>
          </p:cNvSpPr>
          <p:nvPr>
            <p:ph type="body" sz="quarter" idx="54" hasCustomPrompt="1"/>
          </p:nvPr>
        </p:nvSpPr>
        <p:spPr>
          <a:xfrm>
            <a:off x="15934517" y="9285707"/>
            <a:ext cx="6509846" cy="3319627"/>
          </a:xfrm>
        </p:spPr>
        <p:txBody>
          <a:bodyPr wrap="square">
            <a:spAutoFit/>
          </a:bodyPr>
          <a:lstStyle>
            <a:lvl1pPr marL="0" marR="0" indent="0" algn="l" defTabSz="1828432" eaLnBrk="1" fontAlgn="auto" latinLnBrk="0" hangingPunct="1">
              <a:lnSpc>
                <a:spcPct val="130000"/>
              </a:lnSpc>
              <a:spcBef>
                <a:spcPts val="0"/>
              </a:spcBef>
              <a:spcAft>
                <a:spcPts val="0"/>
              </a:spcAft>
              <a:buClrTx/>
              <a:buSzTx/>
              <a:buFontTx/>
              <a:buNone/>
              <a:tabLst/>
              <a:defRPr lang="en-US" b="0" i="0" smtClean="0">
                <a:solidFill>
                  <a:schemeClr val="bg1"/>
                </a:solidFill>
                <a:effectLst/>
                <a:latin typeface="Arial" panose="020B0604020202020204" pitchFamily="34" charset="0"/>
              </a:defRPr>
            </a:lvl1pPr>
          </a:lstStyle>
          <a:p>
            <a:r>
              <a:rPr lang="en-US">
                <a:solidFill>
                  <a:srgbClr val="FDFCFE"/>
                </a:solidFill>
                <a:effectLst/>
                <a:latin typeface="BentonSansF Book" panose="02000503040000020004" pitchFamily="2" charset="77"/>
              </a:rPr>
              <a:t>Donec magna libero, </a:t>
            </a:r>
            <a:r>
              <a:rPr lang="en-US" err="1">
                <a:solidFill>
                  <a:srgbClr val="FDFCFE"/>
                </a:solidFill>
                <a:effectLst/>
                <a:latin typeface="BentonSansF Book" panose="02000503040000020004" pitchFamily="2" charset="77"/>
              </a:rPr>
              <a:t>condiment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ulputat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lacu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ge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interd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onsequ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ci</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Quisqu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sem</a:t>
            </a:r>
            <a:r>
              <a:rPr lang="en-US">
                <a:solidFill>
                  <a:srgbClr val="FDFCFE"/>
                </a:solidFill>
                <a:effectLst/>
                <a:latin typeface="BentonSansF Book" panose="02000503040000020004" pitchFamily="2" charset="77"/>
              </a:rPr>
              <a:t> dui, </a:t>
            </a:r>
            <a:r>
              <a:rPr lang="en-US" err="1">
                <a:solidFill>
                  <a:srgbClr val="FDFCFE"/>
                </a:solidFill>
                <a:effectLst/>
                <a:latin typeface="BentonSansF Book" panose="02000503040000020004" pitchFamily="2" charset="77"/>
              </a:rPr>
              <a:t>imperdiet</a:t>
            </a:r>
            <a:r>
              <a:rPr lang="en-US">
                <a:solidFill>
                  <a:srgbClr val="FDFCFE"/>
                </a:solidFill>
                <a:effectLst/>
                <a:latin typeface="BentonSansF Book" panose="02000503040000020004" pitchFamily="2" charset="77"/>
              </a:rPr>
              <a:t> non </a:t>
            </a:r>
            <a:r>
              <a:rPr lang="en-US" err="1">
                <a:solidFill>
                  <a:srgbClr val="FDFCFE"/>
                </a:solidFill>
                <a:effectLst/>
                <a:latin typeface="BentonSansF Book" panose="02000503040000020004" pitchFamily="2" charset="77"/>
              </a:rPr>
              <a:t>nul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feugi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olli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dio</a:t>
            </a:r>
            <a:r>
              <a:rPr lang="en-US">
                <a:solidFill>
                  <a:srgbClr val="FDFCFE"/>
                </a:solidFill>
                <a:effectLst/>
                <a:latin typeface="BentonSansF Book" panose="02000503040000020004" pitchFamily="2" charset="77"/>
              </a:rPr>
              <a:t>. Nam in libero a </a:t>
            </a:r>
            <a:r>
              <a:rPr lang="en-US" err="1">
                <a:solidFill>
                  <a:srgbClr val="FDFCFE"/>
                </a:solidFill>
                <a:effectLst/>
                <a:latin typeface="BentonSansF Book" panose="02000503040000020004" pitchFamily="2" charset="77"/>
              </a:rPr>
              <a:t>torto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alesuad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incidun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urabitu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u</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nar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ellus</a:t>
            </a:r>
            <a:r>
              <a:rPr lang="en-US">
                <a:solidFill>
                  <a:srgbClr val="FDFCFE"/>
                </a:solidFill>
                <a:effectLst/>
                <a:latin typeface="BentonSansF Book" panose="02000503040000020004" pitchFamily="2" charset="77"/>
              </a:rPr>
              <a:t>. Nunc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purus</a:t>
            </a:r>
            <a:r>
              <a:rPr lang="en-US">
                <a:solidFill>
                  <a:srgbClr val="FDFCFE"/>
                </a:solidFill>
                <a:effectLst/>
                <a:latin typeface="BentonSansF Book" panose="02000503040000020004" pitchFamily="2" charset="77"/>
              </a:rPr>
              <a:t> ac </a:t>
            </a:r>
            <a:r>
              <a:rPr lang="en-US" err="1">
                <a:solidFill>
                  <a:srgbClr val="FDFCFE"/>
                </a:solidFill>
                <a:effectLst/>
                <a:latin typeface="BentonSansF Book" panose="02000503040000020004" pitchFamily="2" charset="77"/>
              </a:rPr>
              <a:t>vehicu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bibendum</a:t>
            </a:r>
            <a:r>
              <a:rPr lang="en-US">
                <a:solidFill>
                  <a:srgbClr val="FDFCFE"/>
                </a:solidFill>
                <a:effectLst/>
                <a:latin typeface="BentonSansF Book" panose="02000503040000020004" pitchFamily="2" charset="77"/>
              </a:rPr>
              <a:t>, ante </a:t>
            </a:r>
            <a:r>
              <a:rPr lang="en-US" err="1">
                <a:solidFill>
                  <a:srgbClr val="FDFCFE"/>
                </a:solidFill>
                <a:effectLst/>
                <a:latin typeface="BentonSansF Book" panose="02000503040000020004" pitchFamily="2" charset="77"/>
              </a:rPr>
              <a:t>nibh</a:t>
            </a:r>
            <a:r>
              <a:rPr lang="en-US">
                <a:solidFill>
                  <a:srgbClr val="FDFCFE"/>
                </a:solidFill>
                <a:effectLst/>
                <a:latin typeface="BentonSansF Book" panose="02000503040000020004" pitchFamily="2" charset="77"/>
              </a:rPr>
              <a:t> semper </a:t>
            </a:r>
            <a:r>
              <a:rPr lang="en-US" err="1">
                <a:solidFill>
                  <a:srgbClr val="FDFCFE"/>
                </a:solidFill>
                <a:effectLst/>
                <a:latin typeface="BentonSansF Book" panose="02000503040000020004" pitchFamily="2" charset="77"/>
              </a:rPr>
              <a:t>turpis</a:t>
            </a:r>
            <a:endParaRPr lang="en-US">
              <a:solidFill>
                <a:srgbClr val="FDFCFE"/>
              </a:solidFill>
              <a:effectLst/>
              <a:latin typeface="BentonSansF Book" panose="02000503040000020004" pitchFamily="2" charset="77"/>
            </a:endParaRPr>
          </a:p>
        </p:txBody>
      </p:sp>
      <p:sp>
        <p:nvSpPr>
          <p:cNvPr id="14" name="Text Placeholder 8">
            <a:extLst>
              <a:ext uri="{FF2B5EF4-FFF2-40B4-BE49-F238E27FC236}">
                <a16:creationId xmlns:a16="http://schemas.microsoft.com/office/drawing/2014/main" id="{B34E92D2-2673-A34D-B20B-0835A3DE4D6C}"/>
              </a:ext>
            </a:extLst>
          </p:cNvPr>
          <p:cNvSpPr>
            <a:spLocks noGrp="1"/>
          </p:cNvSpPr>
          <p:nvPr>
            <p:ph type="body" sz="quarter" idx="55" hasCustomPrompt="1"/>
          </p:nvPr>
        </p:nvSpPr>
        <p:spPr>
          <a:xfrm>
            <a:off x="8397643" y="9285707"/>
            <a:ext cx="6509846" cy="3319627"/>
          </a:xfrm>
        </p:spPr>
        <p:txBody>
          <a:bodyPr wrap="square">
            <a:spAutoFit/>
          </a:bodyPr>
          <a:lstStyle>
            <a:lvl1pPr marL="0" marR="0" indent="0" algn="l" defTabSz="1828432" eaLnBrk="1" fontAlgn="auto" latinLnBrk="0" hangingPunct="1">
              <a:lnSpc>
                <a:spcPct val="130000"/>
              </a:lnSpc>
              <a:spcBef>
                <a:spcPts val="0"/>
              </a:spcBef>
              <a:spcAft>
                <a:spcPts val="0"/>
              </a:spcAft>
              <a:buClrTx/>
              <a:buSzTx/>
              <a:buFontTx/>
              <a:buNone/>
              <a:tabLst/>
              <a:defRPr lang="en-US" b="0" i="0" smtClean="0">
                <a:solidFill>
                  <a:schemeClr val="bg1"/>
                </a:solidFill>
                <a:effectLst/>
                <a:latin typeface="Arial" panose="020B0604020202020204" pitchFamily="34" charset="0"/>
              </a:defRPr>
            </a:lvl1pPr>
          </a:lstStyle>
          <a:p>
            <a:r>
              <a:rPr lang="en-US">
                <a:solidFill>
                  <a:srgbClr val="FDFCFE"/>
                </a:solidFill>
                <a:effectLst/>
                <a:latin typeface="BentonSansF Book" panose="02000503040000020004" pitchFamily="2" charset="77"/>
              </a:rPr>
              <a:t>Donec magna libero, </a:t>
            </a:r>
            <a:r>
              <a:rPr lang="en-US" err="1">
                <a:solidFill>
                  <a:srgbClr val="FDFCFE"/>
                </a:solidFill>
                <a:effectLst/>
                <a:latin typeface="BentonSansF Book" panose="02000503040000020004" pitchFamily="2" charset="77"/>
              </a:rPr>
              <a:t>condiment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ulputat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lacu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ge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interd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onsequ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ci</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Quisqu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sem</a:t>
            </a:r>
            <a:r>
              <a:rPr lang="en-US">
                <a:solidFill>
                  <a:srgbClr val="FDFCFE"/>
                </a:solidFill>
                <a:effectLst/>
                <a:latin typeface="BentonSansF Book" panose="02000503040000020004" pitchFamily="2" charset="77"/>
              </a:rPr>
              <a:t> dui, </a:t>
            </a:r>
            <a:r>
              <a:rPr lang="en-US" err="1">
                <a:solidFill>
                  <a:srgbClr val="FDFCFE"/>
                </a:solidFill>
                <a:effectLst/>
                <a:latin typeface="BentonSansF Book" panose="02000503040000020004" pitchFamily="2" charset="77"/>
              </a:rPr>
              <a:t>imperdiet</a:t>
            </a:r>
            <a:r>
              <a:rPr lang="en-US">
                <a:solidFill>
                  <a:srgbClr val="FDFCFE"/>
                </a:solidFill>
                <a:effectLst/>
                <a:latin typeface="BentonSansF Book" panose="02000503040000020004" pitchFamily="2" charset="77"/>
              </a:rPr>
              <a:t> non </a:t>
            </a:r>
            <a:r>
              <a:rPr lang="en-US" err="1">
                <a:solidFill>
                  <a:srgbClr val="FDFCFE"/>
                </a:solidFill>
                <a:effectLst/>
                <a:latin typeface="BentonSansF Book" panose="02000503040000020004" pitchFamily="2" charset="77"/>
              </a:rPr>
              <a:t>nul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feugi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olli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dio</a:t>
            </a:r>
            <a:r>
              <a:rPr lang="en-US">
                <a:solidFill>
                  <a:srgbClr val="FDFCFE"/>
                </a:solidFill>
                <a:effectLst/>
                <a:latin typeface="BentonSansF Book" panose="02000503040000020004" pitchFamily="2" charset="77"/>
              </a:rPr>
              <a:t>. Nam in libero a </a:t>
            </a:r>
            <a:r>
              <a:rPr lang="en-US" err="1">
                <a:solidFill>
                  <a:srgbClr val="FDFCFE"/>
                </a:solidFill>
                <a:effectLst/>
                <a:latin typeface="BentonSansF Book" panose="02000503040000020004" pitchFamily="2" charset="77"/>
              </a:rPr>
              <a:t>torto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alesuad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incidun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urabitu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u</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nar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ellus</a:t>
            </a:r>
            <a:r>
              <a:rPr lang="en-US">
                <a:solidFill>
                  <a:srgbClr val="FDFCFE"/>
                </a:solidFill>
                <a:effectLst/>
                <a:latin typeface="BentonSansF Book" panose="02000503040000020004" pitchFamily="2" charset="77"/>
              </a:rPr>
              <a:t>. Nunc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purus</a:t>
            </a:r>
            <a:r>
              <a:rPr lang="en-US">
                <a:solidFill>
                  <a:srgbClr val="FDFCFE"/>
                </a:solidFill>
                <a:effectLst/>
                <a:latin typeface="BentonSansF Book" panose="02000503040000020004" pitchFamily="2" charset="77"/>
              </a:rPr>
              <a:t> ac </a:t>
            </a:r>
            <a:r>
              <a:rPr lang="en-US" err="1">
                <a:solidFill>
                  <a:srgbClr val="FDFCFE"/>
                </a:solidFill>
                <a:effectLst/>
                <a:latin typeface="BentonSansF Book" panose="02000503040000020004" pitchFamily="2" charset="77"/>
              </a:rPr>
              <a:t>vehicu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bibendum</a:t>
            </a:r>
            <a:r>
              <a:rPr lang="en-US">
                <a:solidFill>
                  <a:srgbClr val="FDFCFE"/>
                </a:solidFill>
                <a:effectLst/>
                <a:latin typeface="BentonSansF Book" panose="02000503040000020004" pitchFamily="2" charset="77"/>
              </a:rPr>
              <a:t>, ante </a:t>
            </a:r>
            <a:r>
              <a:rPr lang="en-US" err="1">
                <a:solidFill>
                  <a:srgbClr val="FDFCFE"/>
                </a:solidFill>
                <a:effectLst/>
                <a:latin typeface="BentonSansF Book" panose="02000503040000020004" pitchFamily="2" charset="77"/>
              </a:rPr>
              <a:t>nibh</a:t>
            </a:r>
            <a:r>
              <a:rPr lang="en-US">
                <a:solidFill>
                  <a:srgbClr val="FDFCFE"/>
                </a:solidFill>
                <a:effectLst/>
                <a:latin typeface="BentonSansF Book" panose="02000503040000020004" pitchFamily="2" charset="77"/>
              </a:rPr>
              <a:t> semper </a:t>
            </a:r>
            <a:r>
              <a:rPr lang="en-US" err="1">
                <a:solidFill>
                  <a:srgbClr val="FDFCFE"/>
                </a:solidFill>
                <a:effectLst/>
                <a:latin typeface="BentonSansF Book" panose="02000503040000020004" pitchFamily="2" charset="77"/>
              </a:rPr>
              <a:t>turpis</a:t>
            </a:r>
            <a:endParaRPr lang="en-US">
              <a:solidFill>
                <a:srgbClr val="FDFCFE"/>
              </a:solidFill>
              <a:effectLst/>
              <a:latin typeface="BentonSansF Book" panose="02000503040000020004" pitchFamily="2" charset="77"/>
            </a:endParaRPr>
          </a:p>
        </p:txBody>
      </p:sp>
    </p:spTree>
    <p:extLst>
      <p:ext uri="{BB962C8B-B14F-4D97-AF65-F5344CB8AC3E}">
        <p14:creationId xmlns:p14="http://schemas.microsoft.com/office/powerpoint/2010/main" val="2176261005"/>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Landscape image 1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247F-93D7-D845-867C-20D045FBD419}"/>
              </a:ext>
            </a:extLst>
          </p:cNvPr>
          <p:cNvSpPr>
            <a:spLocks noGrp="1"/>
          </p:cNvSpPr>
          <p:nvPr>
            <p:ph type="title" hasCustomPrompt="1"/>
          </p:nvPr>
        </p:nvSpPr>
        <p:spPr>
          <a:xfrm>
            <a:off x="1742893" y="9087954"/>
            <a:ext cx="3618818" cy="997196"/>
          </a:xfrm>
        </p:spPr>
        <p:txBody>
          <a:bodyPr/>
          <a:lstStyle>
            <a:lvl1pPr>
              <a:defRPr>
                <a:solidFill>
                  <a:schemeClr val="bg1"/>
                </a:solidFill>
              </a:defRPr>
            </a:lvl1pPr>
          </a:lstStyle>
          <a:p>
            <a:r>
              <a:rPr lang="en-US"/>
              <a:t>Approach</a:t>
            </a:r>
          </a:p>
        </p:txBody>
      </p:sp>
      <p:sp>
        <p:nvSpPr>
          <p:cNvPr id="17" name="Image">
            <a:extLst>
              <a:ext uri="{FF2B5EF4-FFF2-40B4-BE49-F238E27FC236}">
                <a16:creationId xmlns:a16="http://schemas.microsoft.com/office/drawing/2014/main" id="{123E640E-CF8D-D942-A223-36FB1E529235}"/>
              </a:ext>
            </a:extLst>
          </p:cNvPr>
          <p:cNvSpPr>
            <a:spLocks noGrp="1"/>
          </p:cNvSpPr>
          <p:nvPr>
            <p:ph type="pic" idx="56"/>
          </p:nvPr>
        </p:nvSpPr>
        <p:spPr>
          <a:xfrm>
            <a:off x="-1863" y="32799"/>
            <a:ext cx="8129863" cy="8051327"/>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8" name="Image">
            <a:extLst>
              <a:ext uri="{FF2B5EF4-FFF2-40B4-BE49-F238E27FC236}">
                <a16:creationId xmlns:a16="http://schemas.microsoft.com/office/drawing/2014/main" id="{48403709-E40C-F24D-B30B-B96AB4168F30}"/>
              </a:ext>
            </a:extLst>
          </p:cNvPr>
          <p:cNvSpPr>
            <a:spLocks noGrp="1"/>
          </p:cNvSpPr>
          <p:nvPr>
            <p:ph type="pic" idx="38"/>
          </p:nvPr>
        </p:nvSpPr>
        <p:spPr>
          <a:xfrm>
            <a:off x="8128000" y="32799"/>
            <a:ext cx="8129863" cy="8051327"/>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9" name="Image">
            <a:extLst>
              <a:ext uri="{FF2B5EF4-FFF2-40B4-BE49-F238E27FC236}">
                <a16:creationId xmlns:a16="http://schemas.microsoft.com/office/drawing/2014/main" id="{19068A8A-00AA-B34E-ABFB-2B98DA68B85E}"/>
              </a:ext>
            </a:extLst>
          </p:cNvPr>
          <p:cNvSpPr>
            <a:spLocks noGrp="1"/>
          </p:cNvSpPr>
          <p:nvPr>
            <p:ph type="pic" idx="39"/>
          </p:nvPr>
        </p:nvSpPr>
        <p:spPr>
          <a:xfrm>
            <a:off x="16257863" y="32799"/>
            <a:ext cx="8129863" cy="8051327"/>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grpSp>
        <p:nvGrpSpPr>
          <p:cNvPr id="10" name="Group">
            <a:extLst>
              <a:ext uri="{FF2B5EF4-FFF2-40B4-BE49-F238E27FC236}">
                <a16:creationId xmlns:a16="http://schemas.microsoft.com/office/drawing/2014/main" id="{CC6126CE-30F1-436F-938D-CC12D3ABFAE2}"/>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E15130E-9000-422D-854C-FEBCB8B0566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7F13688E-0F2F-4A9F-AF5A-7BD71CFC56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13" name="Text Placeholder 8">
            <a:extLst>
              <a:ext uri="{FF2B5EF4-FFF2-40B4-BE49-F238E27FC236}">
                <a16:creationId xmlns:a16="http://schemas.microsoft.com/office/drawing/2014/main" id="{A4798921-C276-F240-83AC-28409ABD35B7}"/>
              </a:ext>
            </a:extLst>
          </p:cNvPr>
          <p:cNvSpPr>
            <a:spLocks noGrp="1"/>
          </p:cNvSpPr>
          <p:nvPr>
            <p:ph type="body" sz="quarter" idx="54" hasCustomPrompt="1"/>
          </p:nvPr>
        </p:nvSpPr>
        <p:spPr>
          <a:xfrm>
            <a:off x="15934517" y="9285707"/>
            <a:ext cx="6509846" cy="3319627"/>
          </a:xfrm>
        </p:spPr>
        <p:txBody>
          <a:bodyPr wrap="square">
            <a:spAutoFit/>
          </a:bodyPr>
          <a:lstStyle>
            <a:lvl1pPr marL="0" marR="0" indent="0" algn="l" defTabSz="1828432" eaLnBrk="1" fontAlgn="auto" latinLnBrk="0" hangingPunct="1">
              <a:lnSpc>
                <a:spcPct val="130000"/>
              </a:lnSpc>
              <a:spcBef>
                <a:spcPts val="0"/>
              </a:spcBef>
              <a:spcAft>
                <a:spcPts val="0"/>
              </a:spcAft>
              <a:buClrTx/>
              <a:buSzTx/>
              <a:buFontTx/>
              <a:buNone/>
              <a:tabLst/>
              <a:defRPr lang="en-US" b="0" i="0" smtClean="0">
                <a:solidFill>
                  <a:schemeClr val="bg1"/>
                </a:solidFill>
                <a:effectLst/>
                <a:latin typeface="Arial" panose="020B0604020202020204" pitchFamily="34" charset="0"/>
              </a:defRPr>
            </a:lvl1pPr>
          </a:lstStyle>
          <a:p>
            <a:r>
              <a:rPr lang="en-US">
                <a:solidFill>
                  <a:srgbClr val="FDFCFE"/>
                </a:solidFill>
                <a:effectLst/>
                <a:latin typeface="BentonSansF Book" panose="02000503040000020004" pitchFamily="2" charset="77"/>
              </a:rPr>
              <a:t>Donec magna libero, </a:t>
            </a:r>
            <a:r>
              <a:rPr lang="en-US" err="1">
                <a:solidFill>
                  <a:srgbClr val="FDFCFE"/>
                </a:solidFill>
                <a:effectLst/>
                <a:latin typeface="BentonSansF Book" panose="02000503040000020004" pitchFamily="2" charset="77"/>
              </a:rPr>
              <a:t>condiment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ulputat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lacu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ge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interd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onsequ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ci</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Quisqu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sem</a:t>
            </a:r>
            <a:r>
              <a:rPr lang="en-US">
                <a:solidFill>
                  <a:srgbClr val="FDFCFE"/>
                </a:solidFill>
                <a:effectLst/>
                <a:latin typeface="BentonSansF Book" panose="02000503040000020004" pitchFamily="2" charset="77"/>
              </a:rPr>
              <a:t> dui, </a:t>
            </a:r>
            <a:r>
              <a:rPr lang="en-US" err="1">
                <a:solidFill>
                  <a:srgbClr val="FDFCFE"/>
                </a:solidFill>
                <a:effectLst/>
                <a:latin typeface="BentonSansF Book" panose="02000503040000020004" pitchFamily="2" charset="77"/>
              </a:rPr>
              <a:t>imperdiet</a:t>
            </a:r>
            <a:r>
              <a:rPr lang="en-US">
                <a:solidFill>
                  <a:srgbClr val="FDFCFE"/>
                </a:solidFill>
                <a:effectLst/>
                <a:latin typeface="BentonSansF Book" panose="02000503040000020004" pitchFamily="2" charset="77"/>
              </a:rPr>
              <a:t> non </a:t>
            </a:r>
            <a:r>
              <a:rPr lang="en-US" err="1">
                <a:solidFill>
                  <a:srgbClr val="FDFCFE"/>
                </a:solidFill>
                <a:effectLst/>
                <a:latin typeface="BentonSansF Book" panose="02000503040000020004" pitchFamily="2" charset="77"/>
              </a:rPr>
              <a:t>nul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feugi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olli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dio</a:t>
            </a:r>
            <a:r>
              <a:rPr lang="en-US">
                <a:solidFill>
                  <a:srgbClr val="FDFCFE"/>
                </a:solidFill>
                <a:effectLst/>
                <a:latin typeface="BentonSansF Book" panose="02000503040000020004" pitchFamily="2" charset="77"/>
              </a:rPr>
              <a:t>. Nam in libero a </a:t>
            </a:r>
            <a:r>
              <a:rPr lang="en-US" err="1">
                <a:solidFill>
                  <a:srgbClr val="FDFCFE"/>
                </a:solidFill>
                <a:effectLst/>
                <a:latin typeface="BentonSansF Book" panose="02000503040000020004" pitchFamily="2" charset="77"/>
              </a:rPr>
              <a:t>torto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alesuad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incidun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urabitu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u</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nar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ellus</a:t>
            </a:r>
            <a:r>
              <a:rPr lang="en-US">
                <a:solidFill>
                  <a:srgbClr val="FDFCFE"/>
                </a:solidFill>
                <a:effectLst/>
                <a:latin typeface="BentonSansF Book" panose="02000503040000020004" pitchFamily="2" charset="77"/>
              </a:rPr>
              <a:t>. Nunc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purus</a:t>
            </a:r>
            <a:r>
              <a:rPr lang="en-US">
                <a:solidFill>
                  <a:srgbClr val="FDFCFE"/>
                </a:solidFill>
                <a:effectLst/>
                <a:latin typeface="BentonSansF Book" panose="02000503040000020004" pitchFamily="2" charset="77"/>
              </a:rPr>
              <a:t> ac </a:t>
            </a:r>
            <a:r>
              <a:rPr lang="en-US" err="1">
                <a:solidFill>
                  <a:srgbClr val="FDFCFE"/>
                </a:solidFill>
                <a:effectLst/>
                <a:latin typeface="BentonSansF Book" panose="02000503040000020004" pitchFamily="2" charset="77"/>
              </a:rPr>
              <a:t>vehicu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bibendum</a:t>
            </a:r>
            <a:r>
              <a:rPr lang="en-US">
                <a:solidFill>
                  <a:srgbClr val="FDFCFE"/>
                </a:solidFill>
                <a:effectLst/>
                <a:latin typeface="BentonSansF Book" panose="02000503040000020004" pitchFamily="2" charset="77"/>
              </a:rPr>
              <a:t>, ante </a:t>
            </a:r>
            <a:r>
              <a:rPr lang="en-US" err="1">
                <a:solidFill>
                  <a:srgbClr val="FDFCFE"/>
                </a:solidFill>
                <a:effectLst/>
                <a:latin typeface="BentonSansF Book" panose="02000503040000020004" pitchFamily="2" charset="77"/>
              </a:rPr>
              <a:t>nibh</a:t>
            </a:r>
            <a:r>
              <a:rPr lang="en-US">
                <a:solidFill>
                  <a:srgbClr val="FDFCFE"/>
                </a:solidFill>
                <a:effectLst/>
                <a:latin typeface="BentonSansF Book" panose="02000503040000020004" pitchFamily="2" charset="77"/>
              </a:rPr>
              <a:t> semper </a:t>
            </a:r>
            <a:r>
              <a:rPr lang="en-US" err="1">
                <a:solidFill>
                  <a:srgbClr val="FDFCFE"/>
                </a:solidFill>
                <a:effectLst/>
                <a:latin typeface="BentonSansF Book" panose="02000503040000020004" pitchFamily="2" charset="77"/>
              </a:rPr>
              <a:t>turpis</a:t>
            </a:r>
            <a:endParaRPr lang="en-US">
              <a:solidFill>
                <a:srgbClr val="FDFCFE"/>
              </a:solidFill>
              <a:effectLst/>
              <a:latin typeface="BentonSansF Book" panose="02000503040000020004" pitchFamily="2" charset="77"/>
            </a:endParaRPr>
          </a:p>
        </p:txBody>
      </p:sp>
      <p:sp>
        <p:nvSpPr>
          <p:cNvPr id="14" name="Text Placeholder 8">
            <a:extLst>
              <a:ext uri="{FF2B5EF4-FFF2-40B4-BE49-F238E27FC236}">
                <a16:creationId xmlns:a16="http://schemas.microsoft.com/office/drawing/2014/main" id="{B34E92D2-2673-A34D-B20B-0835A3DE4D6C}"/>
              </a:ext>
            </a:extLst>
          </p:cNvPr>
          <p:cNvSpPr>
            <a:spLocks noGrp="1"/>
          </p:cNvSpPr>
          <p:nvPr>
            <p:ph type="body" sz="quarter" idx="55" hasCustomPrompt="1"/>
          </p:nvPr>
        </p:nvSpPr>
        <p:spPr>
          <a:xfrm>
            <a:off x="8397643" y="9285707"/>
            <a:ext cx="6509846" cy="3319627"/>
          </a:xfrm>
        </p:spPr>
        <p:txBody>
          <a:bodyPr wrap="square">
            <a:spAutoFit/>
          </a:bodyPr>
          <a:lstStyle>
            <a:lvl1pPr marL="0" marR="0" indent="0" algn="l" defTabSz="1828432" eaLnBrk="1" fontAlgn="auto" latinLnBrk="0" hangingPunct="1">
              <a:lnSpc>
                <a:spcPct val="130000"/>
              </a:lnSpc>
              <a:spcBef>
                <a:spcPts val="0"/>
              </a:spcBef>
              <a:spcAft>
                <a:spcPts val="0"/>
              </a:spcAft>
              <a:buClrTx/>
              <a:buSzTx/>
              <a:buFontTx/>
              <a:buNone/>
              <a:tabLst/>
              <a:defRPr lang="en-US" b="0" i="0" smtClean="0">
                <a:solidFill>
                  <a:schemeClr val="bg1"/>
                </a:solidFill>
                <a:effectLst/>
                <a:latin typeface="Arial" panose="020B0604020202020204" pitchFamily="34" charset="0"/>
              </a:defRPr>
            </a:lvl1pPr>
          </a:lstStyle>
          <a:p>
            <a:r>
              <a:rPr lang="en-US">
                <a:solidFill>
                  <a:srgbClr val="FDFCFE"/>
                </a:solidFill>
                <a:effectLst/>
                <a:latin typeface="BentonSansF Book" panose="02000503040000020004" pitchFamily="2" charset="77"/>
              </a:rPr>
              <a:t>Donec magna libero, </a:t>
            </a:r>
            <a:r>
              <a:rPr lang="en-US" err="1">
                <a:solidFill>
                  <a:srgbClr val="FDFCFE"/>
                </a:solidFill>
                <a:effectLst/>
                <a:latin typeface="BentonSansF Book" panose="02000503040000020004" pitchFamily="2" charset="77"/>
              </a:rPr>
              <a:t>condiment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ulputat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lacu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ge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interd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onsequ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ci</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Quisqu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sem</a:t>
            </a:r>
            <a:r>
              <a:rPr lang="en-US">
                <a:solidFill>
                  <a:srgbClr val="FDFCFE"/>
                </a:solidFill>
                <a:effectLst/>
                <a:latin typeface="BentonSansF Book" panose="02000503040000020004" pitchFamily="2" charset="77"/>
              </a:rPr>
              <a:t> dui, </a:t>
            </a:r>
            <a:r>
              <a:rPr lang="en-US" err="1">
                <a:solidFill>
                  <a:srgbClr val="FDFCFE"/>
                </a:solidFill>
                <a:effectLst/>
                <a:latin typeface="BentonSansF Book" panose="02000503040000020004" pitchFamily="2" charset="77"/>
              </a:rPr>
              <a:t>imperdiet</a:t>
            </a:r>
            <a:r>
              <a:rPr lang="en-US">
                <a:solidFill>
                  <a:srgbClr val="FDFCFE"/>
                </a:solidFill>
                <a:effectLst/>
                <a:latin typeface="BentonSansF Book" panose="02000503040000020004" pitchFamily="2" charset="77"/>
              </a:rPr>
              <a:t> non </a:t>
            </a:r>
            <a:r>
              <a:rPr lang="en-US" err="1">
                <a:solidFill>
                  <a:srgbClr val="FDFCFE"/>
                </a:solidFill>
                <a:effectLst/>
                <a:latin typeface="BentonSansF Book" panose="02000503040000020004" pitchFamily="2" charset="77"/>
              </a:rPr>
              <a:t>nul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feugi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olli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dio</a:t>
            </a:r>
            <a:r>
              <a:rPr lang="en-US">
                <a:solidFill>
                  <a:srgbClr val="FDFCFE"/>
                </a:solidFill>
                <a:effectLst/>
                <a:latin typeface="BentonSansF Book" panose="02000503040000020004" pitchFamily="2" charset="77"/>
              </a:rPr>
              <a:t>. Nam in libero a </a:t>
            </a:r>
            <a:r>
              <a:rPr lang="en-US" err="1">
                <a:solidFill>
                  <a:srgbClr val="FDFCFE"/>
                </a:solidFill>
                <a:effectLst/>
                <a:latin typeface="BentonSansF Book" panose="02000503040000020004" pitchFamily="2" charset="77"/>
              </a:rPr>
              <a:t>torto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alesuad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incidun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urabitu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u</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nar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ellus</a:t>
            </a:r>
            <a:r>
              <a:rPr lang="en-US">
                <a:solidFill>
                  <a:srgbClr val="FDFCFE"/>
                </a:solidFill>
                <a:effectLst/>
                <a:latin typeface="BentonSansF Book" panose="02000503040000020004" pitchFamily="2" charset="77"/>
              </a:rPr>
              <a:t>. Nunc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purus</a:t>
            </a:r>
            <a:r>
              <a:rPr lang="en-US">
                <a:solidFill>
                  <a:srgbClr val="FDFCFE"/>
                </a:solidFill>
                <a:effectLst/>
                <a:latin typeface="BentonSansF Book" panose="02000503040000020004" pitchFamily="2" charset="77"/>
              </a:rPr>
              <a:t> ac </a:t>
            </a:r>
            <a:r>
              <a:rPr lang="en-US" err="1">
                <a:solidFill>
                  <a:srgbClr val="FDFCFE"/>
                </a:solidFill>
                <a:effectLst/>
                <a:latin typeface="BentonSansF Book" panose="02000503040000020004" pitchFamily="2" charset="77"/>
              </a:rPr>
              <a:t>vehicu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bibendum</a:t>
            </a:r>
            <a:r>
              <a:rPr lang="en-US">
                <a:solidFill>
                  <a:srgbClr val="FDFCFE"/>
                </a:solidFill>
                <a:effectLst/>
                <a:latin typeface="BentonSansF Book" panose="02000503040000020004" pitchFamily="2" charset="77"/>
              </a:rPr>
              <a:t>, ante </a:t>
            </a:r>
            <a:r>
              <a:rPr lang="en-US" err="1">
                <a:solidFill>
                  <a:srgbClr val="FDFCFE"/>
                </a:solidFill>
                <a:effectLst/>
                <a:latin typeface="BentonSansF Book" panose="02000503040000020004" pitchFamily="2" charset="77"/>
              </a:rPr>
              <a:t>nibh</a:t>
            </a:r>
            <a:r>
              <a:rPr lang="en-US">
                <a:solidFill>
                  <a:srgbClr val="FDFCFE"/>
                </a:solidFill>
                <a:effectLst/>
                <a:latin typeface="BentonSansF Book" panose="02000503040000020004" pitchFamily="2" charset="77"/>
              </a:rPr>
              <a:t> semper </a:t>
            </a:r>
            <a:r>
              <a:rPr lang="en-US" err="1">
                <a:solidFill>
                  <a:srgbClr val="FDFCFE"/>
                </a:solidFill>
                <a:effectLst/>
                <a:latin typeface="BentonSansF Book" panose="02000503040000020004" pitchFamily="2" charset="77"/>
              </a:rPr>
              <a:t>turpis</a:t>
            </a:r>
            <a:endParaRPr lang="en-US">
              <a:solidFill>
                <a:srgbClr val="FDFCFE"/>
              </a:solidFill>
              <a:effectLst/>
              <a:latin typeface="BentonSansF Book" panose="02000503040000020004" pitchFamily="2" charset="77"/>
            </a:endParaRPr>
          </a:p>
        </p:txBody>
      </p:sp>
    </p:spTree>
    <p:extLst>
      <p:ext uri="{BB962C8B-B14F-4D97-AF65-F5344CB8AC3E}">
        <p14:creationId xmlns:p14="http://schemas.microsoft.com/office/powerpoint/2010/main" val="2179198581"/>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Landscape image 1 + text (B)">
    <p:bg>
      <p:bgPr>
        <a:solidFill>
          <a:schemeClr val="tx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1815239-A368-A847-AFBF-02A4D6D74C37}"/>
              </a:ext>
            </a:extLst>
          </p:cNvPr>
          <p:cNvSpPr>
            <a:spLocks noGrp="1"/>
          </p:cNvSpPr>
          <p:nvPr>
            <p:ph type="title" hasCustomPrompt="1"/>
          </p:nvPr>
        </p:nvSpPr>
        <p:spPr>
          <a:xfrm>
            <a:off x="1742891" y="9108735"/>
            <a:ext cx="3494128" cy="997196"/>
          </a:xfrm>
        </p:spPr>
        <p:txBody>
          <a:bodyPr/>
          <a:lstStyle>
            <a:lvl1pPr>
              <a:defRPr>
                <a:solidFill>
                  <a:schemeClr val="bg1"/>
                </a:solidFill>
              </a:defRPr>
            </a:lvl1pPr>
          </a:lstStyle>
          <a:p>
            <a:r>
              <a:rPr lang="en-US"/>
              <a:t>Outcome</a:t>
            </a:r>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2" y="0"/>
            <a:ext cx="24384002" cy="8063345"/>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grpSp>
        <p:nvGrpSpPr>
          <p:cNvPr id="10" name="Group">
            <a:extLst>
              <a:ext uri="{FF2B5EF4-FFF2-40B4-BE49-F238E27FC236}">
                <a16:creationId xmlns:a16="http://schemas.microsoft.com/office/drawing/2014/main" id="{CC6126CE-30F1-436F-938D-CC12D3ABFAE2}"/>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E15130E-9000-422D-854C-FEBCB8B0566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7F13688E-0F2F-4A9F-AF5A-7BD71CFC56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13" name="Text Placeholder 8">
            <a:extLst>
              <a:ext uri="{FF2B5EF4-FFF2-40B4-BE49-F238E27FC236}">
                <a16:creationId xmlns:a16="http://schemas.microsoft.com/office/drawing/2014/main" id="{A4798921-C276-F240-83AC-28409ABD35B7}"/>
              </a:ext>
            </a:extLst>
          </p:cNvPr>
          <p:cNvSpPr>
            <a:spLocks noGrp="1"/>
          </p:cNvSpPr>
          <p:nvPr>
            <p:ph type="body" sz="quarter" idx="54" hasCustomPrompt="1"/>
          </p:nvPr>
        </p:nvSpPr>
        <p:spPr>
          <a:xfrm>
            <a:off x="15934517" y="9285707"/>
            <a:ext cx="6509846" cy="3319627"/>
          </a:xfrm>
        </p:spPr>
        <p:txBody>
          <a:bodyPr wrap="square">
            <a:spAutoFit/>
          </a:bodyPr>
          <a:lstStyle>
            <a:lvl1pPr marL="0" marR="0" indent="0" algn="l" defTabSz="1828432" eaLnBrk="1" fontAlgn="auto" latinLnBrk="0" hangingPunct="1">
              <a:lnSpc>
                <a:spcPct val="130000"/>
              </a:lnSpc>
              <a:spcBef>
                <a:spcPts val="0"/>
              </a:spcBef>
              <a:spcAft>
                <a:spcPts val="0"/>
              </a:spcAft>
              <a:buClrTx/>
              <a:buSzTx/>
              <a:buFontTx/>
              <a:buNone/>
              <a:tabLst/>
              <a:defRPr lang="en-US" b="0" i="0" smtClean="0">
                <a:solidFill>
                  <a:schemeClr val="bg1"/>
                </a:solidFill>
                <a:effectLst/>
                <a:latin typeface="Arial" panose="020B0604020202020204" pitchFamily="34" charset="0"/>
              </a:defRPr>
            </a:lvl1pPr>
          </a:lstStyle>
          <a:p>
            <a:r>
              <a:rPr lang="en-US">
                <a:solidFill>
                  <a:srgbClr val="FDFCFE"/>
                </a:solidFill>
                <a:effectLst/>
                <a:latin typeface="BentonSansF Book" panose="02000503040000020004" pitchFamily="2" charset="77"/>
              </a:rPr>
              <a:t>Donec magna libero, </a:t>
            </a:r>
            <a:r>
              <a:rPr lang="en-US" err="1">
                <a:solidFill>
                  <a:srgbClr val="FDFCFE"/>
                </a:solidFill>
                <a:effectLst/>
                <a:latin typeface="BentonSansF Book" panose="02000503040000020004" pitchFamily="2" charset="77"/>
              </a:rPr>
              <a:t>condiment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ulputat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lacu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ge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interd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onsequ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ci</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Quisqu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sem</a:t>
            </a:r>
            <a:r>
              <a:rPr lang="en-US">
                <a:solidFill>
                  <a:srgbClr val="FDFCFE"/>
                </a:solidFill>
                <a:effectLst/>
                <a:latin typeface="BentonSansF Book" panose="02000503040000020004" pitchFamily="2" charset="77"/>
              </a:rPr>
              <a:t> dui, </a:t>
            </a:r>
            <a:r>
              <a:rPr lang="en-US" err="1">
                <a:solidFill>
                  <a:srgbClr val="FDFCFE"/>
                </a:solidFill>
                <a:effectLst/>
                <a:latin typeface="BentonSansF Book" panose="02000503040000020004" pitchFamily="2" charset="77"/>
              </a:rPr>
              <a:t>imperdiet</a:t>
            </a:r>
            <a:r>
              <a:rPr lang="en-US">
                <a:solidFill>
                  <a:srgbClr val="FDFCFE"/>
                </a:solidFill>
                <a:effectLst/>
                <a:latin typeface="BentonSansF Book" panose="02000503040000020004" pitchFamily="2" charset="77"/>
              </a:rPr>
              <a:t> non </a:t>
            </a:r>
            <a:r>
              <a:rPr lang="en-US" err="1">
                <a:solidFill>
                  <a:srgbClr val="FDFCFE"/>
                </a:solidFill>
                <a:effectLst/>
                <a:latin typeface="BentonSansF Book" panose="02000503040000020004" pitchFamily="2" charset="77"/>
              </a:rPr>
              <a:t>nul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feugi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olli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dio</a:t>
            </a:r>
            <a:r>
              <a:rPr lang="en-US">
                <a:solidFill>
                  <a:srgbClr val="FDFCFE"/>
                </a:solidFill>
                <a:effectLst/>
                <a:latin typeface="BentonSansF Book" panose="02000503040000020004" pitchFamily="2" charset="77"/>
              </a:rPr>
              <a:t>. Nam in libero a </a:t>
            </a:r>
            <a:r>
              <a:rPr lang="en-US" err="1">
                <a:solidFill>
                  <a:srgbClr val="FDFCFE"/>
                </a:solidFill>
                <a:effectLst/>
                <a:latin typeface="BentonSansF Book" panose="02000503040000020004" pitchFamily="2" charset="77"/>
              </a:rPr>
              <a:t>torto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alesuad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incidun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urabitu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u</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nar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ellus</a:t>
            </a:r>
            <a:r>
              <a:rPr lang="en-US">
                <a:solidFill>
                  <a:srgbClr val="FDFCFE"/>
                </a:solidFill>
                <a:effectLst/>
                <a:latin typeface="BentonSansF Book" panose="02000503040000020004" pitchFamily="2" charset="77"/>
              </a:rPr>
              <a:t>. Nunc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purus</a:t>
            </a:r>
            <a:r>
              <a:rPr lang="en-US">
                <a:solidFill>
                  <a:srgbClr val="FDFCFE"/>
                </a:solidFill>
                <a:effectLst/>
                <a:latin typeface="BentonSansF Book" panose="02000503040000020004" pitchFamily="2" charset="77"/>
              </a:rPr>
              <a:t> ac </a:t>
            </a:r>
            <a:r>
              <a:rPr lang="en-US" err="1">
                <a:solidFill>
                  <a:srgbClr val="FDFCFE"/>
                </a:solidFill>
                <a:effectLst/>
                <a:latin typeface="BentonSansF Book" panose="02000503040000020004" pitchFamily="2" charset="77"/>
              </a:rPr>
              <a:t>vehicu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bibendum</a:t>
            </a:r>
            <a:r>
              <a:rPr lang="en-US">
                <a:solidFill>
                  <a:srgbClr val="FDFCFE"/>
                </a:solidFill>
                <a:effectLst/>
                <a:latin typeface="BentonSansF Book" panose="02000503040000020004" pitchFamily="2" charset="77"/>
              </a:rPr>
              <a:t>, ante </a:t>
            </a:r>
            <a:r>
              <a:rPr lang="en-US" err="1">
                <a:solidFill>
                  <a:srgbClr val="FDFCFE"/>
                </a:solidFill>
                <a:effectLst/>
                <a:latin typeface="BentonSansF Book" panose="02000503040000020004" pitchFamily="2" charset="77"/>
              </a:rPr>
              <a:t>nibh</a:t>
            </a:r>
            <a:r>
              <a:rPr lang="en-US">
                <a:solidFill>
                  <a:srgbClr val="FDFCFE"/>
                </a:solidFill>
                <a:effectLst/>
                <a:latin typeface="BentonSansF Book" panose="02000503040000020004" pitchFamily="2" charset="77"/>
              </a:rPr>
              <a:t> semper </a:t>
            </a:r>
            <a:r>
              <a:rPr lang="en-US" err="1">
                <a:solidFill>
                  <a:srgbClr val="FDFCFE"/>
                </a:solidFill>
                <a:effectLst/>
                <a:latin typeface="BentonSansF Book" panose="02000503040000020004" pitchFamily="2" charset="77"/>
              </a:rPr>
              <a:t>turpis</a:t>
            </a:r>
            <a:endParaRPr lang="en-US">
              <a:solidFill>
                <a:srgbClr val="FDFCFE"/>
              </a:solidFill>
              <a:effectLst/>
              <a:latin typeface="BentonSansF Book" panose="02000503040000020004" pitchFamily="2" charset="77"/>
            </a:endParaRPr>
          </a:p>
        </p:txBody>
      </p:sp>
      <p:sp>
        <p:nvSpPr>
          <p:cNvPr id="14" name="Text Placeholder 8">
            <a:extLst>
              <a:ext uri="{FF2B5EF4-FFF2-40B4-BE49-F238E27FC236}">
                <a16:creationId xmlns:a16="http://schemas.microsoft.com/office/drawing/2014/main" id="{B34E92D2-2673-A34D-B20B-0835A3DE4D6C}"/>
              </a:ext>
            </a:extLst>
          </p:cNvPr>
          <p:cNvSpPr>
            <a:spLocks noGrp="1"/>
          </p:cNvSpPr>
          <p:nvPr>
            <p:ph type="body" sz="quarter" idx="55" hasCustomPrompt="1"/>
          </p:nvPr>
        </p:nvSpPr>
        <p:spPr>
          <a:xfrm>
            <a:off x="8397643" y="9285707"/>
            <a:ext cx="6509846" cy="3319627"/>
          </a:xfrm>
        </p:spPr>
        <p:txBody>
          <a:bodyPr wrap="square">
            <a:spAutoFit/>
          </a:bodyPr>
          <a:lstStyle>
            <a:lvl1pPr marL="0" marR="0" indent="0" algn="l" defTabSz="1828432" eaLnBrk="1" fontAlgn="auto" latinLnBrk="0" hangingPunct="1">
              <a:lnSpc>
                <a:spcPct val="130000"/>
              </a:lnSpc>
              <a:spcBef>
                <a:spcPts val="0"/>
              </a:spcBef>
              <a:spcAft>
                <a:spcPts val="0"/>
              </a:spcAft>
              <a:buClrTx/>
              <a:buSzTx/>
              <a:buFontTx/>
              <a:buNone/>
              <a:tabLst/>
              <a:defRPr lang="en-US" b="0" i="0" smtClean="0">
                <a:solidFill>
                  <a:schemeClr val="bg1"/>
                </a:solidFill>
                <a:effectLst/>
                <a:latin typeface="Arial" panose="020B0604020202020204" pitchFamily="34" charset="0"/>
              </a:defRPr>
            </a:lvl1pPr>
          </a:lstStyle>
          <a:p>
            <a:r>
              <a:rPr lang="en-US">
                <a:solidFill>
                  <a:srgbClr val="FDFCFE"/>
                </a:solidFill>
                <a:effectLst/>
                <a:latin typeface="BentonSansF Book" panose="02000503040000020004" pitchFamily="2" charset="77"/>
              </a:rPr>
              <a:t>Donec magna libero, </a:t>
            </a:r>
            <a:r>
              <a:rPr lang="en-US" err="1">
                <a:solidFill>
                  <a:srgbClr val="FDFCFE"/>
                </a:solidFill>
                <a:effectLst/>
                <a:latin typeface="BentonSansF Book" panose="02000503040000020004" pitchFamily="2" charset="77"/>
              </a:rPr>
              <a:t>condiment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ulputat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lacu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ge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interdum</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onsequ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ci</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Quisqu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sem</a:t>
            </a:r>
            <a:r>
              <a:rPr lang="en-US">
                <a:solidFill>
                  <a:srgbClr val="FDFCFE"/>
                </a:solidFill>
                <a:effectLst/>
                <a:latin typeface="BentonSansF Book" panose="02000503040000020004" pitchFamily="2" charset="77"/>
              </a:rPr>
              <a:t> dui, </a:t>
            </a:r>
            <a:r>
              <a:rPr lang="en-US" err="1">
                <a:solidFill>
                  <a:srgbClr val="FDFCFE"/>
                </a:solidFill>
                <a:effectLst/>
                <a:latin typeface="BentonSansF Book" panose="02000503040000020004" pitchFamily="2" charset="77"/>
              </a:rPr>
              <a:t>imperdiet</a:t>
            </a:r>
            <a:r>
              <a:rPr lang="en-US">
                <a:solidFill>
                  <a:srgbClr val="FDFCFE"/>
                </a:solidFill>
                <a:effectLst/>
                <a:latin typeface="BentonSansF Book" panose="02000503040000020004" pitchFamily="2" charset="77"/>
              </a:rPr>
              <a:t> non </a:t>
            </a:r>
            <a:r>
              <a:rPr lang="en-US" err="1">
                <a:solidFill>
                  <a:srgbClr val="FDFCFE"/>
                </a:solidFill>
                <a:effectLst/>
                <a:latin typeface="BentonSansF Book" panose="02000503040000020004" pitchFamily="2" charset="77"/>
              </a:rPr>
              <a:t>nul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feugi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ollis</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dio</a:t>
            </a:r>
            <a:r>
              <a:rPr lang="en-US">
                <a:solidFill>
                  <a:srgbClr val="FDFCFE"/>
                </a:solidFill>
                <a:effectLst/>
                <a:latin typeface="BentonSansF Book" panose="02000503040000020004" pitchFamily="2" charset="77"/>
              </a:rPr>
              <a:t>. Nam in libero a </a:t>
            </a:r>
            <a:r>
              <a:rPr lang="en-US" err="1">
                <a:solidFill>
                  <a:srgbClr val="FDFCFE"/>
                </a:solidFill>
                <a:effectLst/>
                <a:latin typeface="BentonSansF Book" panose="02000503040000020004" pitchFamily="2" charset="77"/>
              </a:rPr>
              <a:t>torto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malesuad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incidun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Curabitur</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eu</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ornare</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tellus</a:t>
            </a:r>
            <a:r>
              <a:rPr lang="en-US">
                <a:solidFill>
                  <a:srgbClr val="FDFCFE"/>
                </a:solidFill>
                <a:effectLst/>
                <a:latin typeface="BentonSansF Book" panose="02000503040000020004" pitchFamily="2" charset="77"/>
              </a:rPr>
              <a:t>. Nunc </a:t>
            </a:r>
            <a:r>
              <a:rPr lang="en-US" err="1">
                <a:solidFill>
                  <a:srgbClr val="FDFCFE"/>
                </a:solidFill>
                <a:effectLst/>
                <a:latin typeface="BentonSansF Book" panose="02000503040000020004" pitchFamily="2" charset="77"/>
              </a:rPr>
              <a:t>volutpat</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purus</a:t>
            </a:r>
            <a:r>
              <a:rPr lang="en-US">
                <a:solidFill>
                  <a:srgbClr val="FDFCFE"/>
                </a:solidFill>
                <a:effectLst/>
                <a:latin typeface="BentonSansF Book" panose="02000503040000020004" pitchFamily="2" charset="77"/>
              </a:rPr>
              <a:t> ac </a:t>
            </a:r>
            <a:r>
              <a:rPr lang="en-US" err="1">
                <a:solidFill>
                  <a:srgbClr val="FDFCFE"/>
                </a:solidFill>
                <a:effectLst/>
                <a:latin typeface="BentonSansF Book" panose="02000503040000020004" pitchFamily="2" charset="77"/>
              </a:rPr>
              <a:t>vehicula</a:t>
            </a:r>
            <a:r>
              <a:rPr lang="en-US">
                <a:solidFill>
                  <a:srgbClr val="FDFCFE"/>
                </a:solidFill>
                <a:effectLst/>
                <a:latin typeface="BentonSansF Book" panose="02000503040000020004" pitchFamily="2" charset="77"/>
              </a:rPr>
              <a:t> </a:t>
            </a:r>
            <a:r>
              <a:rPr lang="en-US" err="1">
                <a:solidFill>
                  <a:srgbClr val="FDFCFE"/>
                </a:solidFill>
                <a:effectLst/>
                <a:latin typeface="BentonSansF Book" panose="02000503040000020004" pitchFamily="2" charset="77"/>
              </a:rPr>
              <a:t>bibendum</a:t>
            </a:r>
            <a:r>
              <a:rPr lang="en-US">
                <a:solidFill>
                  <a:srgbClr val="FDFCFE"/>
                </a:solidFill>
                <a:effectLst/>
                <a:latin typeface="BentonSansF Book" panose="02000503040000020004" pitchFamily="2" charset="77"/>
              </a:rPr>
              <a:t>, ante </a:t>
            </a:r>
            <a:r>
              <a:rPr lang="en-US" err="1">
                <a:solidFill>
                  <a:srgbClr val="FDFCFE"/>
                </a:solidFill>
                <a:effectLst/>
                <a:latin typeface="BentonSansF Book" panose="02000503040000020004" pitchFamily="2" charset="77"/>
              </a:rPr>
              <a:t>nibh</a:t>
            </a:r>
            <a:r>
              <a:rPr lang="en-US">
                <a:solidFill>
                  <a:srgbClr val="FDFCFE"/>
                </a:solidFill>
                <a:effectLst/>
                <a:latin typeface="BentonSansF Book" panose="02000503040000020004" pitchFamily="2" charset="77"/>
              </a:rPr>
              <a:t> semper </a:t>
            </a:r>
            <a:r>
              <a:rPr lang="en-US" err="1">
                <a:solidFill>
                  <a:srgbClr val="FDFCFE"/>
                </a:solidFill>
                <a:effectLst/>
                <a:latin typeface="BentonSansF Book" panose="02000503040000020004" pitchFamily="2" charset="77"/>
              </a:rPr>
              <a:t>turpis</a:t>
            </a:r>
            <a:endParaRPr lang="en-US">
              <a:solidFill>
                <a:srgbClr val="FDFCFE"/>
              </a:solidFill>
              <a:effectLst/>
              <a:latin typeface="BentonSansF Book" panose="02000503040000020004" pitchFamily="2" charset="77"/>
            </a:endParaRPr>
          </a:p>
        </p:txBody>
      </p:sp>
    </p:spTree>
    <p:extLst>
      <p:ext uri="{BB962C8B-B14F-4D97-AF65-F5344CB8AC3E}">
        <p14:creationId xmlns:p14="http://schemas.microsoft.com/office/powerpoint/2010/main" val="4071195464"/>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ase Study Quot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3610709"/>
            <a:ext cx="17532512" cy="5124352"/>
          </a:xfrm>
        </p:spPr>
        <p:txBody>
          <a:bodyPr wrap="square" anchor="ctr">
            <a:noAutofit/>
          </a:bodyPr>
          <a:lstStyle>
            <a:lvl1pPr>
              <a:defRPr lang="en-US" sz="9200" b="0" i="0" smtClean="0">
                <a:effectLst/>
                <a:latin typeface="Times New Roman" panose="02020603050405020304" pitchFamily="18" charset="0"/>
              </a:defRPr>
            </a:lvl1pPr>
          </a:lstStyle>
          <a:p>
            <a:r>
              <a:rPr lang="en-US" i="1">
                <a:solidFill>
                  <a:srgbClr val="FFFFFF"/>
                </a:solidFill>
                <a:effectLst/>
                <a:latin typeface="Quarto Light" pitchFamily="2" charset="0"/>
              </a:rPr>
              <a:t>“Lorem ipsum dolor sit met. A client quote that really reinforces our contribution and partnership. Helps to illustrate how we made our mark together” </a:t>
            </a:r>
            <a:endParaRPr lang="en-US">
              <a:solidFill>
                <a:srgbClr val="FFFFFF"/>
              </a:solidFill>
              <a:effectLst/>
              <a:latin typeface="Quarto Light" pitchFamily="2" charset="0"/>
            </a:endParaRPr>
          </a:p>
        </p:txBody>
      </p:sp>
      <p:sp>
        <p:nvSpPr>
          <p:cNvPr id="3" name="Date Placeholder 2">
            <a:extLst>
              <a:ext uri="{FF2B5EF4-FFF2-40B4-BE49-F238E27FC236}">
                <a16:creationId xmlns:a16="http://schemas.microsoft.com/office/drawing/2014/main" id="{D9DAF299-7F22-426B-92F5-3D5EC90EEF3F}"/>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grpSp>
        <p:nvGrpSpPr>
          <p:cNvPr id="10" name="Group">
            <a:extLst>
              <a:ext uri="{FF2B5EF4-FFF2-40B4-BE49-F238E27FC236}">
                <a16:creationId xmlns:a16="http://schemas.microsoft.com/office/drawing/2014/main" id="{8B83C7C2-DE9A-4DD6-9F5E-3651A3907A72}"/>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DD633541-1EAA-48B1-B3DD-8E9C5CD8B0E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A05DEA18-59BC-48D7-8DDD-6B72CE44216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15" name="Image">
            <a:extLst>
              <a:ext uri="{FF2B5EF4-FFF2-40B4-BE49-F238E27FC236}">
                <a16:creationId xmlns:a16="http://schemas.microsoft.com/office/drawing/2014/main" id="{1D735797-BCF7-BD40-8497-1C9E04A6E758}"/>
              </a:ext>
            </a:extLst>
          </p:cNvPr>
          <p:cNvSpPr>
            <a:spLocks noGrp="1"/>
          </p:cNvSpPr>
          <p:nvPr>
            <p:ph type="pic" idx="31"/>
          </p:nvPr>
        </p:nvSpPr>
        <p:spPr>
          <a:xfrm>
            <a:off x="1763674" y="9785089"/>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16" name="Text Placeholder 8">
            <a:extLst>
              <a:ext uri="{FF2B5EF4-FFF2-40B4-BE49-F238E27FC236}">
                <a16:creationId xmlns:a16="http://schemas.microsoft.com/office/drawing/2014/main" id="{324FBE9B-609A-DA4C-8A3F-9410C1FEB285}"/>
              </a:ext>
            </a:extLst>
          </p:cNvPr>
          <p:cNvSpPr>
            <a:spLocks noGrp="1"/>
          </p:cNvSpPr>
          <p:nvPr>
            <p:ph type="body" sz="quarter" idx="41" hasCustomPrompt="1"/>
          </p:nvPr>
        </p:nvSpPr>
        <p:spPr>
          <a:xfrm>
            <a:off x="3701398" y="9838547"/>
            <a:ext cx="6500775" cy="329129"/>
          </a:xfrm>
        </p:spPr>
        <p:txBody>
          <a:bodyPr wrap="square">
            <a:spAutoFit/>
          </a:bodyPr>
          <a:lstStyle>
            <a:lvl1pPr algn="l">
              <a:lnSpc>
                <a:spcPct val="130000"/>
              </a:lnSpc>
              <a:defRPr sz="1800" b="0" i="0" cap="all" spc="200" baseline="0">
                <a:solidFill>
                  <a:schemeClr val="bg1"/>
                </a:solidFill>
                <a:latin typeface="Arial" panose="020B0604020202020204" pitchFamily="34" charset="0"/>
              </a:defRPr>
            </a:lvl1pPr>
          </a:lstStyle>
          <a:p>
            <a:pPr lvl="0"/>
            <a:r>
              <a:rPr lang="en-US"/>
              <a:t>Name Surname</a:t>
            </a:r>
          </a:p>
        </p:txBody>
      </p:sp>
      <p:sp>
        <p:nvSpPr>
          <p:cNvPr id="17" name="Text Placeholder 8">
            <a:extLst>
              <a:ext uri="{FF2B5EF4-FFF2-40B4-BE49-F238E27FC236}">
                <a16:creationId xmlns:a16="http://schemas.microsoft.com/office/drawing/2014/main" id="{4A6C32A1-DF60-8346-82F1-B0DE23A479D2}"/>
              </a:ext>
            </a:extLst>
          </p:cNvPr>
          <p:cNvSpPr>
            <a:spLocks noGrp="1"/>
          </p:cNvSpPr>
          <p:nvPr>
            <p:ph type="body" sz="quarter" idx="42" hasCustomPrompt="1"/>
          </p:nvPr>
        </p:nvSpPr>
        <p:spPr>
          <a:xfrm>
            <a:off x="3701398" y="10225410"/>
            <a:ext cx="6500775" cy="689228"/>
          </a:xfrm>
        </p:spPr>
        <p:txBody>
          <a:bodyPr wrap="square">
            <a:spAutoFit/>
          </a:bodyPr>
          <a:lstStyle>
            <a:lvl1pPr algn="l">
              <a:lnSpc>
                <a:spcPct val="130000"/>
              </a:lnSpc>
              <a:defRPr sz="1800" b="0" i="0" cap="all" spc="200" baseline="0">
                <a:solidFill>
                  <a:srgbClr val="6F6F6F"/>
                </a:solidFill>
                <a:latin typeface="Arial" panose="020B0604020202020204" pitchFamily="34" charset="0"/>
              </a:defRPr>
            </a:lvl1pPr>
          </a:lstStyle>
          <a:p>
            <a:pPr lvl="0"/>
            <a:r>
              <a:rPr lang="en-US"/>
              <a:t>Title</a:t>
            </a:r>
          </a:p>
          <a:p>
            <a:pPr lvl="0"/>
            <a:r>
              <a:rPr lang="en-US"/>
              <a:t>company</a:t>
            </a:r>
          </a:p>
        </p:txBody>
      </p:sp>
    </p:spTree>
    <p:extLst>
      <p:ext uri="{BB962C8B-B14F-4D97-AF65-F5344CB8AC3E}">
        <p14:creationId xmlns:p14="http://schemas.microsoft.com/office/powerpoint/2010/main" val="2627623169"/>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a:xfrm>
            <a:off x="10462259" y="4999563"/>
            <a:ext cx="12146913" cy="1092201"/>
          </a:xfrm>
        </p:spPr>
        <p:txBody>
          <a:bodyPr/>
          <a:lstStyle>
            <a:lvl1pPr>
              <a:defRPr/>
            </a:lvl1pPr>
          </a:lstStyle>
          <a:p>
            <a:r>
              <a:rPr lang="en-US"/>
              <a:t>Name Surname</a:t>
            </a:r>
          </a:p>
        </p:txBody>
      </p:sp>
      <p:sp>
        <p:nvSpPr>
          <p:cNvPr id="3" name="Date Placeholder 2">
            <a:extLst>
              <a:ext uri="{FF2B5EF4-FFF2-40B4-BE49-F238E27FC236}">
                <a16:creationId xmlns:a16="http://schemas.microsoft.com/office/drawing/2014/main" id="{45AE3FB7-84C5-44B8-92CF-AD18F6DB4E08}"/>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0462258" y="6334744"/>
            <a:ext cx="9466883" cy="388633"/>
          </a:xfrm>
        </p:spPr>
        <p:txBody>
          <a:bodyPr wrap="square" anchor="t">
            <a:spAutoFit/>
          </a:bodyPr>
          <a:lstStyle>
            <a:lvl1pPr>
              <a:defRPr sz="2000" b="0" i="0" cap="none" spc="0" baseline="0">
                <a:solidFill>
                  <a:schemeClr val="tx1"/>
                </a:solidFill>
                <a:latin typeface="Arial" panose="020B0604020202020204" pitchFamily="34" charset="0"/>
              </a:defRPr>
            </a:lvl1pPr>
          </a:lstStyle>
          <a:p>
            <a:pPr lvl="0"/>
            <a:r>
              <a:rPr lang="en-US"/>
              <a:t>Role Description</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0462258" y="7238671"/>
            <a:ext cx="9466882" cy="3855693"/>
          </a:xfrm>
        </p:spPr>
        <p:txBody>
          <a:bodyPr wrap="square">
            <a:noAutofit/>
          </a:bodyPr>
          <a:lstStyle>
            <a:lvl1pPr>
              <a:lnSpc>
                <a:spcPct val="130000"/>
              </a:lnSpc>
              <a:defRPr sz="2400" b="0" i="0">
                <a:solidFill>
                  <a:schemeClr val="tx1"/>
                </a:solidFill>
              </a:defRPr>
            </a:lvl1pPr>
          </a:lstStyle>
          <a:p>
            <a:pPr lvl="0"/>
            <a:r>
              <a:rPr lang="en-US"/>
              <a:t>Description text sit </a:t>
            </a:r>
            <a:r>
              <a:rPr lang="en-US" err="1"/>
              <a:t>amet</a:t>
            </a:r>
            <a:r>
              <a:rPr lang="en-US"/>
              <a:t>, </a:t>
            </a:r>
            <a:r>
              <a:rPr lang="en-US" err="1"/>
              <a:t>consectetur</a:t>
            </a:r>
            <a:r>
              <a:rPr lang="en-US"/>
              <a:t> </a:t>
            </a:r>
            <a:r>
              <a:rPr lang="en-US" err="1"/>
              <a:t>adipisicing</a:t>
            </a:r>
            <a:r>
              <a:rPr lang="en-US"/>
              <a:t> </a:t>
            </a:r>
            <a:r>
              <a:rPr lang="en-US" err="1"/>
              <a:t>elit</a:t>
            </a:r>
            <a:r>
              <a:rPr lang="en-US"/>
              <a:t>, </a:t>
            </a:r>
            <a:r>
              <a:rPr lang="en-US" err="1"/>
              <a:t>tempor</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a:t>
            </a:r>
            <a:r>
              <a:rPr lang="en-US"/>
              <a:t>. Lorem ipsum dolor sit </a:t>
            </a:r>
            <a:r>
              <a:rPr lang="en-US" err="1"/>
              <a:t>amet</a:t>
            </a:r>
            <a:r>
              <a:rPr lang="en-US"/>
              <a:t>, </a:t>
            </a:r>
            <a:r>
              <a:rPr lang="en-US" err="1"/>
              <a:t>consectetur</a:t>
            </a:r>
            <a:r>
              <a:rPr lang="en-US"/>
              <a:t> </a:t>
            </a:r>
            <a:r>
              <a:rPr lang="en-US" err="1"/>
              <a:t>adipisi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a:t>
            </a:r>
            <a:r>
              <a:rPr lang="en-US"/>
              <a:t>. Lorem ipsum dolor.</a:t>
            </a:r>
          </a:p>
        </p:txBody>
      </p:sp>
      <p:pic>
        <p:nvPicPr>
          <p:cNvPr id="25" name="friedolin_WB.jpg">
            <a:extLst>
              <a:ext uri="{FF2B5EF4-FFF2-40B4-BE49-F238E27FC236}">
                <a16:creationId xmlns:a16="http://schemas.microsoft.com/office/drawing/2014/main" id="{3A7611C2-D204-4FB8-B41E-ACA08E8B43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7" name="Image">
            <a:extLst>
              <a:ext uri="{FF2B5EF4-FFF2-40B4-BE49-F238E27FC236}">
                <a16:creationId xmlns:a16="http://schemas.microsoft.com/office/drawing/2014/main" id="{29BB5D42-C1ED-4DF9-B4CF-ED578ADE6688}"/>
              </a:ext>
            </a:extLst>
          </p:cNvPr>
          <p:cNvSpPr>
            <a:spLocks noGrp="1"/>
          </p:cNvSpPr>
          <p:nvPr>
            <p:ph type="pic" idx="49"/>
          </p:nvPr>
        </p:nvSpPr>
        <p:spPr>
          <a:xfrm>
            <a:off x="1763672" y="4999564"/>
            <a:ext cx="6094800" cy="6094800"/>
          </a:xfrm>
          <a:prstGeom prst="rect">
            <a:avLst/>
          </a:prstGeom>
          <a:solidFill>
            <a:schemeClr val="accent6"/>
          </a:solidFill>
        </p:spPr>
        <p:txBody>
          <a:bodyPr lIns="91439" tIns="45719" rIns="91439" bIns="45719">
            <a:noAutofit/>
          </a:bodyPr>
          <a:lstStyle>
            <a:lvl1pPr algn="ctr">
              <a:defRPr b="0" i="0"/>
            </a:lvl1pPr>
          </a:lstStyle>
          <a:p>
            <a:endParaRPr/>
          </a:p>
        </p:txBody>
      </p:sp>
    </p:spTree>
    <p:extLst>
      <p:ext uri="{BB962C8B-B14F-4D97-AF65-F5344CB8AC3E}">
        <p14:creationId xmlns:p14="http://schemas.microsoft.com/office/powerpoint/2010/main" val="1831985166"/>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am 1 row">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9003973"/>
            <a:ext cx="4806375" cy="1644233"/>
          </a:xfrm>
        </p:spPr>
        <p:txBody>
          <a:bodyPr wrap="square">
            <a:spAutoFit/>
          </a:bodyPr>
          <a:lstStyle>
            <a:lvl1pPr>
              <a:lnSpc>
                <a:spcPct val="130000"/>
              </a:lnSpc>
              <a:defRPr sz="2100" b="0" i="0"/>
            </a:lvl1pPr>
          </a:lstStyle>
          <a:p>
            <a:r>
              <a:rPr lang="en-US"/>
              <a:t>Description text dolor sit </a:t>
            </a:r>
            <a:r>
              <a:rPr lang="en-US" err="1"/>
              <a:t>incididunt</a:t>
            </a:r>
            <a:r>
              <a:rPr lang="en-US"/>
              <a: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3"/>
            <a:ext cx="4806375" cy="375864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3"/>
            <a:ext cx="4806375" cy="375864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3"/>
            <a:ext cx="4806375" cy="375864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3"/>
            <a:ext cx="4806375" cy="375864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8214345"/>
            <a:ext cx="4806375" cy="383888"/>
          </a:xfrm>
        </p:spPr>
        <p:txBody>
          <a:bodyPr wrap="square">
            <a:spAutoFit/>
          </a:bodyPr>
          <a:lstStyle>
            <a:lvl1pPr>
              <a:lnSpc>
                <a:spcPct val="130000"/>
              </a:lnSpc>
              <a:defRPr sz="2100" b="0" i="0">
                <a:latin typeface="Arial" panose="020B0604020202020204" pitchFamily="34" charset="0"/>
              </a:defRPr>
            </a:lvl1pPr>
          </a:lstStyle>
          <a:p>
            <a:pPr lvl="0"/>
            <a:r>
              <a:rPr lang="en-US"/>
              <a:t>Title</a:t>
            </a:r>
            <a:endParaRPr lang="de-DE"/>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8214345"/>
            <a:ext cx="4806375" cy="383888"/>
          </a:xfrm>
        </p:spPr>
        <p:txBody>
          <a:bodyPr wrap="square">
            <a:spAutoFit/>
          </a:bodyPr>
          <a:lstStyle>
            <a:lvl1pPr>
              <a:lnSpc>
                <a:spcPct val="130000"/>
              </a:lnSpc>
              <a:defRPr sz="2100" b="0" i="0">
                <a:latin typeface="Arial" panose="020B0604020202020204" pitchFamily="34" charset="0"/>
              </a:defRPr>
            </a:lvl1pPr>
          </a:lstStyle>
          <a:p>
            <a:pPr lvl="0"/>
            <a:r>
              <a:rPr lang="en-US"/>
              <a:t>Title</a:t>
            </a:r>
            <a:endParaRPr lang="de-DE"/>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8214345"/>
            <a:ext cx="4806375" cy="383888"/>
          </a:xfrm>
        </p:spPr>
        <p:txBody>
          <a:bodyPr wrap="square">
            <a:spAutoFit/>
          </a:bodyPr>
          <a:lstStyle>
            <a:lvl1pPr>
              <a:lnSpc>
                <a:spcPct val="130000"/>
              </a:lnSpc>
              <a:defRPr sz="2100" b="0" i="0">
                <a:latin typeface="Arial" panose="020B0604020202020204" pitchFamily="34" charset="0"/>
              </a:defRPr>
            </a:lvl1pPr>
          </a:lstStyle>
          <a:p>
            <a:pPr lvl="0"/>
            <a:r>
              <a:rPr lang="en-US"/>
              <a:t>Title</a:t>
            </a:r>
            <a:endParaRPr lang="de-DE"/>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8214345"/>
            <a:ext cx="4806375" cy="383888"/>
          </a:xfrm>
        </p:spPr>
        <p:txBody>
          <a:bodyPr wrap="square">
            <a:spAutoFit/>
          </a:bodyPr>
          <a:lstStyle>
            <a:lvl1pPr>
              <a:lnSpc>
                <a:spcPct val="130000"/>
              </a:lnSpc>
              <a:defRPr sz="2100" b="0" i="0">
                <a:latin typeface="Arial" panose="020B0604020202020204" pitchFamily="34" charset="0"/>
              </a:defRPr>
            </a:lvl1pPr>
          </a:lstStyle>
          <a:p>
            <a:pPr lvl="0"/>
            <a:r>
              <a:rPr lang="en-US"/>
              <a:t>Title</a:t>
            </a:r>
            <a:endParaRPr lang="de-DE"/>
          </a:p>
        </p:txBody>
      </p:sp>
      <p:sp>
        <p:nvSpPr>
          <p:cNvPr id="42" name="Text Placeholder 8">
            <a:extLst>
              <a:ext uri="{FF2B5EF4-FFF2-40B4-BE49-F238E27FC236}">
                <a16:creationId xmlns:a16="http://schemas.microsoft.com/office/drawing/2014/main" id="{7A38E54B-F409-446C-B1D6-29A2A067520A}"/>
              </a:ext>
            </a:extLst>
          </p:cNvPr>
          <p:cNvSpPr>
            <a:spLocks noGrp="1"/>
          </p:cNvSpPr>
          <p:nvPr>
            <p:ph type="body" sz="quarter" idx="45" hasCustomPrompt="1"/>
          </p:nvPr>
        </p:nvSpPr>
        <p:spPr>
          <a:xfrm>
            <a:off x="7115356" y="9003973"/>
            <a:ext cx="4806375" cy="1644233"/>
          </a:xfrm>
        </p:spPr>
        <p:txBody>
          <a:bodyPr wrap="square">
            <a:spAutoFit/>
          </a:bodyPr>
          <a:lstStyle>
            <a:lvl1pPr>
              <a:lnSpc>
                <a:spcPct val="130000"/>
              </a:lnSpc>
              <a:defRPr sz="2100" b="0" i="0"/>
            </a:lvl1pPr>
          </a:lstStyle>
          <a:p>
            <a:r>
              <a:rPr lang="en-US"/>
              <a:t>Description text dolor sit </a:t>
            </a:r>
            <a:r>
              <a:rPr lang="en-US" err="1"/>
              <a:t>incididunt</a:t>
            </a:r>
            <a:r>
              <a:rPr lang="en-US"/>
              <a: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a:t>
            </a:r>
          </a:p>
        </p:txBody>
      </p:sp>
      <p:sp>
        <p:nvSpPr>
          <p:cNvPr id="43" name="Text Placeholder 8">
            <a:extLst>
              <a:ext uri="{FF2B5EF4-FFF2-40B4-BE49-F238E27FC236}">
                <a16:creationId xmlns:a16="http://schemas.microsoft.com/office/drawing/2014/main" id="{55309F3C-B857-4274-AD7E-6F28FD95D09C}"/>
              </a:ext>
            </a:extLst>
          </p:cNvPr>
          <p:cNvSpPr>
            <a:spLocks noGrp="1"/>
          </p:cNvSpPr>
          <p:nvPr>
            <p:ph type="body" sz="quarter" idx="46" hasCustomPrompt="1"/>
          </p:nvPr>
        </p:nvSpPr>
        <p:spPr>
          <a:xfrm>
            <a:off x="12459079" y="9003973"/>
            <a:ext cx="4806375" cy="1644233"/>
          </a:xfrm>
        </p:spPr>
        <p:txBody>
          <a:bodyPr wrap="square">
            <a:spAutoFit/>
          </a:bodyPr>
          <a:lstStyle>
            <a:lvl1pPr>
              <a:lnSpc>
                <a:spcPct val="130000"/>
              </a:lnSpc>
              <a:defRPr sz="2100" b="0" i="0"/>
            </a:lvl1pPr>
          </a:lstStyle>
          <a:p>
            <a:r>
              <a:rPr lang="en-US"/>
              <a:t>Description text dolor sit </a:t>
            </a:r>
            <a:r>
              <a:rPr lang="en-US" err="1"/>
              <a:t>incididunt</a:t>
            </a:r>
            <a:r>
              <a:rPr lang="en-US"/>
              <a: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7802802" y="9003973"/>
            <a:ext cx="4806375" cy="1644233"/>
          </a:xfrm>
        </p:spPr>
        <p:txBody>
          <a:bodyPr wrap="square">
            <a:spAutoFit/>
          </a:bodyPr>
          <a:lstStyle>
            <a:lvl1pPr>
              <a:lnSpc>
                <a:spcPct val="130000"/>
              </a:lnSpc>
              <a:defRPr sz="2100" b="0" i="0"/>
            </a:lvl1pPr>
          </a:lstStyle>
          <a:p>
            <a:r>
              <a:rPr lang="en-US"/>
              <a:t>Description text dolor sit </a:t>
            </a:r>
            <a:r>
              <a:rPr lang="en-US" err="1"/>
              <a:t>incididunt</a:t>
            </a:r>
            <a:r>
              <a:rPr lang="en-US"/>
              <a: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a:t>
            </a:r>
          </a:p>
        </p:txBody>
      </p:sp>
    </p:spTree>
    <p:extLst>
      <p:ext uri="{BB962C8B-B14F-4D97-AF65-F5344CB8AC3E}">
        <p14:creationId xmlns:p14="http://schemas.microsoft.com/office/powerpoint/2010/main" val="359061794"/>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am 2 row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5551976"/>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3"/>
            <a:ext cx="2385907" cy="238262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3"/>
            <a:ext cx="2385907" cy="238262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3"/>
            <a:ext cx="2385907" cy="238262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3"/>
            <a:ext cx="2385907" cy="238262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5551976"/>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5551976"/>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5551976"/>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6353756"/>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6353756"/>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6353756"/>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6353756"/>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35" name="Text Placeholder 8">
            <a:extLst>
              <a:ext uri="{FF2B5EF4-FFF2-40B4-BE49-F238E27FC236}">
                <a16:creationId xmlns:a16="http://schemas.microsoft.com/office/drawing/2014/main" id="{DC22D998-1D8C-4AF4-9016-3A47977C194F}"/>
              </a:ext>
            </a:extLst>
          </p:cNvPr>
          <p:cNvSpPr>
            <a:spLocks noGrp="1"/>
          </p:cNvSpPr>
          <p:nvPr>
            <p:ph type="body" sz="quarter" idx="51" hasCustomPrompt="1"/>
          </p:nvPr>
        </p:nvSpPr>
        <p:spPr>
          <a:xfrm>
            <a:off x="1763674" y="10456710"/>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39" name="Image">
            <a:extLst>
              <a:ext uri="{FF2B5EF4-FFF2-40B4-BE49-F238E27FC236}">
                <a16:creationId xmlns:a16="http://schemas.microsoft.com/office/drawing/2014/main" id="{42BE3C3E-685C-44B5-9CFA-CC39CAA216FB}"/>
              </a:ext>
            </a:extLst>
          </p:cNvPr>
          <p:cNvSpPr>
            <a:spLocks noGrp="1"/>
          </p:cNvSpPr>
          <p:nvPr>
            <p:ph type="pic" idx="52"/>
          </p:nvPr>
        </p:nvSpPr>
        <p:spPr>
          <a:xfrm>
            <a:off x="1763674" y="7616382"/>
            <a:ext cx="2385907" cy="238262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40" name="Image">
            <a:extLst>
              <a:ext uri="{FF2B5EF4-FFF2-40B4-BE49-F238E27FC236}">
                <a16:creationId xmlns:a16="http://schemas.microsoft.com/office/drawing/2014/main" id="{B03AFDBD-E2AB-4E84-9D8D-7D929F037684}"/>
              </a:ext>
            </a:extLst>
          </p:cNvPr>
          <p:cNvSpPr>
            <a:spLocks noGrp="1"/>
          </p:cNvSpPr>
          <p:nvPr>
            <p:ph type="pic" idx="53"/>
          </p:nvPr>
        </p:nvSpPr>
        <p:spPr>
          <a:xfrm>
            <a:off x="7110049" y="7616382"/>
            <a:ext cx="2385907" cy="238262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41" name="Image">
            <a:extLst>
              <a:ext uri="{FF2B5EF4-FFF2-40B4-BE49-F238E27FC236}">
                <a16:creationId xmlns:a16="http://schemas.microsoft.com/office/drawing/2014/main" id="{CC680C39-EEDE-4F0C-B8F6-092335703C01}"/>
              </a:ext>
            </a:extLst>
          </p:cNvPr>
          <p:cNvSpPr>
            <a:spLocks noGrp="1"/>
          </p:cNvSpPr>
          <p:nvPr>
            <p:ph type="pic" idx="54"/>
          </p:nvPr>
        </p:nvSpPr>
        <p:spPr>
          <a:xfrm>
            <a:off x="12456424" y="7616382"/>
            <a:ext cx="2385907" cy="238262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45" name="Image">
            <a:extLst>
              <a:ext uri="{FF2B5EF4-FFF2-40B4-BE49-F238E27FC236}">
                <a16:creationId xmlns:a16="http://schemas.microsoft.com/office/drawing/2014/main" id="{0A8E9D8F-DE11-4F0C-8ECC-0FE0C5DA548A}"/>
              </a:ext>
            </a:extLst>
          </p:cNvPr>
          <p:cNvSpPr>
            <a:spLocks noGrp="1"/>
          </p:cNvSpPr>
          <p:nvPr>
            <p:ph type="pic" idx="55"/>
          </p:nvPr>
        </p:nvSpPr>
        <p:spPr>
          <a:xfrm>
            <a:off x="17802799" y="7616382"/>
            <a:ext cx="2385907" cy="2382624"/>
          </a:xfrm>
          <a:prstGeom prst="rect">
            <a:avLst/>
          </a:prstGeom>
          <a:solidFill>
            <a:schemeClr val="accent6"/>
          </a:solidFill>
        </p:spPr>
        <p:txBody>
          <a:bodyPr lIns="91439" tIns="45719" rIns="91439" bIns="45719">
            <a:noAutofit/>
          </a:bodyPr>
          <a:lstStyle>
            <a:lvl1pPr algn="ctr">
              <a:defRPr b="0" i="0"/>
            </a:lvl1pPr>
          </a:lstStyle>
          <a:p>
            <a:endParaRPr/>
          </a:p>
        </p:txBody>
      </p:sp>
      <p:sp>
        <p:nvSpPr>
          <p:cNvPr id="46" name="Text Placeholder 8">
            <a:extLst>
              <a:ext uri="{FF2B5EF4-FFF2-40B4-BE49-F238E27FC236}">
                <a16:creationId xmlns:a16="http://schemas.microsoft.com/office/drawing/2014/main" id="{BF5A5649-4140-40DD-9393-DCCC53D67E33}"/>
              </a:ext>
            </a:extLst>
          </p:cNvPr>
          <p:cNvSpPr>
            <a:spLocks noGrp="1"/>
          </p:cNvSpPr>
          <p:nvPr>
            <p:ph type="body" sz="quarter" idx="56" hasCustomPrompt="1"/>
          </p:nvPr>
        </p:nvSpPr>
        <p:spPr>
          <a:xfrm>
            <a:off x="7110048" y="10456710"/>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47" name="Text Placeholder 8">
            <a:extLst>
              <a:ext uri="{FF2B5EF4-FFF2-40B4-BE49-F238E27FC236}">
                <a16:creationId xmlns:a16="http://schemas.microsoft.com/office/drawing/2014/main" id="{93D570D8-7505-41FE-A02B-47262755A35B}"/>
              </a:ext>
            </a:extLst>
          </p:cNvPr>
          <p:cNvSpPr>
            <a:spLocks noGrp="1"/>
          </p:cNvSpPr>
          <p:nvPr>
            <p:ph type="body" sz="quarter" idx="57" hasCustomPrompt="1"/>
          </p:nvPr>
        </p:nvSpPr>
        <p:spPr>
          <a:xfrm>
            <a:off x="12456423" y="10456710"/>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48" name="Text Placeholder 8">
            <a:extLst>
              <a:ext uri="{FF2B5EF4-FFF2-40B4-BE49-F238E27FC236}">
                <a16:creationId xmlns:a16="http://schemas.microsoft.com/office/drawing/2014/main" id="{09FC3494-F6A8-4519-8750-76AF0D608FF6}"/>
              </a:ext>
            </a:extLst>
          </p:cNvPr>
          <p:cNvSpPr>
            <a:spLocks noGrp="1"/>
          </p:cNvSpPr>
          <p:nvPr>
            <p:ph type="body" sz="quarter" idx="58" hasCustomPrompt="1"/>
          </p:nvPr>
        </p:nvSpPr>
        <p:spPr>
          <a:xfrm>
            <a:off x="17802802" y="10456710"/>
            <a:ext cx="4806375" cy="467820"/>
          </a:xfrm>
        </p:spPr>
        <p:txBody>
          <a:bodyPr wrap="square" anchor="t">
            <a:spAutoFit/>
          </a:bodyPr>
          <a:lstStyle>
            <a:lvl1pPr>
              <a:lnSpc>
                <a:spcPct val="80000"/>
              </a:lnSpc>
              <a:defRPr sz="3800" b="0" i="0">
                <a:latin typeface="Times New Roman" panose="02020603050405020304" pitchFamily="18" charset="0"/>
              </a:defRPr>
            </a:lvl1pPr>
          </a:lstStyle>
          <a:p>
            <a:pPr lvl="0"/>
            <a:r>
              <a:rPr lang="en-US"/>
              <a:t>Name Surname</a:t>
            </a:r>
          </a:p>
        </p:txBody>
      </p:sp>
      <p:sp>
        <p:nvSpPr>
          <p:cNvPr id="49" name="Text Placeholder 8">
            <a:extLst>
              <a:ext uri="{FF2B5EF4-FFF2-40B4-BE49-F238E27FC236}">
                <a16:creationId xmlns:a16="http://schemas.microsoft.com/office/drawing/2014/main" id="{F64EABFF-C45E-43E6-843F-A98C16508E31}"/>
              </a:ext>
            </a:extLst>
          </p:cNvPr>
          <p:cNvSpPr>
            <a:spLocks noGrp="1"/>
          </p:cNvSpPr>
          <p:nvPr>
            <p:ph type="body" sz="quarter" idx="59" hasCustomPrompt="1"/>
          </p:nvPr>
        </p:nvSpPr>
        <p:spPr>
          <a:xfrm>
            <a:off x="1771633" y="11258488"/>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50" name="Text Placeholder 8">
            <a:extLst>
              <a:ext uri="{FF2B5EF4-FFF2-40B4-BE49-F238E27FC236}">
                <a16:creationId xmlns:a16="http://schemas.microsoft.com/office/drawing/2014/main" id="{9C586F28-035A-4B14-B1E2-41E7041CCB0F}"/>
              </a:ext>
            </a:extLst>
          </p:cNvPr>
          <p:cNvSpPr>
            <a:spLocks noGrp="1"/>
          </p:cNvSpPr>
          <p:nvPr>
            <p:ph type="body" sz="quarter" idx="60" hasCustomPrompt="1"/>
          </p:nvPr>
        </p:nvSpPr>
        <p:spPr>
          <a:xfrm>
            <a:off x="7115356" y="11258488"/>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51" name="Text Placeholder 8">
            <a:extLst>
              <a:ext uri="{FF2B5EF4-FFF2-40B4-BE49-F238E27FC236}">
                <a16:creationId xmlns:a16="http://schemas.microsoft.com/office/drawing/2014/main" id="{7000BCA0-206F-447A-A9AA-33BB9B0B9746}"/>
              </a:ext>
            </a:extLst>
          </p:cNvPr>
          <p:cNvSpPr>
            <a:spLocks noGrp="1"/>
          </p:cNvSpPr>
          <p:nvPr>
            <p:ph type="body" sz="quarter" idx="61" hasCustomPrompt="1"/>
          </p:nvPr>
        </p:nvSpPr>
        <p:spPr>
          <a:xfrm>
            <a:off x="12459079" y="11258488"/>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52" name="Text Placeholder 8">
            <a:extLst>
              <a:ext uri="{FF2B5EF4-FFF2-40B4-BE49-F238E27FC236}">
                <a16:creationId xmlns:a16="http://schemas.microsoft.com/office/drawing/2014/main" id="{A96100EF-FEB7-4052-86BE-04C0F2BCD1DF}"/>
              </a:ext>
            </a:extLst>
          </p:cNvPr>
          <p:cNvSpPr>
            <a:spLocks noGrp="1"/>
          </p:cNvSpPr>
          <p:nvPr>
            <p:ph type="body" sz="quarter" idx="62" hasCustomPrompt="1"/>
          </p:nvPr>
        </p:nvSpPr>
        <p:spPr>
          <a:xfrm>
            <a:off x="17802802" y="11258488"/>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Tree>
    <p:extLst>
      <p:ext uri="{BB962C8B-B14F-4D97-AF65-F5344CB8AC3E}">
        <p14:creationId xmlns:p14="http://schemas.microsoft.com/office/powerpoint/2010/main" val="2542608673"/>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am 3 row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4543186"/>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4"/>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4"/>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4"/>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4"/>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4543186"/>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4543186"/>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4543186"/>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4887896"/>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4887896"/>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4887896"/>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4887896"/>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39" name="Image">
            <a:extLst>
              <a:ext uri="{FF2B5EF4-FFF2-40B4-BE49-F238E27FC236}">
                <a16:creationId xmlns:a16="http://schemas.microsoft.com/office/drawing/2014/main" id="{42BE3C3E-685C-44B5-9CFA-CC39CAA216FB}"/>
              </a:ext>
            </a:extLst>
          </p:cNvPr>
          <p:cNvSpPr>
            <a:spLocks noGrp="1"/>
          </p:cNvSpPr>
          <p:nvPr>
            <p:ph type="pic" idx="52"/>
          </p:nvPr>
        </p:nvSpPr>
        <p:spPr>
          <a:xfrm>
            <a:off x="1763674" y="5966831"/>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40" name="Image">
            <a:extLst>
              <a:ext uri="{FF2B5EF4-FFF2-40B4-BE49-F238E27FC236}">
                <a16:creationId xmlns:a16="http://schemas.microsoft.com/office/drawing/2014/main" id="{B03AFDBD-E2AB-4E84-9D8D-7D929F037684}"/>
              </a:ext>
            </a:extLst>
          </p:cNvPr>
          <p:cNvSpPr>
            <a:spLocks noGrp="1"/>
          </p:cNvSpPr>
          <p:nvPr>
            <p:ph type="pic" idx="53"/>
          </p:nvPr>
        </p:nvSpPr>
        <p:spPr>
          <a:xfrm>
            <a:off x="7110049" y="5966831"/>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41" name="Image">
            <a:extLst>
              <a:ext uri="{FF2B5EF4-FFF2-40B4-BE49-F238E27FC236}">
                <a16:creationId xmlns:a16="http://schemas.microsoft.com/office/drawing/2014/main" id="{CC680C39-EEDE-4F0C-B8F6-092335703C01}"/>
              </a:ext>
            </a:extLst>
          </p:cNvPr>
          <p:cNvSpPr>
            <a:spLocks noGrp="1"/>
          </p:cNvSpPr>
          <p:nvPr>
            <p:ph type="pic" idx="54"/>
          </p:nvPr>
        </p:nvSpPr>
        <p:spPr>
          <a:xfrm>
            <a:off x="12456424" y="5966831"/>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45" name="Image">
            <a:extLst>
              <a:ext uri="{FF2B5EF4-FFF2-40B4-BE49-F238E27FC236}">
                <a16:creationId xmlns:a16="http://schemas.microsoft.com/office/drawing/2014/main" id="{0A8E9D8F-DE11-4F0C-8ECC-0FE0C5DA548A}"/>
              </a:ext>
            </a:extLst>
          </p:cNvPr>
          <p:cNvSpPr>
            <a:spLocks noGrp="1"/>
          </p:cNvSpPr>
          <p:nvPr>
            <p:ph type="pic" idx="55"/>
          </p:nvPr>
        </p:nvSpPr>
        <p:spPr>
          <a:xfrm>
            <a:off x="17802799" y="5966831"/>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56" name="Text Placeholder 8">
            <a:extLst>
              <a:ext uri="{FF2B5EF4-FFF2-40B4-BE49-F238E27FC236}">
                <a16:creationId xmlns:a16="http://schemas.microsoft.com/office/drawing/2014/main" id="{3114D695-38F6-4559-9434-9460AA7910CE}"/>
              </a:ext>
            </a:extLst>
          </p:cNvPr>
          <p:cNvSpPr>
            <a:spLocks noGrp="1"/>
          </p:cNvSpPr>
          <p:nvPr>
            <p:ph type="body" sz="quarter" idx="79" hasCustomPrompt="1"/>
          </p:nvPr>
        </p:nvSpPr>
        <p:spPr>
          <a:xfrm>
            <a:off x="1763674" y="7760443"/>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57" name="Text Placeholder 8">
            <a:extLst>
              <a:ext uri="{FF2B5EF4-FFF2-40B4-BE49-F238E27FC236}">
                <a16:creationId xmlns:a16="http://schemas.microsoft.com/office/drawing/2014/main" id="{327676F8-3324-4285-96DF-7CF0632719D9}"/>
              </a:ext>
            </a:extLst>
          </p:cNvPr>
          <p:cNvSpPr>
            <a:spLocks noGrp="1"/>
          </p:cNvSpPr>
          <p:nvPr>
            <p:ph type="body" sz="quarter" idx="80" hasCustomPrompt="1"/>
          </p:nvPr>
        </p:nvSpPr>
        <p:spPr>
          <a:xfrm>
            <a:off x="7110048" y="7760443"/>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58" name="Text Placeholder 8">
            <a:extLst>
              <a:ext uri="{FF2B5EF4-FFF2-40B4-BE49-F238E27FC236}">
                <a16:creationId xmlns:a16="http://schemas.microsoft.com/office/drawing/2014/main" id="{93CC6F66-7724-4A3E-AD86-242105977FB0}"/>
              </a:ext>
            </a:extLst>
          </p:cNvPr>
          <p:cNvSpPr>
            <a:spLocks noGrp="1"/>
          </p:cNvSpPr>
          <p:nvPr>
            <p:ph type="body" sz="quarter" idx="81" hasCustomPrompt="1"/>
          </p:nvPr>
        </p:nvSpPr>
        <p:spPr>
          <a:xfrm>
            <a:off x="12456423" y="7760443"/>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59" name="Text Placeholder 8">
            <a:extLst>
              <a:ext uri="{FF2B5EF4-FFF2-40B4-BE49-F238E27FC236}">
                <a16:creationId xmlns:a16="http://schemas.microsoft.com/office/drawing/2014/main" id="{7361A1E0-18E2-431B-A787-BE6B8EC88909}"/>
              </a:ext>
            </a:extLst>
          </p:cNvPr>
          <p:cNvSpPr>
            <a:spLocks noGrp="1"/>
          </p:cNvSpPr>
          <p:nvPr>
            <p:ph type="body" sz="quarter" idx="82" hasCustomPrompt="1"/>
          </p:nvPr>
        </p:nvSpPr>
        <p:spPr>
          <a:xfrm>
            <a:off x="17802802" y="7760443"/>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60" name="Text Placeholder 8">
            <a:extLst>
              <a:ext uri="{FF2B5EF4-FFF2-40B4-BE49-F238E27FC236}">
                <a16:creationId xmlns:a16="http://schemas.microsoft.com/office/drawing/2014/main" id="{3146CFBC-A17E-4092-88AE-EB8DBAFE78D9}"/>
              </a:ext>
            </a:extLst>
          </p:cNvPr>
          <p:cNvSpPr>
            <a:spLocks noGrp="1"/>
          </p:cNvSpPr>
          <p:nvPr>
            <p:ph type="body" sz="quarter" idx="83" hasCustomPrompt="1"/>
          </p:nvPr>
        </p:nvSpPr>
        <p:spPr>
          <a:xfrm>
            <a:off x="1771633" y="8105153"/>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61" name="Text Placeholder 8">
            <a:extLst>
              <a:ext uri="{FF2B5EF4-FFF2-40B4-BE49-F238E27FC236}">
                <a16:creationId xmlns:a16="http://schemas.microsoft.com/office/drawing/2014/main" id="{1D76466E-CA75-4C76-8BDF-4DAC7CA4852D}"/>
              </a:ext>
            </a:extLst>
          </p:cNvPr>
          <p:cNvSpPr>
            <a:spLocks noGrp="1"/>
          </p:cNvSpPr>
          <p:nvPr>
            <p:ph type="body" sz="quarter" idx="84" hasCustomPrompt="1"/>
          </p:nvPr>
        </p:nvSpPr>
        <p:spPr>
          <a:xfrm>
            <a:off x="7115356" y="8105153"/>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62" name="Text Placeholder 8">
            <a:extLst>
              <a:ext uri="{FF2B5EF4-FFF2-40B4-BE49-F238E27FC236}">
                <a16:creationId xmlns:a16="http://schemas.microsoft.com/office/drawing/2014/main" id="{C399110D-6F9A-418C-A292-E899C0A53553}"/>
              </a:ext>
            </a:extLst>
          </p:cNvPr>
          <p:cNvSpPr>
            <a:spLocks noGrp="1"/>
          </p:cNvSpPr>
          <p:nvPr>
            <p:ph type="body" sz="quarter" idx="85" hasCustomPrompt="1"/>
          </p:nvPr>
        </p:nvSpPr>
        <p:spPr>
          <a:xfrm>
            <a:off x="12459079" y="8105153"/>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63" name="Text Placeholder 8">
            <a:extLst>
              <a:ext uri="{FF2B5EF4-FFF2-40B4-BE49-F238E27FC236}">
                <a16:creationId xmlns:a16="http://schemas.microsoft.com/office/drawing/2014/main" id="{62109A42-167E-4407-8DD0-BF0B9D729A97}"/>
              </a:ext>
            </a:extLst>
          </p:cNvPr>
          <p:cNvSpPr>
            <a:spLocks noGrp="1"/>
          </p:cNvSpPr>
          <p:nvPr>
            <p:ph type="body" sz="quarter" idx="86" hasCustomPrompt="1"/>
          </p:nvPr>
        </p:nvSpPr>
        <p:spPr>
          <a:xfrm>
            <a:off x="17802802" y="8105153"/>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64" name="Image">
            <a:extLst>
              <a:ext uri="{FF2B5EF4-FFF2-40B4-BE49-F238E27FC236}">
                <a16:creationId xmlns:a16="http://schemas.microsoft.com/office/drawing/2014/main" id="{2C7B5B9E-8C9C-456D-9725-8978A0AF8C56}"/>
              </a:ext>
            </a:extLst>
          </p:cNvPr>
          <p:cNvSpPr>
            <a:spLocks noGrp="1"/>
          </p:cNvSpPr>
          <p:nvPr>
            <p:ph type="pic" idx="87"/>
          </p:nvPr>
        </p:nvSpPr>
        <p:spPr>
          <a:xfrm>
            <a:off x="1763674" y="9199254"/>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65" name="Image">
            <a:extLst>
              <a:ext uri="{FF2B5EF4-FFF2-40B4-BE49-F238E27FC236}">
                <a16:creationId xmlns:a16="http://schemas.microsoft.com/office/drawing/2014/main" id="{46F670E5-DA00-473F-B75C-DF937A1CD24D}"/>
              </a:ext>
            </a:extLst>
          </p:cNvPr>
          <p:cNvSpPr>
            <a:spLocks noGrp="1"/>
          </p:cNvSpPr>
          <p:nvPr>
            <p:ph type="pic" idx="88"/>
          </p:nvPr>
        </p:nvSpPr>
        <p:spPr>
          <a:xfrm>
            <a:off x="7110049" y="9199254"/>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66" name="Image">
            <a:extLst>
              <a:ext uri="{FF2B5EF4-FFF2-40B4-BE49-F238E27FC236}">
                <a16:creationId xmlns:a16="http://schemas.microsoft.com/office/drawing/2014/main" id="{11249537-7BBE-4DBF-8221-2352B9D29018}"/>
              </a:ext>
            </a:extLst>
          </p:cNvPr>
          <p:cNvSpPr>
            <a:spLocks noGrp="1"/>
          </p:cNvSpPr>
          <p:nvPr>
            <p:ph type="pic" idx="89"/>
          </p:nvPr>
        </p:nvSpPr>
        <p:spPr>
          <a:xfrm>
            <a:off x="12456424" y="9199254"/>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67" name="Image">
            <a:extLst>
              <a:ext uri="{FF2B5EF4-FFF2-40B4-BE49-F238E27FC236}">
                <a16:creationId xmlns:a16="http://schemas.microsoft.com/office/drawing/2014/main" id="{D3F8A0AA-1F08-4D0A-8B12-42FCDEE6128B}"/>
              </a:ext>
            </a:extLst>
          </p:cNvPr>
          <p:cNvSpPr>
            <a:spLocks noGrp="1"/>
          </p:cNvSpPr>
          <p:nvPr>
            <p:ph type="pic" idx="90"/>
          </p:nvPr>
        </p:nvSpPr>
        <p:spPr>
          <a:xfrm>
            <a:off x="17802799" y="9199254"/>
            <a:ext cx="1132974" cy="1131415"/>
          </a:xfrm>
          <a:prstGeom prst="rect">
            <a:avLst/>
          </a:prstGeom>
          <a:solidFill>
            <a:schemeClr val="accent6"/>
          </a:solidFill>
        </p:spPr>
        <p:txBody>
          <a:bodyPr lIns="91439" tIns="45719" rIns="91439" bIns="45719">
            <a:noAutofit/>
          </a:bodyPr>
          <a:lstStyle>
            <a:lvl1pPr algn="ctr">
              <a:defRPr sz="1800" b="0" i="0"/>
            </a:lvl1pPr>
          </a:lstStyle>
          <a:p>
            <a:endParaRPr/>
          </a:p>
        </p:txBody>
      </p:sp>
      <p:sp>
        <p:nvSpPr>
          <p:cNvPr id="68" name="Text Placeholder 8">
            <a:extLst>
              <a:ext uri="{FF2B5EF4-FFF2-40B4-BE49-F238E27FC236}">
                <a16:creationId xmlns:a16="http://schemas.microsoft.com/office/drawing/2014/main" id="{B293C29D-7666-4E55-ABB8-1139C71F3FC5}"/>
              </a:ext>
            </a:extLst>
          </p:cNvPr>
          <p:cNvSpPr>
            <a:spLocks noGrp="1"/>
          </p:cNvSpPr>
          <p:nvPr>
            <p:ph type="body" sz="quarter" idx="91" hasCustomPrompt="1"/>
          </p:nvPr>
        </p:nvSpPr>
        <p:spPr>
          <a:xfrm>
            <a:off x="1763674" y="10977697"/>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69" name="Text Placeholder 8">
            <a:extLst>
              <a:ext uri="{FF2B5EF4-FFF2-40B4-BE49-F238E27FC236}">
                <a16:creationId xmlns:a16="http://schemas.microsoft.com/office/drawing/2014/main" id="{31A70BED-6F2C-4399-A48D-3788DFA7F3ED}"/>
              </a:ext>
            </a:extLst>
          </p:cNvPr>
          <p:cNvSpPr>
            <a:spLocks noGrp="1"/>
          </p:cNvSpPr>
          <p:nvPr>
            <p:ph type="body" sz="quarter" idx="92" hasCustomPrompt="1"/>
          </p:nvPr>
        </p:nvSpPr>
        <p:spPr>
          <a:xfrm>
            <a:off x="7110048" y="10977697"/>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70" name="Text Placeholder 8">
            <a:extLst>
              <a:ext uri="{FF2B5EF4-FFF2-40B4-BE49-F238E27FC236}">
                <a16:creationId xmlns:a16="http://schemas.microsoft.com/office/drawing/2014/main" id="{54AA5E52-B5C4-42E2-8B68-7601ED551544}"/>
              </a:ext>
            </a:extLst>
          </p:cNvPr>
          <p:cNvSpPr>
            <a:spLocks noGrp="1"/>
          </p:cNvSpPr>
          <p:nvPr>
            <p:ph type="body" sz="quarter" idx="93" hasCustomPrompt="1"/>
          </p:nvPr>
        </p:nvSpPr>
        <p:spPr>
          <a:xfrm>
            <a:off x="12456423" y="10977697"/>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71" name="Text Placeholder 8">
            <a:extLst>
              <a:ext uri="{FF2B5EF4-FFF2-40B4-BE49-F238E27FC236}">
                <a16:creationId xmlns:a16="http://schemas.microsoft.com/office/drawing/2014/main" id="{72E267C8-E9BD-41BB-BADD-A039A55BF2FE}"/>
              </a:ext>
            </a:extLst>
          </p:cNvPr>
          <p:cNvSpPr>
            <a:spLocks noGrp="1"/>
          </p:cNvSpPr>
          <p:nvPr>
            <p:ph type="body" sz="quarter" idx="94" hasCustomPrompt="1"/>
          </p:nvPr>
        </p:nvSpPr>
        <p:spPr>
          <a:xfrm>
            <a:off x="17802802" y="10977697"/>
            <a:ext cx="4806375" cy="344710"/>
          </a:xfrm>
        </p:spPr>
        <p:txBody>
          <a:bodyPr wrap="square" anchor="t">
            <a:spAutoFit/>
          </a:bodyPr>
          <a:lstStyle>
            <a:lvl1pPr>
              <a:lnSpc>
                <a:spcPct val="80000"/>
              </a:lnSpc>
              <a:defRPr sz="2800" b="0" i="0">
                <a:latin typeface="Times New Roman" panose="02020603050405020304" pitchFamily="18" charset="0"/>
              </a:defRPr>
            </a:lvl1pPr>
          </a:lstStyle>
          <a:p>
            <a:pPr lvl="0"/>
            <a:r>
              <a:rPr lang="en-US"/>
              <a:t>Name Surname</a:t>
            </a:r>
          </a:p>
        </p:txBody>
      </p:sp>
      <p:sp>
        <p:nvSpPr>
          <p:cNvPr id="72" name="Text Placeholder 8">
            <a:extLst>
              <a:ext uri="{FF2B5EF4-FFF2-40B4-BE49-F238E27FC236}">
                <a16:creationId xmlns:a16="http://schemas.microsoft.com/office/drawing/2014/main" id="{D4FD7096-1ED4-42CE-AC5A-25AE2B031D2D}"/>
              </a:ext>
            </a:extLst>
          </p:cNvPr>
          <p:cNvSpPr>
            <a:spLocks noGrp="1"/>
          </p:cNvSpPr>
          <p:nvPr>
            <p:ph type="body" sz="quarter" idx="95" hasCustomPrompt="1"/>
          </p:nvPr>
        </p:nvSpPr>
        <p:spPr>
          <a:xfrm>
            <a:off x="1771633" y="11322408"/>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73" name="Text Placeholder 8">
            <a:extLst>
              <a:ext uri="{FF2B5EF4-FFF2-40B4-BE49-F238E27FC236}">
                <a16:creationId xmlns:a16="http://schemas.microsoft.com/office/drawing/2014/main" id="{37401C09-4667-4955-AAA4-7F1E7C0643C7}"/>
              </a:ext>
            </a:extLst>
          </p:cNvPr>
          <p:cNvSpPr>
            <a:spLocks noGrp="1"/>
          </p:cNvSpPr>
          <p:nvPr>
            <p:ph type="body" sz="quarter" idx="96" hasCustomPrompt="1"/>
          </p:nvPr>
        </p:nvSpPr>
        <p:spPr>
          <a:xfrm>
            <a:off x="7115356" y="11322408"/>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74" name="Text Placeholder 8">
            <a:extLst>
              <a:ext uri="{FF2B5EF4-FFF2-40B4-BE49-F238E27FC236}">
                <a16:creationId xmlns:a16="http://schemas.microsoft.com/office/drawing/2014/main" id="{5D522064-27CC-4759-833F-E92AEBBCBDAD}"/>
              </a:ext>
            </a:extLst>
          </p:cNvPr>
          <p:cNvSpPr>
            <a:spLocks noGrp="1"/>
          </p:cNvSpPr>
          <p:nvPr>
            <p:ph type="body" sz="quarter" idx="97" hasCustomPrompt="1"/>
          </p:nvPr>
        </p:nvSpPr>
        <p:spPr>
          <a:xfrm>
            <a:off x="12459079" y="11322408"/>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
        <p:nvSpPr>
          <p:cNvPr id="75" name="Text Placeholder 8">
            <a:extLst>
              <a:ext uri="{FF2B5EF4-FFF2-40B4-BE49-F238E27FC236}">
                <a16:creationId xmlns:a16="http://schemas.microsoft.com/office/drawing/2014/main" id="{F465EFA7-F683-473D-8579-70310C23CFC4}"/>
              </a:ext>
            </a:extLst>
          </p:cNvPr>
          <p:cNvSpPr>
            <a:spLocks noGrp="1"/>
          </p:cNvSpPr>
          <p:nvPr>
            <p:ph type="body" sz="quarter" idx="98" hasCustomPrompt="1"/>
          </p:nvPr>
        </p:nvSpPr>
        <p:spPr>
          <a:xfrm>
            <a:off x="17802802" y="11322408"/>
            <a:ext cx="4806375" cy="329001"/>
          </a:xfrm>
        </p:spPr>
        <p:txBody>
          <a:bodyPr wrap="square">
            <a:spAutoFit/>
          </a:bodyPr>
          <a:lstStyle>
            <a:lvl1pPr>
              <a:lnSpc>
                <a:spcPct val="130000"/>
              </a:lnSpc>
              <a:defRPr sz="1800" b="0" i="0">
                <a:latin typeface="Arial" panose="020B0604020202020204" pitchFamily="34" charset="0"/>
              </a:defRPr>
            </a:lvl1pPr>
          </a:lstStyle>
          <a:p>
            <a:pPr lvl="0"/>
            <a:r>
              <a:rPr lang="en-US"/>
              <a:t>Title</a:t>
            </a:r>
            <a:endParaRPr lang="de-DE"/>
          </a:p>
        </p:txBody>
      </p:sp>
    </p:spTree>
    <p:extLst>
      <p:ext uri="{BB962C8B-B14F-4D97-AF65-F5344CB8AC3E}">
        <p14:creationId xmlns:p14="http://schemas.microsoft.com/office/powerpoint/2010/main" val="33609422"/>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am roles 2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91335-477C-4FA4-A0A3-3822FC1E34A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21274B-99E8-4D9E-915D-34A696DF76ED}"/>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8CCAF356-023C-4E1A-859C-8CCFFE8C20AD}"/>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BC5CA8A9-018D-4391-8BF8-4A67B3167A27}"/>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15122309-4672-4FF7-B31D-903AE2558D86}"/>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EBD33A8C-479F-4598-A4BE-5546ACB8E6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8" name="Text Placeholder 8">
            <a:extLst>
              <a:ext uri="{FF2B5EF4-FFF2-40B4-BE49-F238E27FC236}">
                <a16:creationId xmlns:a16="http://schemas.microsoft.com/office/drawing/2014/main" id="{2FC1567C-8BEA-4EA8-BE43-F1A1E7FEC58D}"/>
              </a:ext>
            </a:extLst>
          </p:cNvPr>
          <p:cNvSpPr>
            <a:spLocks noGrp="1"/>
          </p:cNvSpPr>
          <p:nvPr>
            <p:ph type="body" sz="quarter" idx="29" hasCustomPrompt="1"/>
          </p:nvPr>
        </p:nvSpPr>
        <p:spPr>
          <a:xfrm>
            <a:off x="1763674" y="4262826"/>
            <a:ext cx="8394243" cy="418576"/>
          </a:xfrm>
        </p:spPr>
        <p:txBody>
          <a:bodyPr wrap="square" anchor="b">
            <a:spAutoFit/>
          </a:bodyPr>
          <a:lstStyle>
            <a:lvl1pPr>
              <a:lnSpc>
                <a:spcPct val="80000"/>
              </a:lnSpc>
              <a:defRPr sz="3400" b="0" i="0">
                <a:latin typeface="Times New Roman" panose="02020603050405020304" pitchFamily="18" charset="0"/>
              </a:defRPr>
            </a:lvl1pPr>
          </a:lstStyle>
          <a:p>
            <a:pPr lvl="0"/>
            <a:r>
              <a:rPr lang="en-US"/>
              <a:t>Role / Job title</a:t>
            </a:r>
          </a:p>
        </p:txBody>
      </p:sp>
      <p:sp>
        <p:nvSpPr>
          <p:cNvPr id="9" name="Text Placeholder 8">
            <a:extLst>
              <a:ext uri="{FF2B5EF4-FFF2-40B4-BE49-F238E27FC236}">
                <a16:creationId xmlns:a16="http://schemas.microsoft.com/office/drawing/2014/main" id="{A8FE1FB6-5890-4685-8E50-27A4DBECCE71}"/>
              </a:ext>
            </a:extLst>
          </p:cNvPr>
          <p:cNvSpPr>
            <a:spLocks noGrp="1"/>
          </p:cNvSpPr>
          <p:nvPr>
            <p:ph type="body" sz="quarter" idx="41" hasCustomPrompt="1"/>
          </p:nvPr>
        </p:nvSpPr>
        <p:spPr>
          <a:xfrm>
            <a:off x="1771633" y="5076267"/>
            <a:ext cx="8394243" cy="689099"/>
          </a:xfrm>
        </p:spPr>
        <p:txBody>
          <a:bodyPr wrap="square">
            <a:noAutofit/>
          </a:bodyPr>
          <a:lstStyle>
            <a:lvl1pPr>
              <a:lnSpc>
                <a:spcPct val="130000"/>
              </a:lnSpc>
              <a:defRPr sz="1800" b="0" i="0">
                <a:latin typeface="Arial" panose="020B0604020202020204" pitchFamily="34" charset="0"/>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14" name="Text Placeholder 8">
            <a:extLst>
              <a:ext uri="{FF2B5EF4-FFF2-40B4-BE49-F238E27FC236}">
                <a16:creationId xmlns:a16="http://schemas.microsoft.com/office/drawing/2014/main" id="{C73F89C4-6036-4DA1-B867-8F21542DD3B7}"/>
              </a:ext>
            </a:extLst>
          </p:cNvPr>
          <p:cNvSpPr>
            <a:spLocks noGrp="1"/>
          </p:cNvSpPr>
          <p:nvPr>
            <p:ph type="body" sz="quarter" idx="42" hasCustomPrompt="1"/>
          </p:nvPr>
        </p:nvSpPr>
        <p:spPr>
          <a:xfrm>
            <a:off x="12199068" y="4262826"/>
            <a:ext cx="8394243" cy="418576"/>
          </a:xfrm>
        </p:spPr>
        <p:txBody>
          <a:bodyPr wrap="square" anchor="b">
            <a:spAutoFit/>
          </a:bodyPr>
          <a:lstStyle>
            <a:lvl1pPr>
              <a:lnSpc>
                <a:spcPct val="80000"/>
              </a:lnSpc>
              <a:defRPr sz="3400" b="0" i="0">
                <a:latin typeface="Times New Roman" panose="02020603050405020304" pitchFamily="18" charset="0"/>
              </a:defRPr>
            </a:lvl1pPr>
          </a:lstStyle>
          <a:p>
            <a:pPr lvl="0"/>
            <a:r>
              <a:rPr lang="en-US"/>
              <a:t>Role / Job title</a:t>
            </a:r>
          </a:p>
        </p:txBody>
      </p:sp>
      <p:sp>
        <p:nvSpPr>
          <p:cNvPr id="15" name="Text Placeholder 8">
            <a:extLst>
              <a:ext uri="{FF2B5EF4-FFF2-40B4-BE49-F238E27FC236}">
                <a16:creationId xmlns:a16="http://schemas.microsoft.com/office/drawing/2014/main" id="{606188EB-7D23-4468-8719-CBF47BF723F0}"/>
              </a:ext>
            </a:extLst>
          </p:cNvPr>
          <p:cNvSpPr>
            <a:spLocks noGrp="1"/>
          </p:cNvSpPr>
          <p:nvPr>
            <p:ph type="body" sz="quarter" idx="43" hasCustomPrompt="1"/>
          </p:nvPr>
        </p:nvSpPr>
        <p:spPr>
          <a:xfrm>
            <a:off x="12199068" y="5076267"/>
            <a:ext cx="8394243" cy="689099"/>
          </a:xfrm>
        </p:spPr>
        <p:txBody>
          <a:bodyPr wrap="square">
            <a:noAutofit/>
          </a:bodyPr>
          <a:lstStyle>
            <a:lvl1pPr>
              <a:lnSpc>
                <a:spcPct val="130000"/>
              </a:lnSpc>
              <a:defRPr sz="1800" b="0" i="0">
                <a:latin typeface="Arial" panose="020B0604020202020204" pitchFamily="34" charset="0"/>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18" name="Text Placeholder 8">
            <a:extLst>
              <a:ext uri="{FF2B5EF4-FFF2-40B4-BE49-F238E27FC236}">
                <a16:creationId xmlns:a16="http://schemas.microsoft.com/office/drawing/2014/main" id="{4889FFBD-861C-4B4C-BCD0-E77AE0E726AB}"/>
              </a:ext>
            </a:extLst>
          </p:cNvPr>
          <p:cNvSpPr>
            <a:spLocks noGrp="1"/>
          </p:cNvSpPr>
          <p:nvPr>
            <p:ph type="body" sz="quarter" idx="46" hasCustomPrompt="1"/>
          </p:nvPr>
        </p:nvSpPr>
        <p:spPr>
          <a:xfrm>
            <a:off x="12199068" y="6218308"/>
            <a:ext cx="8394243" cy="418576"/>
          </a:xfrm>
        </p:spPr>
        <p:txBody>
          <a:bodyPr wrap="square" anchor="b">
            <a:spAutoFit/>
          </a:bodyPr>
          <a:lstStyle>
            <a:lvl1pPr>
              <a:lnSpc>
                <a:spcPct val="80000"/>
              </a:lnSpc>
              <a:defRPr sz="3400" b="0" i="0">
                <a:latin typeface="Times New Roman" panose="02020603050405020304" pitchFamily="18" charset="0"/>
              </a:defRPr>
            </a:lvl1pPr>
          </a:lstStyle>
          <a:p>
            <a:pPr lvl="0"/>
            <a:r>
              <a:rPr lang="en-US"/>
              <a:t>Role / Job title</a:t>
            </a:r>
          </a:p>
        </p:txBody>
      </p:sp>
      <p:sp>
        <p:nvSpPr>
          <p:cNvPr id="19" name="Text Placeholder 8">
            <a:extLst>
              <a:ext uri="{FF2B5EF4-FFF2-40B4-BE49-F238E27FC236}">
                <a16:creationId xmlns:a16="http://schemas.microsoft.com/office/drawing/2014/main" id="{23631720-AB84-488A-91B6-1D14C20AF429}"/>
              </a:ext>
            </a:extLst>
          </p:cNvPr>
          <p:cNvSpPr>
            <a:spLocks noGrp="1"/>
          </p:cNvSpPr>
          <p:nvPr>
            <p:ph type="body" sz="quarter" idx="47" hasCustomPrompt="1"/>
          </p:nvPr>
        </p:nvSpPr>
        <p:spPr>
          <a:xfrm>
            <a:off x="12199068" y="7006668"/>
            <a:ext cx="8394243" cy="689099"/>
          </a:xfrm>
        </p:spPr>
        <p:txBody>
          <a:bodyPr wrap="square">
            <a:noAutofit/>
          </a:bodyPr>
          <a:lstStyle>
            <a:lvl1pPr>
              <a:lnSpc>
                <a:spcPct val="130000"/>
              </a:lnSpc>
              <a:defRPr sz="1800" b="0" i="0">
                <a:latin typeface="Arial" panose="020B0604020202020204" pitchFamily="34" charset="0"/>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22" name="Text Placeholder 8">
            <a:extLst>
              <a:ext uri="{FF2B5EF4-FFF2-40B4-BE49-F238E27FC236}">
                <a16:creationId xmlns:a16="http://schemas.microsoft.com/office/drawing/2014/main" id="{23037773-5A5E-433C-93C0-C2661937816D}"/>
              </a:ext>
            </a:extLst>
          </p:cNvPr>
          <p:cNvSpPr>
            <a:spLocks noGrp="1"/>
          </p:cNvSpPr>
          <p:nvPr>
            <p:ph type="body" sz="quarter" idx="50" hasCustomPrompt="1"/>
          </p:nvPr>
        </p:nvSpPr>
        <p:spPr>
          <a:xfrm>
            <a:off x="12199068" y="8148709"/>
            <a:ext cx="8394243" cy="418576"/>
          </a:xfrm>
        </p:spPr>
        <p:txBody>
          <a:bodyPr wrap="square" anchor="b">
            <a:spAutoFit/>
          </a:bodyPr>
          <a:lstStyle>
            <a:lvl1pPr>
              <a:lnSpc>
                <a:spcPct val="80000"/>
              </a:lnSpc>
              <a:defRPr sz="3400" b="0" i="0">
                <a:latin typeface="Times New Roman" panose="02020603050405020304" pitchFamily="18" charset="0"/>
              </a:defRPr>
            </a:lvl1pPr>
          </a:lstStyle>
          <a:p>
            <a:pPr lvl="0"/>
            <a:r>
              <a:rPr lang="en-US"/>
              <a:t>Role / Job title</a:t>
            </a:r>
          </a:p>
        </p:txBody>
      </p:sp>
      <p:sp>
        <p:nvSpPr>
          <p:cNvPr id="23" name="Text Placeholder 8">
            <a:extLst>
              <a:ext uri="{FF2B5EF4-FFF2-40B4-BE49-F238E27FC236}">
                <a16:creationId xmlns:a16="http://schemas.microsoft.com/office/drawing/2014/main" id="{C48ACB51-BDAB-4A69-A2C7-D2AA7DF7B717}"/>
              </a:ext>
            </a:extLst>
          </p:cNvPr>
          <p:cNvSpPr>
            <a:spLocks noGrp="1"/>
          </p:cNvSpPr>
          <p:nvPr>
            <p:ph type="body" sz="quarter" idx="51" hasCustomPrompt="1"/>
          </p:nvPr>
        </p:nvSpPr>
        <p:spPr>
          <a:xfrm>
            <a:off x="12199068" y="8937067"/>
            <a:ext cx="8394243" cy="689099"/>
          </a:xfrm>
        </p:spPr>
        <p:txBody>
          <a:bodyPr wrap="square">
            <a:noAutofit/>
          </a:bodyPr>
          <a:lstStyle>
            <a:lvl1pPr>
              <a:lnSpc>
                <a:spcPct val="130000"/>
              </a:lnSpc>
              <a:defRPr sz="1800" b="0" i="0">
                <a:latin typeface="Arial" panose="020B0604020202020204" pitchFamily="34" charset="0"/>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26" name="Text Placeholder 8">
            <a:extLst>
              <a:ext uri="{FF2B5EF4-FFF2-40B4-BE49-F238E27FC236}">
                <a16:creationId xmlns:a16="http://schemas.microsoft.com/office/drawing/2014/main" id="{26F89069-3CD7-4E8F-A830-32EE9C48C9C5}"/>
              </a:ext>
            </a:extLst>
          </p:cNvPr>
          <p:cNvSpPr>
            <a:spLocks noGrp="1"/>
          </p:cNvSpPr>
          <p:nvPr>
            <p:ph type="body" sz="quarter" idx="54" hasCustomPrompt="1"/>
          </p:nvPr>
        </p:nvSpPr>
        <p:spPr>
          <a:xfrm>
            <a:off x="12199068" y="10085880"/>
            <a:ext cx="8394243" cy="418576"/>
          </a:xfrm>
        </p:spPr>
        <p:txBody>
          <a:bodyPr wrap="square" anchor="b">
            <a:spAutoFit/>
          </a:bodyPr>
          <a:lstStyle>
            <a:lvl1pPr>
              <a:lnSpc>
                <a:spcPct val="80000"/>
              </a:lnSpc>
              <a:defRPr sz="3400" b="0" i="0">
                <a:latin typeface="Times New Roman" panose="02020603050405020304" pitchFamily="18" charset="0"/>
              </a:defRPr>
            </a:lvl1pPr>
          </a:lstStyle>
          <a:p>
            <a:pPr lvl="0"/>
            <a:r>
              <a:rPr lang="en-US"/>
              <a:t>Role / Job title</a:t>
            </a:r>
          </a:p>
        </p:txBody>
      </p:sp>
      <p:sp>
        <p:nvSpPr>
          <p:cNvPr id="27" name="Text Placeholder 8">
            <a:extLst>
              <a:ext uri="{FF2B5EF4-FFF2-40B4-BE49-F238E27FC236}">
                <a16:creationId xmlns:a16="http://schemas.microsoft.com/office/drawing/2014/main" id="{F2864C22-F46E-4818-9859-0A78447FC946}"/>
              </a:ext>
            </a:extLst>
          </p:cNvPr>
          <p:cNvSpPr>
            <a:spLocks noGrp="1"/>
          </p:cNvSpPr>
          <p:nvPr>
            <p:ph type="body" sz="quarter" idx="55" hasCustomPrompt="1"/>
          </p:nvPr>
        </p:nvSpPr>
        <p:spPr>
          <a:xfrm>
            <a:off x="12199068" y="10874241"/>
            <a:ext cx="8394243" cy="689099"/>
          </a:xfrm>
        </p:spPr>
        <p:txBody>
          <a:bodyPr wrap="square">
            <a:noAutofit/>
          </a:bodyPr>
          <a:lstStyle>
            <a:lvl1pPr>
              <a:lnSpc>
                <a:spcPct val="130000"/>
              </a:lnSpc>
              <a:defRPr sz="1800" b="0" i="0">
                <a:latin typeface="Arial" panose="020B0604020202020204" pitchFamily="34" charset="0"/>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36" name="Text Placeholder 8">
            <a:extLst>
              <a:ext uri="{FF2B5EF4-FFF2-40B4-BE49-F238E27FC236}">
                <a16:creationId xmlns:a16="http://schemas.microsoft.com/office/drawing/2014/main" id="{E1812826-E901-42AA-B537-7E3B22652207}"/>
              </a:ext>
            </a:extLst>
          </p:cNvPr>
          <p:cNvSpPr>
            <a:spLocks noGrp="1"/>
          </p:cNvSpPr>
          <p:nvPr>
            <p:ph type="body" sz="quarter" idx="56" hasCustomPrompt="1"/>
          </p:nvPr>
        </p:nvSpPr>
        <p:spPr>
          <a:xfrm>
            <a:off x="1771633" y="6218308"/>
            <a:ext cx="8394243" cy="418576"/>
          </a:xfrm>
        </p:spPr>
        <p:txBody>
          <a:bodyPr wrap="square" anchor="b">
            <a:spAutoFit/>
          </a:bodyPr>
          <a:lstStyle>
            <a:lvl1pPr>
              <a:lnSpc>
                <a:spcPct val="80000"/>
              </a:lnSpc>
              <a:defRPr sz="3400" b="0" i="0">
                <a:latin typeface="Times New Roman" panose="02020603050405020304" pitchFamily="18" charset="0"/>
              </a:defRPr>
            </a:lvl1pPr>
          </a:lstStyle>
          <a:p>
            <a:pPr lvl="0"/>
            <a:r>
              <a:rPr lang="en-US"/>
              <a:t>Role / Job title</a:t>
            </a:r>
          </a:p>
        </p:txBody>
      </p:sp>
      <p:sp>
        <p:nvSpPr>
          <p:cNvPr id="37" name="Text Placeholder 8">
            <a:extLst>
              <a:ext uri="{FF2B5EF4-FFF2-40B4-BE49-F238E27FC236}">
                <a16:creationId xmlns:a16="http://schemas.microsoft.com/office/drawing/2014/main" id="{39977129-6334-47DC-A941-77B2152425CC}"/>
              </a:ext>
            </a:extLst>
          </p:cNvPr>
          <p:cNvSpPr>
            <a:spLocks noGrp="1"/>
          </p:cNvSpPr>
          <p:nvPr>
            <p:ph type="body" sz="quarter" idx="57" hasCustomPrompt="1"/>
          </p:nvPr>
        </p:nvSpPr>
        <p:spPr>
          <a:xfrm>
            <a:off x="1771633" y="7006668"/>
            <a:ext cx="8394243" cy="689099"/>
          </a:xfrm>
        </p:spPr>
        <p:txBody>
          <a:bodyPr wrap="square">
            <a:noAutofit/>
          </a:bodyPr>
          <a:lstStyle>
            <a:lvl1pPr>
              <a:lnSpc>
                <a:spcPct val="130000"/>
              </a:lnSpc>
              <a:defRPr sz="1800" b="0" i="0">
                <a:latin typeface="Arial" panose="020B0604020202020204" pitchFamily="34" charset="0"/>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38" name="Text Placeholder 8">
            <a:extLst>
              <a:ext uri="{FF2B5EF4-FFF2-40B4-BE49-F238E27FC236}">
                <a16:creationId xmlns:a16="http://schemas.microsoft.com/office/drawing/2014/main" id="{E22BB3D3-64E9-465E-9CE0-505FCD79F2DF}"/>
              </a:ext>
            </a:extLst>
          </p:cNvPr>
          <p:cNvSpPr>
            <a:spLocks noGrp="1"/>
          </p:cNvSpPr>
          <p:nvPr>
            <p:ph type="body" sz="quarter" idx="58" hasCustomPrompt="1"/>
          </p:nvPr>
        </p:nvSpPr>
        <p:spPr>
          <a:xfrm>
            <a:off x="1771633" y="8148709"/>
            <a:ext cx="8394243" cy="418576"/>
          </a:xfrm>
        </p:spPr>
        <p:txBody>
          <a:bodyPr wrap="square" anchor="b">
            <a:spAutoFit/>
          </a:bodyPr>
          <a:lstStyle>
            <a:lvl1pPr>
              <a:lnSpc>
                <a:spcPct val="80000"/>
              </a:lnSpc>
              <a:defRPr sz="3400" b="0" i="0">
                <a:latin typeface="Times New Roman" panose="02020603050405020304" pitchFamily="18" charset="0"/>
              </a:defRPr>
            </a:lvl1pPr>
          </a:lstStyle>
          <a:p>
            <a:pPr lvl="0"/>
            <a:r>
              <a:rPr lang="en-US"/>
              <a:t>Role / Job title</a:t>
            </a:r>
          </a:p>
        </p:txBody>
      </p:sp>
      <p:sp>
        <p:nvSpPr>
          <p:cNvPr id="39" name="Text Placeholder 8">
            <a:extLst>
              <a:ext uri="{FF2B5EF4-FFF2-40B4-BE49-F238E27FC236}">
                <a16:creationId xmlns:a16="http://schemas.microsoft.com/office/drawing/2014/main" id="{BD4593BD-15B0-4B97-ADD2-220C46BF00E1}"/>
              </a:ext>
            </a:extLst>
          </p:cNvPr>
          <p:cNvSpPr>
            <a:spLocks noGrp="1"/>
          </p:cNvSpPr>
          <p:nvPr>
            <p:ph type="body" sz="quarter" idx="59" hasCustomPrompt="1"/>
          </p:nvPr>
        </p:nvSpPr>
        <p:spPr>
          <a:xfrm>
            <a:off x="1771633" y="8937067"/>
            <a:ext cx="8394243" cy="689099"/>
          </a:xfrm>
        </p:spPr>
        <p:txBody>
          <a:bodyPr wrap="square">
            <a:noAutofit/>
          </a:bodyPr>
          <a:lstStyle>
            <a:lvl1pPr>
              <a:lnSpc>
                <a:spcPct val="130000"/>
              </a:lnSpc>
              <a:defRPr sz="1800" b="0" i="0">
                <a:latin typeface="Arial" panose="020B0604020202020204" pitchFamily="34" charset="0"/>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40" name="Text Placeholder 8">
            <a:extLst>
              <a:ext uri="{FF2B5EF4-FFF2-40B4-BE49-F238E27FC236}">
                <a16:creationId xmlns:a16="http://schemas.microsoft.com/office/drawing/2014/main" id="{BE854635-4544-4D6D-93CF-07792F81F230}"/>
              </a:ext>
            </a:extLst>
          </p:cNvPr>
          <p:cNvSpPr>
            <a:spLocks noGrp="1"/>
          </p:cNvSpPr>
          <p:nvPr>
            <p:ph type="body" sz="quarter" idx="60" hasCustomPrompt="1"/>
          </p:nvPr>
        </p:nvSpPr>
        <p:spPr>
          <a:xfrm>
            <a:off x="1771633" y="10085880"/>
            <a:ext cx="8394243" cy="418576"/>
          </a:xfrm>
        </p:spPr>
        <p:txBody>
          <a:bodyPr wrap="square" anchor="b">
            <a:spAutoFit/>
          </a:bodyPr>
          <a:lstStyle>
            <a:lvl1pPr>
              <a:lnSpc>
                <a:spcPct val="80000"/>
              </a:lnSpc>
              <a:defRPr sz="3400" b="0" i="0">
                <a:latin typeface="Times New Roman" panose="02020603050405020304" pitchFamily="18" charset="0"/>
              </a:defRPr>
            </a:lvl1pPr>
          </a:lstStyle>
          <a:p>
            <a:pPr lvl="0"/>
            <a:r>
              <a:rPr lang="en-US"/>
              <a:t>Role / Job title</a:t>
            </a:r>
          </a:p>
        </p:txBody>
      </p:sp>
      <p:sp>
        <p:nvSpPr>
          <p:cNvPr id="41" name="Text Placeholder 8">
            <a:extLst>
              <a:ext uri="{FF2B5EF4-FFF2-40B4-BE49-F238E27FC236}">
                <a16:creationId xmlns:a16="http://schemas.microsoft.com/office/drawing/2014/main" id="{E2EE0020-8C6F-4679-A230-745122C0258E}"/>
              </a:ext>
            </a:extLst>
          </p:cNvPr>
          <p:cNvSpPr>
            <a:spLocks noGrp="1"/>
          </p:cNvSpPr>
          <p:nvPr>
            <p:ph type="body" sz="quarter" idx="61" hasCustomPrompt="1"/>
          </p:nvPr>
        </p:nvSpPr>
        <p:spPr>
          <a:xfrm>
            <a:off x="1771633" y="10874241"/>
            <a:ext cx="8394243" cy="689099"/>
          </a:xfrm>
        </p:spPr>
        <p:txBody>
          <a:bodyPr wrap="square">
            <a:noAutofit/>
          </a:bodyPr>
          <a:lstStyle>
            <a:lvl1pPr>
              <a:lnSpc>
                <a:spcPct val="130000"/>
              </a:lnSpc>
              <a:defRPr sz="1800" b="0" i="0">
                <a:latin typeface="Arial" panose="020B0604020202020204" pitchFamily="34" charset="0"/>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2977227338"/>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3 w. Client (I)">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30A85413-9E50-4CD6-A445-2131F89689EA}"/>
              </a:ext>
            </a:extLst>
          </p:cNvPr>
          <p:cNvSpPr>
            <a:spLocks noGrp="1"/>
          </p:cNvSpPr>
          <p:nvPr>
            <p:ph type="pic" idx="21"/>
          </p:nvPr>
        </p:nvSpPr>
        <p:spPr>
          <a:xfrm>
            <a:off x="0" y="0"/>
            <a:ext cx="24384000" cy="13716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3" name="Title 2">
            <a:extLst>
              <a:ext uri="{FF2B5EF4-FFF2-40B4-BE49-F238E27FC236}">
                <a16:creationId xmlns:a16="http://schemas.microsoft.com/office/drawing/2014/main" id="{D711D339-DF29-4C4C-B884-554421BACEBD}"/>
              </a:ext>
            </a:extLst>
          </p:cNvPr>
          <p:cNvSpPr>
            <a:spLocks noGrp="1"/>
          </p:cNvSpPr>
          <p:nvPr>
            <p:ph type="title" hasCustomPrompt="1"/>
          </p:nvPr>
        </p:nvSpPr>
        <p:spPr>
          <a:xfrm>
            <a:off x="0" y="5666741"/>
            <a:ext cx="24384000" cy="2117503"/>
          </a:xfrm>
        </p:spPr>
        <p:txBody>
          <a:bodyPr anchor="t">
            <a:noAutofit/>
          </a:bodyPr>
          <a:lstStyle>
            <a:lvl1pPr algn="ctr">
              <a:lnSpc>
                <a:spcPct val="80000"/>
              </a:lnSpc>
              <a:defRPr sz="12200">
                <a:solidFill>
                  <a:schemeClr val="bg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b="0" i="0" cap="all" baseline="0">
                <a:solidFill>
                  <a:schemeClr val="bg1"/>
                </a:solidFill>
                <a:latin typeface="Arial" panose="020B0604020202020204" pitchFamily="34" charset="0"/>
                <a:cs typeface="Arial" panose="020B0604020202020204" pitchFamily="34" charset="0"/>
              </a:defRPr>
            </a:lvl1pPr>
          </a:lstStyle>
          <a:p>
            <a:endParaRPr lang="de-DE"/>
          </a:p>
        </p:txBody>
      </p:sp>
      <p:sp>
        <p:nvSpPr>
          <p:cNvPr id="20" name="Image">
            <a:extLst>
              <a:ext uri="{FF2B5EF4-FFF2-40B4-BE49-F238E27FC236}">
                <a16:creationId xmlns:a16="http://schemas.microsoft.com/office/drawing/2014/main" id="{BDC8D7A8-B5D4-419B-959A-0ACDDCED5330}"/>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b="0" i="0">
                <a:solidFill>
                  <a:schemeClr val="bg1"/>
                </a:solidFill>
              </a:defRPr>
            </a:lvl1pPr>
          </a:lstStyle>
          <a:p>
            <a:r>
              <a:rPr lang="de-DE"/>
              <a:t> </a:t>
            </a:r>
            <a:endParaRPr/>
          </a:p>
        </p:txBody>
      </p:sp>
      <p:sp>
        <p:nvSpPr>
          <p:cNvPr id="19" name="Image">
            <a:extLst>
              <a:ext uri="{FF2B5EF4-FFF2-40B4-BE49-F238E27FC236}">
                <a16:creationId xmlns:a16="http://schemas.microsoft.com/office/drawing/2014/main" id="{7E818D71-6647-4183-B39E-B596A184731F}"/>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b="0" i="0">
                <a:solidFill>
                  <a:schemeClr val="bg1"/>
                </a:solidFill>
              </a:defRPr>
            </a:lvl1pPr>
          </a:lstStyle>
          <a:p>
            <a:r>
              <a:rPr lang="de-DE"/>
              <a:t>Add Logo</a:t>
            </a:r>
            <a:endParaRPr/>
          </a:p>
        </p:txBody>
      </p:sp>
    </p:spTree>
    <p:extLst>
      <p:ext uri="{BB962C8B-B14F-4D97-AF65-F5344CB8AC3E}">
        <p14:creationId xmlns:p14="http://schemas.microsoft.com/office/powerpoint/2010/main" val="1037757748"/>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 quote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212079"/>
            <a:ext cx="15794554" cy="3522981"/>
          </a:xfrm>
        </p:spPr>
        <p:txBody>
          <a:bodyPr wrap="square" anchor="ctr">
            <a:noAutofit/>
          </a:bodyPr>
          <a:lstStyle>
            <a:lvl1pPr>
              <a:defRPr sz="12200" i="1">
                <a:solidFill>
                  <a:schemeClr val="tx1"/>
                </a:solidFill>
              </a:defRPr>
            </a:lvl1pPr>
          </a:lstStyle>
          <a:p>
            <a:r>
              <a:rPr lang="fr-FR" err="1"/>
              <a:t>Quote</a:t>
            </a:r>
            <a:r>
              <a:rPr lang="fr-FR"/>
              <a:t> </a:t>
            </a:r>
            <a:r>
              <a:rPr lang="fr-FR" err="1"/>
              <a:t>lorem</a:t>
            </a:r>
            <a:r>
              <a:rPr lang="fr-FR"/>
              <a:t> ipsum </a:t>
            </a:r>
            <a:r>
              <a:rPr lang="fr-FR" err="1"/>
              <a:t>sit</a:t>
            </a:r>
            <a:r>
              <a:rPr lang="fr-FR"/>
              <a:t>, </a:t>
            </a:r>
            <a:r>
              <a:rPr lang="fr-FR" err="1"/>
              <a:t>consectetur</a:t>
            </a:r>
            <a:r>
              <a:rPr lang="fr-FR"/>
              <a:t> </a:t>
            </a:r>
            <a:r>
              <a:rPr lang="fr-FR" err="1"/>
              <a:t>lorem</a:t>
            </a:r>
            <a:r>
              <a:rPr lang="fr-FR"/>
              <a:t>. </a:t>
            </a:r>
          </a:p>
        </p:txBody>
      </p:sp>
      <p:sp>
        <p:nvSpPr>
          <p:cNvPr id="3" name="Date Placeholder 2">
            <a:extLst>
              <a:ext uri="{FF2B5EF4-FFF2-40B4-BE49-F238E27FC236}">
                <a16:creationId xmlns:a16="http://schemas.microsoft.com/office/drawing/2014/main" id="{D9DAF299-7F22-426B-92F5-3D5EC90EEF3F}"/>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1771633" y="9674425"/>
            <a:ext cx="6500775" cy="329001"/>
          </a:xfrm>
        </p:spPr>
        <p:txBody>
          <a:bodyPr wrap="square">
            <a:spAutoFit/>
          </a:bodyPr>
          <a:lstStyle>
            <a:lvl1pPr>
              <a:lnSpc>
                <a:spcPct val="130000"/>
              </a:lnSpc>
              <a:defRPr sz="1800" b="0" i="0" cap="all" spc="200" baseline="0">
                <a:latin typeface="Arial" panose="020B0604020202020204" pitchFamily="34" charset="0"/>
              </a:defRPr>
            </a:lvl1pPr>
          </a:lstStyle>
          <a:p>
            <a:pPr lvl="0"/>
            <a:r>
              <a:rPr lang="en-US"/>
              <a:t>Name Surname</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1763673" y="4256406"/>
            <a:ext cx="503728"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r>
              <a:rPr lang="de-DE" sz="12000" b="0" i="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819192276"/>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 quote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212079"/>
            <a:ext cx="15794554" cy="3522981"/>
          </a:xfrm>
        </p:spPr>
        <p:txBody>
          <a:bodyPr wrap="square" anchor="ctr">
            <a:noAutofit/>
          </a:bodyPr>
          <a:lstStyle>
            <a:lvl1pPr>
              <a:defRPr sz="12200" i="1">
                <a:solidFill>
                  <a:schemeClr val="bg1"/>
                </a:solidFill>
              </a:defRPr>
            </a:lvl1pPr>
          </a:lstStyle>
          <a:p>
            <a:r>
              <a:rPr lang="fr-FR" err="1"/>
              <a:t>Quote</a:t>
            </a:r>
            <a:r>
              <a:rPr lang="fr-FR"/>
              <a:t> </a:t>
            </a:r>
            <a:r>
              <a:rPr lang="fr-FR" err="1"/>
              <a:t>lorem</a:t>
            </a:r>
            <a:r>
              <a:rPr lang="fr-FR"/>
              <a:t> ipsum </a:t>
            </a:r>
            <a:r>
              <a:rPr lang="fr-FR" err="1"/>
              <a:t>sit</a:t>
            </a:r>
            <a:r>
              <a:rPr lang="fr-FR"/>
              <a:t>, </a:t>
            </a:r>
            <a:r>
              <a:rPr lang="fr-FR" err="1"/>
              <a:t>consectetur</a:t>
            </a:r>
            <a:r>
              <a:rPr lang="fr-FR"/>
              <a:t> </a:t>
            </a:r>
            <a:r>
              <a:rPr lang="fr-FR" err="1"/>
              <a:t>lorem</a:t>
            </a:r>
            <a:r>
              <a:rPr lang="fr-FR"/>
              <a:t>. </a:t>
            </a:r>
          </a:p>
        </p:txBody>
      </p:sp>
      <p:sp>
        <p:nvSpPr>
          <p:cNvPr id="3" name="Date Placeholder 2">
            <a:extLst>
              <a:ext uri="{FF2B5EF4-FFF2-40B4-BE49-F238E27FC236}">
                <a16:creationId xmlns:a16="http://schemas.microsoft.com/office/drawing/2014/main" id="{D9DAF299-7F22-426B-92F5-3D5EC90EEF3F}"/>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1771633" y="9674425"/>
            <a:ext cx="6500775" cy="329001"/>
          </a:xfrm>
        </p:spPr>
        <p:txBody>
          <a:bodyPr wrap="square">
            <a:spAutoFit/>
          </a:bodyPr>
          <a:lstStyle>
            <a:lvl1pPr>
              <a:lnSpc>
                <a:spcPct val="130000"/>
              </a:lnSpc>
              <a:defRPr sz="1800" b="0" i="0" cap="all" spc="200" baseline="0">
                <a:solidFill>
                  <a:schemeClr val="bg1"/>
                </a:solidFill>
                <a:latin typeface="Arial" panose="020B0604020202020204" pitchFamily="34" charset="0"/>
              </a:defRPr>
            </a:lvl1pPr>
          </a:lstStyle>
          <a:p>
            <a:pPr lvl="0"/>
            <a:r>
              <a:rPr lang="en-US"/>
              <a:t>Name Surname</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1763673" y="4256406"/>
            <a:ext cx="503728"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r>
              <a:rPr lang="de-DE" sz="12000" b="0" i="0">
                <a:solidFill>
                  <a:schemeClr val="bg1"/>
                </a:solidFill>
                <a:latin typeface="Arial" panose="020B0604020202020204" pitchFamily="34" charset="0"/>
                <a:cs typeface="Arial" panose="020B0604020202020204" pitchFamily="34" charset="0"/>
              </a:rPr>
              <a:t>“</a:t>
            </a:r>
          </a:p>
        </p:txBody>
      </p:sp>
      <p:grpSp>
        <p:nvGrpSpPr>
          <p:cNvPr id="10" name="Group">
            <a:extLst>
              <a:ext uri="{FF2B5EF4-FFF2-40B4-BE49-F238E27FC236}">
                <a16:creationId xmlns:a16="http://schemas.microsoft.com/office/drawing/2014/main" id="{8B83C7C2-DE9A-4DD6-9F5E-3651A3907A72}"/>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DD633541-1EAA-48B1-B3DD-8E9C5CD8B0E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A05DEA18-59BC-48D7-8DDD-6B72CE44216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41338757"/>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 quote v.2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4294722" y="5212079"/>
            <a:ext cx="15794555" cy="3522981"/>
          </a:xfrm>
        </p:spPr>
        <p:txBody>
          <a:bodyPr wrap="square" anchor="ctr">
            <a:noAutofit/>
          </a:bodyPr>
          <a:lstStyle>
            <a:lvl1pPr algn="ctr">
              <a:defRPr sz="12200" i="1">
                <a:solidFill>
                  <a:schemeClr val="tx1"/>
                </a:solidFill>
              </a:defRPr>
            </a:lvl1pPr>
          </a:lstStyle>
          <a:p>
            <a:r>
              <a:rPr lang="fr-FR" err="1"/>
              <a:t>Quote</a:t>
            </a:r>
            <a:r>
              <a:rPr lang="fr-FR"/>
              <a:t> </a:t>
            </a:r>
            <a:r>
              <a:rPr lang="fr-FR" err="1"/>
              <a:t>lorem</a:t>
            </a:r>
            <a:r>
              <a:rPr lang="fr-FR"/>
              <a:t> ipsum </a:t>
            </a:r>
            <a:r>
              <a:rPr lang="fr-FR" err="1"/>
              <a:t>sit</a:t>
            </a:r>
            <a:r>
              <a:rPr lang="fr-FR"/>
              <a:t>, </a:t>
            </a:r>
            <a:r>
              <a:rPr lang="fr-FR" err="1"/>
              <a:t>consectetur</a:t>
            </a:r>
            <a:r>
              <a:rPr lang="fr-FR"/>
              <a:t> </a:t>
            </a:r>
            <a:r>
              <a:rPr lang="fr-FR" err="1"/>
              <a:t>lorem</a:t>
            </a:r>
            <a:r>
              <a:rPr lang="fr-FR"/>
              <a:t>. </a:t>
            </a:r>
          </a:p>
        </p:txBody>
      </p:sp>
      <p:sp>
        <p:nvSpPr>
          <p:cNvPr id="3" name="Date Placeholder 2">
            <a:extLst>
              <a:ext uri="{FF2B5EF4-FFF2-40B4-BE49-F238E27FC236}">
                <a16:creationId xmlns:a16="http://schemas.microsoft.com/office/drawing/2014/main" id="{D9DAF299-7F22-426B-92F5-3D5EC90EEF3F}"/>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11940134" y="4256406"/>
            <a:ext cx="503728"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0" i="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340668255"/>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 quote v.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4294722" y="5212079"/>
            <a:ext cx="15794555" cy="3522981"/>
          </a:xfrm>
        </p:spPr>
        <p:txBody>
          <a:bodyPr wrap="square" anchor="ctr">
            <a:noAutofit/>
          </a:bodyPr>
          <a:lstStyle>
            <a:lvl1pPr algn="ctr">
              <a:defRPr sz="12200" i="1">
                <a:solidFill>
                  <a:schemeClr val="bg1"/>
                </a:solidFill>
              </a:defRPr>
            </a:lvl1pPr>
          </a:lstStyle>
          <a:p>
            <a:r>
              <a:rPr lang="fr-FR" err="1"/>
              <a:t>Quote</a:t>
            </a:r>
            <a:r>
              <a:rPr lang="fr-FR"/>
              <a:t> </a:t>
            </a:r>
            <a:r>
              <a:rPr lang="fr-FR" err="1"/>
              <a:t>lorem</a:t>
            </a:r>
            <a:r>
              <a:rPr lang="fr-FR"/>
              <a:t> ipsum </a:t>
            </a:r>
            <a:r>
              <a:rPr lang="fr-FR" err="1"/>
              <a:t>sit</a:t>
            </a:r>
            <a:r>
              <a:rPr lang="fr-FR"/>
              <a:t>, </a:t>
            </a:r>
            <a:r>
              <a:rPr lang="fr-FR" err="1"/>
              <a:t>consectetur</a:t>
            </a:r>
            <a:r>
              <a:rPr lang="fr-FR"/>
              <a:t> </a:t>
            </a:r>
            <a:r>
              <a:rPr lang="fr-FR" err="1"/>
              <a:t>lorem</a:t>
            </a:r>
            <a:r>
              <a:rPr lang="fr-FR"/>
              <a:t>. </a:t>
            </a:r>
          </a:p>
        </p:txBody>
      </p:sp>
      <p:sp>
        <p:nvSpPr>
          <p:cNvPr id="3" name="Date Placeholder 2">
            <a:extLst>
              <a:ext uri="{FF2B5EF4-FFF2-40B4-BE49-F238E27FC236}">
                <a16:creationId xmlns:a16="http://schemas.microsoft.com/office/drawing/2014/main" id="{D9DAF299-7F22-426B-92F5-3D5EC90EEF3F}"/>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11940134" y="4256406"/>
            <a:ext cx="503728"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0" i="0">
                <a:solidFill>
                  <a:schemeClr val="bg1"/>
                </a:solidFill>
                <a:latin typeface="Arial" panose="020B0604020202020204" pitchFamily="34" charset="0"/>
                <a:cs typeface="Arial" panose="020B0604020202020204" pitchFamily="34" charset="0"/>
              </a:rPr>
              <a:t>“</a:t>
            </a:r>
          </a:p>
        </p:txBody>
      </p:sp>
      <p:grpSp>
        <p:nvGrpSpPr>
          <p:cNvPr id="10" name="Group">
            <a:extLst>
              <a:ext uri="{FF2B5EF4-FFF2-40B4-BE49-F238E27FC236}">
                <a16:creationId xmlns:a16="http://schemas.microsoft.com/office/drawing/2014/main" id="{4A29604A-8125-421F-B651-21DB86084D3A}"/>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9FDD325-D63B-4C40-AD3D-A7A2E7D2828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98E6E7EA-6BA0-4D26-AFB9-1B2B76DD2F1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650528855"/>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 quote v.3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5118615" y="5212079"/>
            <a:ext cx="14146766" cy="3522981"/>
          </a:xfrm>
        </p:spPr>
        <p:txBody>
          <a:bodyPr wrap="square" anchor="ctr">
            <a:noAutofit/>
          </a:bodyPr>
          <a:lstStyle>
            <a:lvl1pPr algn="ctr">
              <a:defRPr sz="9200" i="1">
                <a:solidFill>
                  <a:schemeClr val="tx1"/>
                </a:solidFill>
              </a:defRPr>
            </a:lvl1pPr>
          </a:lstStyle>
          <a:p>
            <a:r>
              <a:rPr lang="fr-FR" err="1"/>
              <a:t>Quote</a:t>
            </a:r>
            <a:r>
              <a:rPr lang="fr-FR"/>
              <a:t> </a:t>
            </a:r>
            <a:r>
              <a:rPr lang="fr-FR" err="1"/>
              <a:t>lorem</a:t>
            </a:r>
            <a:r>
              <a:rPr lang="fr-FR"/>
              <a:t> ipsum </a:t>
            </a:r>
            <a:r>
              <a:rPr lang="fr-FR" err="1"/>
              <a:t>dolor</a:t>
            </a:r>
            <a:r>
              <a:rPr lang="fr-FR"/>
              <a:t> </a:t>
            </a:r>
            <a:br>
              <a:rPr lang="fr-FR"/>
            </a:br>
            <a:r>
              <a:rPr lang="fr-FR" err="1"/>
              <a:t>sit</a:t>
            </a:r>
            <a:r>
              <a:rPr lang="fr-FR"/>
              <a:t> </a:t>
            </a:r>
            <a:r>
              <a:rPr lang="fr-FR" err="1"/>
              <a:t>amet</a:t>
            </a:r>
            <a:r>
              <a:rPr lang="fr-FR"/>
              <a:t>, </a:t>
            </a:r>
            <a:r>
              <a:rPr lang="fr-FR" err="1"/>
              <a:t>consectetur</a:t>
            </a:r>
            <a:r>
              <a:rPr lang="fr-FR"/>
              <a:t> </a:t>
            </a:r>
            <a:r>
              <a:rPr lang="fr-FR" err="1"/>
              <a:t>adipiscing</a:t>
            </a:r>
            <a:r>
              <a:rPr lang="fr-FR"/>
              <a:t> </a:t>
            </a:r>
            <a:r>
              <a:rPr lang="fr-FR" err="1"/>
              <a:t>lorem</a:t>
            </a:r>
            <a:r>
              <a:rPr lang="fr-FR"/>
              <a:t> ipsum </a:t>
            </a:r>
            <a:r>
              <a:rPr lang="fr-FR" err="1"/>
              <a:t>dolor</a:t>
            </a:r>
            <a:r>
              <a:rPr lang="fr-FR"/>
              <a:t> </a:t>
            </a:r>
            <a:r>
              <a:rPr lang="fr-FR" err="1"/>
              <a:t>elit</a:t>
            </a:r>
            <a:r>
              <a:rPr lang="fr-FR"/>
              <a:t>. </a:t>
            </a:r>
          </a:p>
        </p:txBody>
      </p:sp>
      <p:sp>
        <p:nvSpPr>
          <p:cNvPr id="3" name="Date Placeholder 2">
            <a:extLst>
              <a:ext uri="{FF2B5EF4-FFF2-40B4-BE49-F238E27FC236}">
                <a16:creationId xmlns:a16="http://schemas.microsoft.com/office/drawing/2014/main" id="{D9DAF299-7F22-426B-92F5-3D5EC90EEF3F}"/>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8941612" y="9674425"/>
            <a:ext cx="6500775" cy="329001"/>
          </a:xfrm>
        </p:spPr>
        <p:txBody>
          <a:bodyPr wrap="square">
            <a:spAutoFit/>
          </a:bodyPr>
          <a:lstStyle>
            <a:lvl1pPr algn="ctr">
              <a:lnSpc>
                <a:spcPct val="130000"/>
              </a:lnSpc>
              <a:defRPr sz="1800" b="0" i="0" cap="all" spc="200" baseline="0">
                <a:latin typeface="Arial" panose="020B0604020202020204" pitchFamily="34" charset="0"/>
              </a:defRPr>
            </a:lvl1pPr>
          </a:lstStyle>
          <a:p>
            <a:pPr lvl="0"/>
            <a:r>
              <a:rPr lang="en-US"/>
              <a:t>Name Surname</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11940134" y="4256406"/>
            <a:ext cx="503728"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0" i="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372329656"/>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 quote v.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5118615" y="5212079"/>
            <a:ext cx="14146766" cy="3522981"/>
          </a:xfrm>
        </p:spPr>
        <p:txBody>
          <a:bodyPr wrap="square" anchor="ctr">
            <a:noAutofit/>
          </a:bodyPr>
          <a:lstStyle>
            <a:lvl1pPr algn="ctr">
              <a:defRPr sz="9200" i="1">
                <a:solidFill>
                  <a:schemeClr val="bg1"/>
                </a:solidFill>
              </a:defRPr>
            </a:lvl1pPr>
          </a:lstStyle>
          <a:p>
            <a:r>
              <a:rPr lang="fr-FR" err="1"/>
              <a:t>Quote</a:t>
            </a:r>
            <a:r>
              <a:rPr lang="fr-FR"/>
              <a:t> </a:t>
            </a:r>
            <a:r>
              <a:rPr lang="fr-FR" err="1"/>
              <a:t>lorem</a:t>
            </a:r>
            <a:r>
              <a:rPr lang="fr-FR"/>
              <a:t> ipsum </a:t>
            </a:r>
            <a:r>
              <a:rPr lang="fr-FR" err="1"/>
              <a:t>dolor</a:t>
            </a:r>
            <a:r>
              <a:rPr lang="fr-FR"/>
              <a:t> </a:t>
            </a:r>
            <a:br>
              <a:rPr lang="fr-FR"/>
            </a:br>
            <a:r>
              <a:rPr lang="fr-FR" err="1"/>
              <a:t>sit</a:t>
            </a:r>
            <a:r>
              <a:rPr lang="fr-FR"/>
              <a:t> </a:t>
            </a:r>
            <a:r>
              <a:rPr lang="fr-FR" err="1"/>
              <a:t>amet</a:t>
            </a:r>
            <a:r>
              <a:rPr lang="fr-FR"/>
              <a:t>, </a:t>
            </a:r>
            <a:r>
              <a:rPr lang="fr-FR" err="1"/>
              <a:t>consectetur</a:t>
            </a:r>
            <a:r>
              <a:rPr lang="fr-FR"/>
              <a:t> </a:t>
            </a:r>
            <a:r>
              <a:rPr lang="fr-FR" err="1"/>
              <a:t>adipiscing</a:t>
            </a:r>
            <a:r>
              <a:rPr lang="fr-FR"/>
              <a:t> </a:t>
            </a:r>
            <a:r>
              <a:rPr lang="fr-FR" err="1"/>
              <a:t>lorem</a:t>
            </a:r>
            <a:r>
              <a:rPr lang="fr-FR"/>
              <a:t> ipsum </a:t>
            </a:r>
            <a:r>
              <a:rPr lang="fr-FR" err="1"/>
              <a:t>dolor</a:t>
            </a:r>
            <a:r>
              <a:rPr lang="fr-FR"/>
              <a:t> </a:t>
            </a:r>
            <a:r>
              <a:rPr lang="fr-FR" err="1"/>
              <a:t>elit</a:t>
            </a:r>
            <a:r>
              <a:rPr lang="fr-FR"/>
              <a:t>. </a:t>
            </a:r>
          </a:p>
        </p:txBody>
      </p:sp>
      <p:sp>
        <p:nvSpPr>
          <p:cNvPr id="3" name="Date Placeholder 2">
            <a:extLst>
              <a:ext uri="{FF2B5EF4-FFF2-40B4-BE49-F238E27FC236}">
                <a16:creationId xmlns:a16="http://schemas.microsoft.com/office/drawing/2014/main" id="{D9DAF299-7F22-426B-92F5-3D5EC90EEF3F}"/>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8941612" y="9674425"/>
            <a:ext cx="6500775" cy="329001"/>
          </a:xfrm>
        </p:spPr>
        <p:txBody>
          <a:bodyPr wrap="square">
            <a:spAutoFit/>
          </a:bodyPr>
          <a:lstStyle>
            <a:lvl1pPr algn="ctr">
              <a:lnSpc>
                <a:spcPct val="130000"/>
              </a:lnSpc>
              <a:defRPr sz="1800" b="0" i="0" cap="all" spc="200" baseline="0">
                <a:solidFill>
                  <a:schemeClr val="bg1"/>
                </a:solidFill>
                <a:latin typeface="Arial" panose="020B0604020202020204" pitchFamily="34" charset="0"/>
              </a:defRPr>
            </a:lvl1pPr>
          </a:lstStyle>
          <a:p>
            <a:pPr lvl="0"/>
            <a:r>
              <a:rPr lang="en-US"/>
              <a:t>Name Surname</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11940134" y="4256406"/>
            <a:ext cx="503728"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0" i="0">
                <a:solidFill>
                  <a:schemeClr val="bg1"/>
                </a:solidFill>
                <a:latin typeface="Arial" panose="020B0604020202020204" pitchFamily="34" charset="0"/>
                <a:cs typeface="Arial" panose="020B0604020202020204" pitchFamily="34" charset="0"/>
              </a:rPr>
              <a:t>“</a:t>
            </a:r>
          </a:p>
        </p:txBody>
      </p:sp>
      <p:grpSp>
        <p:nvGrpSpPr>
          <p:cNvPr id="10" name="Group">
            <a:extLst>
              <a:ext uri="{FF2B5EF4-FFF2-40B4-BE49-F238E27FC236}">
                <a16:creationId xmlns:a16="http://schemas.microsoft.com/office/drawing/2014/main" id="{0114C7CE-AA35-4062-A4E7-AF875E03E161}"/>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070326D9-50DB-4A02-8759-0518690F2DB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B4F1131C-4096-436E-B560-3665DEB8479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880580145"/>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 quotes (W)">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202411" y="2192950"/>
            <a:ext cx="4832722" cy="4135135"/>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9887249" y="2192950"/>
            <a:ext cx="4832722" cy="4135135"/>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6348869" y="2192950"/>
            <a:ext cx="4832722" cy="4135135"/>
          </a:xfrm>
          <a:prstGeom prst="rect">
            <a:avLst/>
          </a:prstGeom>
          <a:solidFill>
            <a:schemeClr val="accent6"/>
          </a:solidFill>
        </p:spPr>
        <p:txBody>
          <a:bodyPr lIns="91439" tIns="45719" rIns="91439" bIns="45719">
            <a:noAutofit/>
          </a:bodyPr>
          <a:lstStyle>
            <a:lvl1pPr algn="ctr">
              <a:defRPr b="0" i="0"/>
            </a:lvl1pPr>
          </a:lstStyle>
          <a:p>
            <a:endParaRP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8508751" y="6858000"/>
            <a:ext cx="512961" cy="1532664"/>
          </a:xfrm>
        </p:spPr>
        <p:txBody>
          <a:bodyPr wrap="none" anchor="t">
            <a:spAutoFit/>
          </a:bodyPr>
          <a:lstStyle>
            <a:lvl1pPr algn="ctr">
              <a:lnSpc>
                <a:spcPct val="80000"/>
              </a:lnSpc>
              <a:defRPr sz="12000" b="0" i="0">
                <a:latin typeface="Arial" panose="020B0604020202020204" pitchFamily="34" charset="0"/>
              </a:defRPr>
            </a:lvl1pPr>
          </a:lstStyle>
          <a:p>
            <a:r>
              <a:rPr lang="de-DE"/>
              <a:t>“</a:t>
            </a:r>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3215584" y="11381414"/>
            <a:ext cx="4806375" cy="365549"/>
          </a:xfrm>
        </p:spPr>
        <p:txBody>
          <a:bodyPr wrap="square">
            <a:spAutoFit/>
          </a:bodyPr>
          <a:lstStyle>
            <a:lvl1pPr algn="ctr">
              <a:lnSpc>
                <a:spcPct val="130000"/>
              </a:lnSpc>
              <a:defRPr sz="2000" b="0" i="0" cap="all" spc="200" baseline="0">
                <a:latin typeface="Arial" panose="020B0604020202020204" pitchFamily="34" charset="0"/>
              </a:defRPr>
            </a:lvl1pPr>
          </a:lstStyle>
          <a:p>
            <a:r>
              <a:rPr lang="de-DE"/>
              <a:t>NAME SURNAME</a:t>
            </a:r>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9900424" y="11381414"/>
            <a:ext cx="4806375" cy="365549"/>
          </a:xfrm>
        </p:spPr>
        <p:txBody>
          <a:bodyPr wrap="square">
            <a:spAutoFit/>
          </a:bodyPr>
          <a:lstStyle>
            <a:lvl1pPr algn="ctr">
              <a:lnSpc>
                <a:spcPct val="130000"/>
              </a:lnSpc>
              <a:defRPr sz="2000" b="0" i="0" cap="all" spc="200" baseline="0">
                <a:latin typeface="Arial" panose="020B0604020202020204" pitchFamily="34" charset="0"/>
              </a:defRPr>
            </a:lvl1pPr>
          </a:lstStyle>
          <a:p>
            <a:r>
              <a:rPr lang="de-DE"/>
              <a:t>NAME SURNAME</a:t>
            </a:r>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6362043" y="11381414"/>
            <a:ext cx="4806375" cy="365549"/>
          </a:xfrm>
        </p:spPr>
        <p:txBody>
          <a:bodyPr wrap="square">
            <a:spAutoFit/>
          </a:bodyPr>
          <a:lstStyle>
            <a:lvl1pPr algn="ctr">
              <a:lnSpc>
                <a:spcPct val="130000"/>
              </a:lnSpc>
              <a:defRPr sz="2000" b="0" i="0" cap="all" spc="200" baseline="0">
                <a:latin typeface="Arial" panose="020B0604020202020204" pitchFamily="34" charset="0"/>
              </a:defRPr>
            </a:lvl1pPr>
          </a:lstStyle>
          <a:p>
            <a:r>
              <a:rPr lang="de-DE"/>
              <a:t>NAME SURNAME</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6190683" y="8039717"/>
            <a:ext cx="5149097" cy="2835969"/>
          </a:xfrm>
        </p:spPr>
        <p:txBody>
          <a:bodyPr wrap="square">
            <a:spAutoFit/>
          </a:bodyPr>
          <a:lstStyle>
            <a:lvl1pPr algn="ctr">
              <a:lnSpc>
                <a:spcPct val="110000"/>
              </a:lnSpc>
              <a:defRPr sz="3400" b="0" i="0">
                <a:latin typeface="Times New Roman" panose="02020603050405020304" pitchFamily="18" charset="0"/>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50" name="Text Placeholder 8">
            <a:extLst>
              <a:ext uri="{FF2B5EF4-FFF2-40B4-BE49-F238E27FC236}">
                <a16:creationId xmlns:a16="http://schemas.microsoft.com/office/drawing/2014/main" id="{51791BDC-42A4-42CB-9583-CBE6DCE28B72}"/>
              </a:ext>
            </a:extLst>
          </p:cNvPr>
          <p:cNvSpPr>
            <a:spLocks noGrp="1"/>
          </p:cNvSpPr>
          <p:nvPr>
            <p:ph type="body" sz="quarter" idx="54" hasCustomPrompt="1"/>
          </p:nvPr>
        </p:nvSpPr>
        <p:spPr>
          <a:xfrm>
            <a:off x="12047129" y="6858000"/>
            <a:ext cx="512961" cy="1532664"/>
          </a:xfrm>
        </p:spPr>
        <p:txBody>
          <a:bodyPr wrap="none" anchor="t">
            <a:spAutoFit/>
          </a:bodyPr>
          <a:lstStyle>
            <a:lvl1pPr algn="ctr">
              <a:lnSpc>
                <a:spcPct val="80000"/>
              </a:lnSpc>
              <a:defRPr sz="12000" b="0" i="0">
                <a:latin typeface="Arial" panose="020B0604020202020204" pitchFamily="34" charset="0"/>
              </a:defRPr>
            </a:lvl1pPr>
          </a:lstStyle>
          <a:p>
            <a:r>
              <a:rPr lang="de-DE"/>
              <a:t>“</a:t>
            </a:r>
          </a:p>
        </p:txBody>
      </p:sp>
      <p:sp>
        <p:nvSpPr>
          <p:cNvPr id="51" name="Text Placeholder 8">
            <a:extLst>
              <a:ext uri="{FF2B5EF4-FFF2-40B4-BE49-F238E27FC236}">
                <a16:creationId xmlns:a16="http://schemas.microsoft.com/office/drawing/2014/main" id="{7C8D12DD-FD11-440A-9682-311DBCC174D7}"/>
              </a:ext>
            </a:extLst>
          </p:cNvPr>
          <p:cNvSpPr>
            <a:spLocks noGrp="1"/>
          </p:cNvSpPr>
          <p:nvPr>
            <p:ph type="body" sz="quarter" idx="55" hasCustomPrompt="1"/>
          </p:nvPr>
        </p:nvSpPr>
        <p:spPr>
          <a:xfrm>
            <a:off x="9729061" y="8039717"/>
            <a:ext cx="5149097" cy="2835969"/>
          </a:xfrm>
        </p:spPr>
        <p:txBody>
          <a:bodyPr wrap="square">
            <a:spAutoFit/>
          </a:bodyPr>
          <a:lstStyle>
            <a:lvl1pPr algn="ctr">
              <a:lnSpc>
                <a:spcPct val="110000"/>
              </a:lnSpc>
              <a:defRPr sz="3400" b="0" i="0">
                <a:latin typeface="Times New Roman" panose="02020603050405020304" pitchFamily="18" charset="0"/>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52" name="Text Placeholder 8">
            <a:extLst>
              <a:ext uri="{FF2B5EF4-FFF2-40B4-BE49-F238E27FC236}">
                <a16:creationId xmlns:a16="http://schemas.microsoft.com/office/drawing/2014/main" id="{4ABDF1D3-DCA9-4A9E-8398-301854AEC6E2}"/>
              </a:ext>
            </a:extLst>
          </p:cNvPr>
          <p:cNvSpPr>
            <a:spLocks noGrp="1"/>
          </p:cNvSpPr>
          <p:nvPr>
            <p:ph type="body" sz="quarter" idx="56" hasCustomPrompt="1"/>
          </p:nvPr>
        </p:nvSpPr>
        <p:spPr>
          <a:xfrm>
            <a:off x="5362290" y="6858000"/>
            <a:ext cx="512961" cy="1532664"/>
          </a:xfrm>
        </p:spPr>
        <p:txBody>
          <a:bodyPr wrap="none" anchor="t">
            <a:spAutoFit/>
          </a:bodyPr>
          <a:lstStyle>
            <a:lvl1pPr algn="ctr">
              <a:lnSpc>
                <a:spcPct val="80000"/>
              </a:lnSpc>
              <a:defRPr sz="12000" b="0" i="0">
                <a:latin typeface="Arial" panose="020B0604020202020204" pitchFamily="34" charset="0"/>
              </a:defRPr>
            </a:lvl1pPr>
          </a:lstStyle>
          <a:p>
            <a:r>
              <a:rPr lang="de-DE"/>
              <a:t>“</a:t>
            </a:r>
          </a:p>
        </p:txBody>
      </p:sp>
      <p:sp>
        <p:nvSpPr>
          <p:cNvPr id="53" name="Text Placeholder 8">
            <a:extLst>
              <a:ext uri="{FF2B5EF4-FFF2-40B4-BE49-F238E27FC236}">
                <a16:creationId xmlns:a16="http://schemas.microsoft.com/office/drawing/2014/main" id="{7BE23BA2-9F31-4314-A4C4-5DC3AF1185A1}"/>
              </a:ext>
            </a:extLst>
          </p:cNvPr>
          <p:cNvSpPr>
            <a:spLocks noGrp="1"/>
          </p:cNvSpPr>
          <p:nvPr>
            <p:ph type="body" sz="quarter" idx="57" hasCustomPrompt="1"/>
          </p:nvPr>
        </p:nvSpPr>
        <p:spPr>
          <a:xfrm>
            <a:off x="3044223" y="8039717"/>
            <a:ext cx="5149097" cy="2835969"/>
          </a:xfrm>
        </p:spPr>
        <p:txBody>
          <a:bodyPr wrap="square">
            <a:spAutoFit/>
          </a:bodyPr>
          <a:lstStyle>
            <a:lvl1pPr algn="ctr">
              <a:lnSpc>
                <a:spcPct val="110000"/>
              </a:lnSpc>
              <a:defRPr sz="3400" b="0" i="0">
                <a:latin typeface="Times New Roman" panose="02020603050405020304" pitchFamily="18" charset="0"/>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Tree>
    <p:extLst>
      <p:ext uri="{BB962C8B-B14F-4D97-AF65-F5344CB8AC3E}">
        <p14:creationId xmlns:p14="http://schemas.microsoft.com/office/powerpoint/2010/main" val="2236981216"/>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 quotes (B)">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202411"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9887249"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6348869"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8508751" y="6858000"/>
            <a:ext cx="512961" cy="1532664"/>
          </a:xfrm>
        </p:spPr>
        <p:txBody>
          <a:bodyPr wrap="none" anchor="t">
            <a:spAutoFit/>
          </a:bodyPr>
          <a:lstStyle>
            <a:lvl1pPr algn="ctr">
              <a:lnSpc>
                <a:spcPct val="80000"/>
              </a:lnSpc>
              <a:defRPr sz="12000" b="0" i="0">
                <a:solidFill>
                  <a:schemeClr val="bg1"/>
                </a:solidFill>
                <a:latin typeface="Arial" panose="020B0604020202020204" pitchFamily="34" charset="0"/>
              </a:defRPr>
            </a:lvl1pPr>
          </a:lstStyle>
          <a:p>
            <a:r>
              <a:rPr lang="de-DE"/>
              <a:t>“</a:t>
            </a:r>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3215584" y="11381414"/>
            <a:ext cx="4806375" cy="365549"/>
          </a:xfrm>
        </p:spPr>
        <p:txBody>
          <a:bodyPr wrap="square">
            <a:spAutoFit/>
          </a:bodyPr>
          <a:lstStyle>
            <a:lvl1pPr algn="ctr">
              <a:lnSpc>
                <a:spcPct val="130000"/>
              </a:lnSpc>
              <a:defRPr sz="2000" b="0" i="0" cap="all" spc="200" baseline="0">
                <a:solidFill>
                  <a:schemeClr val="bg1"/>
                </a:solidFill>
                <a:latin typeface="Arial" panose="020B0604020202020204" pitchFamily="34" charset="0"/>
              </a:defRPr>
            </a:lvl1pPr>
          </a:lstStyle>
          <a:p>
            <a:r>
              <a:rPr lang="de-DE"/>
              <a:t>NAME SURNAME</a:t>
            </a:r>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9900424" y="11381414"/>
            <a:ext cx="4806375" cy="365549"/>
          </a:xfrm>
        </p:spPr>
        <p:txBody>
          <a:bodyPr wrap="square">
            <a:spAutoFit/>
          </a:bodyPr>
          <a:lstStyle>
            <a:lvl1pPr algn="ctr">
              <a:lnSpc>
                <a:spcPct val="130000"/>
              </a:lnSpc>
              <a:defRPr sz="2000" b="0" i="0" cap="all" spc="200" baseline="0">
                <a:solidFill>
                  <a:schemeClr val="bg1"/>
                </a:solidFill>
                <a:latin typeface="Arial" panose="020B0604020202020204" pitchFamily="34" charset="0"/>
              </a:defRPr>
            </a:lvl1pPr>
          </a:lstStyle>
          <a:p>
            <a:r>
              <a:rPr lang="de-DE"/>
              <a:t>NAME SURNAME</a:t>
            </a:r>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6362043" y="11381414"/>
            <a:ext cx="4806375" cy="365549"/>
          </a:xfrm>
        </p:spPr>
        <p:txBody>
          <a:bodyPr wrap="square">
            <a:spAutoFit/>
          </a:bodyPr>
          <a:lstStyle>
            <a:lvl1pPr algn="ctr">
              <a:lnSpc>
                <a:spcPct val="130000"/>
              </a:lnSpc>
              <a:defRPr sz="2000" b="0" i="0" cap="all" spc="200" baseline="0">
                <a:solidFill>
                  <a:schemeClr val="bg1"/>
                </a:solidFill>
                <a:latin typeface="Arial" panose="020B0604020202020204" pitchFamily="34" charset="0"/>
              </a:defRPr>
            </a:lvl1pPr>
          </a:lstStyle>
          <a:p>
            <a:r>
              <a:rPr lang="de-DE"/>
              <a:t>NAME SURNAME</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6190683" y="8039717"/>
            <a:ext cx="5149097" cy="2835969"/>
          </a:xfrm>
        </p:spPr>
        <p:txBody>
          <a:bodyPr wrap="square">
            <a:spAutoFit/>
          </a:bodyPr>
          <a:lstStyle>
            <a:lvl1pPr algn="ctr">
              <a:lnSpc>
                <a:spcPct val="110000"/>
              </a:lnSpc>
              <a:defRPr sz="3400" b="0" i="0">
                <a:solidFill>
                  <a:schemeClr val="bg1"/>
                </a:solidFill>
                <a:latin typeface="Times New Roman" panose="02020603050405020304" pitchFamily="18" charset="0"/>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50" name="Text Placeholder 8">
            <a:extLst>
              <a:ext uri="{FF2B5EF4-FFF2-40B4-BE49-F238E27FC236}">
                <a16:creationId xmlns:a16="http://schemas.microsoft.com/office/drawing/2014/main" id="{51791BDC-42A4-42CB-9583-CBE6DCE28B72}"/>
              </a:ext>
            </a:extLst>
          </p:cNvPr>
          <p:cNvSpPr>
            <a:spLocks noGrp="1"/>
          </p:cNvSpPr>
          <p:nvPr>
            <p:ph type="body" sz="quarter" idx="54" hasCustomPrompt="1"/>
          </p:nvPr>
        </p:nvSpPr>
        <p:spPr>
          <a:xfrm>
            <a:off x="12047129" y="6858000"/>
            <a:ext cx="512961" cy="1532664"/>
          </a:xfrm>
        </p:spPr>
        <p:txBody>
          <a:bodyPr wrap="none" anchor="t">
            <a:spAutoFit/>
          </a:bodyPr>
          <a:lstStyle>
            <a:lvl1pPr algn="ctr">
              <a:lnSpc>
                <a:spcPct val="80000"/>
              </a:lnSpc>
              <a:defRPr sz="12000" b="0" i="0">
                <a:solidFill>
                  <a:schemeClr val="bg1"/>
                </a:solidFill>
                <a:latin typeface="Arial" panose="020B0604020202020204" pitchFamily="34" charset="0"/>
              </a:defRPr>
            </a:lvl1pPr>
          </a:lstStyle>
          <a:p>
            <a:r>
              <a:rPr lang="de-DE"/>
              <a:t>“</a:t>
            </a:r>
          </a:p>
        </p:txBody>
      </p:sp>
      <p:sp>
        <p:nvSpPr>
          <p:cNvPr id="51" name="Text Placeholder 8">
            <a:extLst>
              <a:ext uri="{FF2B5EF4-FFF2-40B4-BE49-F238E27FC236}">
                <a16:creationId xmlns:a16="http://schemas.microsoft.com/office/drawing/2014/main" id="{7C8D12DD-FD11-440A-9682-311DBCC174D7}"/>
              </a:ext>
            </a:extLst>
          </p:cNvPr>
          <p:cNvSpPr>
            <a:spLocks noGrp="1"/>
          </p:cNvSpPr>
          <p:nvPr>
            <p:ph type="body" sz="quarter" idx="55" hasCustomPrompt="1"/>
          </p:nvPr>
        </p:nvSpPr>
        <p:spPr>
          <a:xfrm>
            <a:off x="9729061" y="8039717"/>
            <a:ext cx="5149097" cy="2835969"/>
          </a:xfrm>
        </p:spPr>
        <p:txBody>
          <a:bodyPr wrap="square">
            <a:spAutoFit/>
          </a:bodyPr>
          <a:lstStyle>
            <a:lvl1pPr algn="ctr">
              <a:lnSpc>
                <a:spcPct val="110000"/>
              </a:lnSpc>
              <a:defRPr sz="3400" b="0" i="0">
                <a:solidFill>
                  <a:schemeClr val="bg1"/>
                </a:solidFill>
                <a:latin typeface="Times New Roman" panose="02020603050405020304" pitchFamily="18" charset="0"/>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52" name="Text Placeholder 8">
            <a:extLst>
              <a:ext uri="{FF2B5EF4-FFF2-40B4-BE49-F238E27FC236}">
                <a16:creationId xmlns:a16="http://schemas.microsoft.com/office/drawing/2014/main" id="{4ABDF1D3-DCA9-4A9E-8398-301854AEC6E2}"/>
              </a:ext>
            </a:extLst>
          </p:cNvPr>
          <p:cNvSpPr>
            <a:spLocks noGrp="1"/>
          </p:cNvSpPr>
          <p:nvPr>
            <p:ph type="body" sz="quarter" idx="56" hasCustomPrompt="1"/>
          </p:nvPr>
        </p:nvSpPr>
        <p:spPr>
          <a:xfrm>
            <a:off x="5362290" y="6858000"/>
            <a:ext cx="512961" cy="1532664"/>
          </a:xfrm>
        </p:spPr>
        <p:txBody>
          <a:bodyPr wrap="none" anchor="t">
            <a:spAutoFit/>
          </a:bodyPr>
          <a:lstStyle>
            <a:lvl1pPr algn="ctr">
              <a:lnSpc>
                <a:spcPct val="80000"/>
              </a:lnSpc>
              <a:defRPr sz="12000" b="0" i="0">
                <a:solidFill>
                  <a:schemeClr val="bg1"/>
                </a:solidFill>
                <a:latin typeface="Arial" panose="020B0604020202020204" pitchFamily="34" charset="0"/>
              </a:defRPr>
            </a:lvl1pPr>
          </a:lstStyle>
          <a:p>
            <a:r>
              <a:rPr lang="de-DE"/>
              <a:t>“</a:t>
            </a:r>
          </a:p>
        </p:txBody>
      </p:sp>
      <p:sp>
        <p:nvSpPr>
          <p:cNvPr id="53" name="Text Placeholder 8">
            <a:extLst>
              <a:ext uri="{FF2B5EF4-FFF2-40B4-BE49-F238E27FC236}">
                <a16:creationId xmlns:a16="http://schemas.microsoft.com/office/drawing/2014/main" id="{7BE23BA2-9F31-4314-A4C4-5DC3AF1185A1}"/>
              </a:ext>
            </a:extLst>
          </p:cNvPr>
          <p:cNvSpPr>
            <a:spLocks noGrp="1"/>
          </p:cNvSpPr>
          <p:nvPr>
            <p:ph type="body" sz="quarter" idx="57" hasCustomPrompt="1"/>
          </p:nvPr>
        </p:nvSpPr>
        <p:spPr>
          <a:xfrm>
            <a:off x="3044223" y="8039717"/>
            <a:ext cx="5149097" cy="2835969"/>
          </a:xfrm>
        </p:spPr>
        <p:txBody>
          <a:bodyPr wrap="square">
            <a:spAutoFit/>
          </a:bodyPr>
          <a:lstStyle>
            <a:lvl1pPr algn="ctr">
              <a:lnSpc>
                <a:spcPct val="110000"/>
              </a:lnSpc>
              <a:defRPr sz="3400" b="0" i="0">
                <a:solidFill>
                  <a:schemeClr val="bg1"/>
                </a:solidFill>
                <a:latin typeface="Times New Roman" panose="02020603050405020304" pitchFamily="18" charset="0"/>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grpSp>
        <p:nvGrpSpPr>
          <p:cNvPr id="19" name="Group">
            <a:extLst>
              <a:ext uri="{FF2B5EF4-FFF2-40B4-BE49-F238E27FC236}">
                <a16:creationId xmlns:a16="http://schemas.microsoft.com/office/drawing/2014/main" id="{C3314D43-655D-4065-B649-F57BFABB3A32}"/>
              </a:ext>
            </a:extLst>
          </p:cNvPr>
          <p:cNvGrpSpPr/>
          <p:nvPr userDrawn="1"/>
        </p:nvGrpSpPr>
        <p:grpSpPr>
          <a:xfrm>
            <a:off x="885450" y="12829819"/>
            <a:ext cx="885653" cy="885653"/>
            <a:chOff x="0" y="0"/>
            <a:chExt cx="885651" cy="885651"/>
          </a:xfrm>
        </p:grpSpPr>
        <p:sp>
          <p:nvSpPr>
            <p:cNvPr id="20" name="Square">
              <a:extLst>
                <a:ext uri="{FF2B5EF4-FFF2-40B4-BE49-F238E27FC236}">
                  <a16:creationId xmlns:a16="http://schemas.microsoft.com/office/drawing/2014/main" id="{0B6341CB-B85F-4CE0-897F-935099A27931}"/>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21" name="Image">
              <a:extLst>
                <a:ext uri="{FF2B5EF4-FFF2-40B4-BE49-F238E27FC236}">
                  <a16:creationId xmlns:a16="http://schemas.microsoft.com/office/drawing/2014/main" id="{2C87D360-0A29-4547-9BF6-A7891D8DC88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836867545"/>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meline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51ED766-DA15-4AC0-AFE9-42BDCD82A001}"/>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159AE81D-93FC-4B96-A9A4-08216B640E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8995190"/>
            <a:ext cx="4849888" cy="365549"/>
          </a:xfrm>
        </p:spPr>
        <p:txBody>
          <a:bodyPr wrap="square">
            <a:spAutoFit/>
          </a:bodyPr>
          <a:lstStyle>
            <a:lvl1pPr algn="ctr">
              <a:lnSpc>
                <a:spcPct val="130000"/>
              </a:lnSpc>
              <a:defRPr sz="2000" b="0" i="0" cap="all" spc="200" baseline="0">
                <a:latin typeface="Arial" panose="020B0604020202020204" pitchFamily="34" charset="0"/>
              </a:defRPr>
            </a:lvl1pPr>
          </a:lstStyle>
          <a:p>
            <a:r>
              <a:rPr lang="de-DE"/>
              <a:t>Subtitle</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b="0" i="0">
                <a:latin typeface="Times New Roman" panose="02020603050405020304" pitchFamily="18" charset="0"/>
              </a:defRPr>
            </a:lvl1pPr>
          </a:lstStyle>
          <a:p>
            <a:r>
              <a:rPr lang="en-US"/>
              <a:t>Month</a:t>
            </a:r>
          </a:p>
        </p:txBody>
      </p:sp>
      <p:sp>
        <p:nvSpPr>
          <p:cNvPr id="16" name="Text Placeholder 8">
            <a:extLst>
              <a:ext uri="{FF2B5EF4-FFF2-40B4-BE49-F238E27FC236}">
                <a16:creationId xmlns:a16="http://schemas.microsoft.com/office/drawing/2014/main" id="{D2C24D1F-26BA-43AD-821A-9FF0EA878431}"/>
              </a:ext>
            </a:extLst>
          </p:cNvPr>
          <p:cNvSpPr>
            <a:spLocks noGrp="1"/>
          </p:cNvSpPr>
          <p:nvPr>
            <p:ph type="body" sz="quarter" idx="27" hasCustomPrompt="1"/>
          </p:nvPr>
        </p:nvSpPr>
        <p:spPr>
          <a:xfrm>
            <a:off x="2578030" y="9756857"/>
            <a:ext cx="4248837" cy="1318438"/>
          </a:xfrm>
        </p:spPr>
        <p:txBody>
          <a:bodyPr wrap="square">
            <a:spAutoFit/>
          </a:bodyPr>
          <a:lstStyle>
            <a:lvl1pPr algn="ctr">
              <a:lnSpc>
                <a:spcPct val="140000"/>
              </a:lnSpc>
              <a:defRPr sz="2100" b="0" i="0"/>
            </a:lvl1pPr>
          </a:lstStyle>
          <a:p>
            <a:r>
              <a:rPr lang="de-DE"/>
              <a:t>Description text dolor amet, consectetur adipisicing, lorem smet in alerno repre erit inaet voluptate.</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8995190"/>
            <a:ext cx="4849888" cy="365549"/>
          </a:xfrm>
        </p:spPr>
        <p:txBody>
          <a:bodyPr wrap="square">
            <a:spAutoFit/>
          </a:bodyPr>
          <a:lstStyle>
            <a:lvl1pPr algn="ctr">
              <a:lnSpc>
                <a:spcPct val="130000"/>
              </a:lnSpc>
              <a:defRPr sz="2000" b="0" i="0" cap="all" spc="200" baseline="0">
                <a:latin typeface="Arial" panose="020B0604020202020204" pitchFamily="34" charset="0"/>
              </a:defRPr>
            </a:lvl1pPr>
          </a:lstStyle>
          <a:p>
            <a:r>
              <a:rPr lang="de-DE"/>
              <a:t>Subtitle</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b="0" i="0">
                <a:latin typeface="Times New Roman" panose="02020603050405020304" pitchFamily="18" charset="0"/>
              </a:defRPr>
            </a:lvl1pPr>
          </a:lstStyle>
          <a:p>
            <a:r>
              <a:rPr lang="en-US"/>
              <a:t>Month</a:t>
            </a:r>
          </a:p>
        </p:txBody>
      </p:sp>
      <p:sp>
        <p:nvSpPr>
          <p:cNvPr id="21" name="Text Placeholder 8">
            <a:extLst>
              <a:ext uri="{FF2B5EF4-FFF2-40B4-BE49-F238E27FC236}">
                <a16:creationId xmlns:a16="http://schemas.microsoft.com/office/drawing/2014/main" id="{DCBE138F-8246-4485-8617-3F013826CCAD}"/>
              </a:ext>
            </a:extLst>
          </p:cNvPr>
          <p:cNvSpPr>
            <a:spLocks noGrp="1"/>
          </p:cNvSpPr>
          <p:nvPr>
            <p:ph type="body" sz="quarter" idx="60" hasCustomPrompt="1"/>
          </p:nvPr>
        </p:nvSpPr>
        <p:spPr>
          <a:xfrm>
            <a:off x="7577522" y="9756857"/>
            <a:ext cx="4248837" cy="1318438"/>
          </a:xfrm>
        </p:spPr>
        <p:txBody>
          <a:bodyPr wrap="square">
            <a:spAutoFit/>
          </a:bodyPr>
          <a:lstStyle>
            <a:lvl1pPr algn="ctr">
              <a:lnSpc>
                <a:spcPct val="140000"/>
              </a:lnSpc>
              <a:defRPr sz="2100" b="0" i="0"/>
            </a:lvl1pPr>
          </a:lstStyle>
          <a:p>
            <a:r>
              <a:rPr lang="de-DE"/>
              <a:t>Description text dolor amet, consectetur adipisicing, lorem smet in alerno repre erit inaet voluptate.</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8995190"/>
            <a:ext cx="4849888" cy="365549"/>
          </a:xfrm>
        </p:spPr>
        <p:txBody>
          <a:bodyPr wrap="square">
            <a:spAutoFit/>
          </a:bodyPr>
          <a:lstStyle>
            <a:lvl1pPr algn="ctr">
              <a:lnSpc>
                <a:spcPct val="130000"/>
              </a:lnSpc>
              <a:defRPr sz="2000" b="0" i="0" cap="all" spc="200" baseline="0">
                <a:latin typeface="Arial" panose="020B0604020202020204" pitchFamily="34" charset="0"/>
              </a:defRPr>
            </a:lvl1pPr>
          </a:lstStyle>
          <a:p>
            <a:r>
              <a:rPr lang="de-DE"/>
              <a:t>Subtitle</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b="0" i="0">
                <a:latin typeface="Times New Roman" panose="02020603050405020304" pitchFamily="18" charset="0"/>
              </a:defRPr>
            </a:lvl1pPr>
          </a:lstStyle>
          <a:p>
            <a:r>
              <a:rPr lang="en-US"/>
              <a:t>Month</a:t>
            </a:r>
          </a:p>
        </p:txBody>
      </p:sp>
      <p:sp>
        <p:nvSpPr>
          <p:cNvPr id="24" name="Text Placeholder 8">
            <a:extLst>
              <a:ext uri="{FF2B5EF4-FFF2-40B4-BE49-F238E27FC236}">
                <a16:creationId xmlns:a16="http://schemas.microsoft.com/office/drawing/2014/main" id="{048FD75B-366C-4758-AFD7-42ABBEC10C95}"/>
              </a:ext>
            </a:extLst>
          </p:cNvPr>
          <p:cNvSpPr>
            <a:spLocks noGrp="1"/>
          </p:cNvSpPr>
          <p:nvPr>
            <p:ph type="body" sz="quarter" idx="63" hasCustomPrompt="1"/>
          </p:nvPr>
        </p:nvSpPr>
        <p:spPr>
          <a:xfrm>
            <a:off x="12577014" y="9756857"/>
            <a:ext cx="4248837" cy="1318438"/>
          </a:xfrm>
        </p:spPr>
        <p:txBody>
          <a:bodyPr wrap="square">
            <a:spAutoFit/>
          </a:bodyPr>
          <a:lstStyle>
            <a:lvl1pPr algn="ctr">
              <a:lnSpc>
                <a:spcPct val="140000"/>
              </a:lnSpc>
              <a:defRPr sz="2100" b="0" i="0"/>
            </a:lvl1pPr>
          </a:lstStyle>
          <a:p>
            <a:r>
              <a:rPr lang="de-DE"/>
              <a:t>Description text dolor amet, consectetur adipisicing, lorem smet in alerno repre erit inaet voluptate.</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8995190"/>
            <a:ext cx="4849888" cy="365549"/>
          </a:xfrm>
        </p:spPr>
        <p:txBody>
          <a:bodyPr wrap="square">
            <a:spAutoFit/>
          </a:bodyPr>
          <a:lstStyle>
            <a:lvl1pPr algn="ctr">
              <a:lnSpc>
                <a:spcPct val="130000"/>
              </a:lnSpc>
              <a:defRPr sz="2000" b="0" i="0" cap="all" spc="200" baseline="0">
                <a:latin typeface="Arial" panose="020B0604020202020204" pitchFamily="34" charset="0"/>
              </a:defRPr>
            </a:lvl1pPr>
          </a:lstStyle>
          <a:p>
            <a:r>
              <a:rPr lang="de-DE"/>
              <a:t>Subtitle</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b="0" i="0">
                <a:latin typeface="Times New Roman" panose="02020603050405020304" pitchFamily="18" charset="0"/>
              </a:defRPr>
            </a:lvl1pPr>
          </a:lstStyle>
          <a:p>
            <a:r>
              <a:rPr lang="en-US"/>
              <a:t>Month</a:t>
            </a:r>
          </a:p>
        </p:txBody>
      </p:sp>
      <p:sp>
        <p:nvSpPr>
          <p:cNvPr id="27" name="Text Placeholder 8">
            <a:extLst>
              <a:ext uri="{FF2B5EF4-FFF2-40B4-BE49-F238E27FC236}">
                <a16:creationId xmlns:a16="http://schemas.microsoft.com/office/drawing/2014/main" id="{256A8A8C-5EF6-4F35-BEB9-C946B0E8483F}"/>
              </a:ext>
            </a:extLst>
          </p:cNvPr>
          <p:cNvSpPr>
            <a:spLocks noGrp="1"/>
          </p:cNvSpPr>
          <p:nvPr>
            <p:ph type="body" sz="quarter" idx="66" hasCustomPrompt="1"/>
          </p:nvPr>
        </p:nvSpPr>
        <p:spPr>
          <a:xfrm>
            <a:off x="17576505" y="9756857"/>
            <a:ext cx="4248837" cy="1318438"/>
          </a:xfrm>
        </p:spPr>
        <p:txBody>
          <a:bodyPr wrap="square">
            <a:spAutoFit/>
          </a:bodyPr>
          <a:lstStyle>
            <a:lvl1pPr algn="ctr">
              <a:lnSpc>
                <a:spcPct val="140000"/>
              </a:lnSpc>
              <a:defRPr sz="2100" b="0" i="0"/>
            </a:lvl1pPr>
          </a:lstStyle>
          <a:p>
            <a:r>
              <a:rPr lang="de-DE"/>
              <a:t>Description text dolor amet, consectetur adipisicing, lorem smet in alerno repre erit inaet voluptate.</a:t>
            </a:r>
          </a:p>
        </p:txBody>
      </p:sp>
      <p:sp>
        <p:nvSpPr>
          <p:cNvPr id="28" name="Line">
            <a:extLst>
              <a:ext uri="{FF2B5EF4-FFF2-40B4-BE49-F238E27FC236}">
                <a16:creationId xmlns:a16="http://schemas.microsoft.com/office/drawing/2014/main" id="{7BEFB770-6849-4525-B60E-5C842A8491FE}"/>
              </a:ext>
            </a:extLst>
          </p:cNvPr>
          <p:cNvSpPr/>
          <p:nvPr userDrawn="1"/>
        </p:nvSpPr>
        <p:spPr>
          <a:xfrm>
            <a:off x="1765299" y="7901328"/>
            <a:ext cx="20853402" cy="1"/>
          </a:xfrm>
          <a:prstGeom prst="line">
            <a:avLst/>
          </a:prstGeom>
          <a:ln w="12700">
            <a:solidFill>
              <a:srgbClr val="C6C6C6"/>
            </a:solidFill>
            <a:miter lim="400000"/>
          </a:ln>
        </p:spPr>
        <p:txBody>
          <a:bodyPr lIns="45718" tIns="45718" rIns="45718" bIns="45718"/>
          <a:lstStyle/>
          <a:p>
            <a:pPr marR="0" defTabSz="825500">
              <a:lnSpc>
                <a:spcPct val="130000"/>
              </a:lnSpc>
              <a:spcBef>
                <a:spcPts val="2000"/>
              </a:spcBef>
              <a:defRPr sz="3000">
                <a:uFillTx/>
              </a:defRPr>
            </a:pPr>
            <a:endParaRPr b="0" i="0">
              <a:latin typeface="Arial" panose="020B0604020202020204" pitchFamily="34" charset="0"/>
              <a:cs typeface="Arial" panose="020B0604020202020204" pitchFamily="34" charset="0"/>
            </a:endParaRPr>
          </a:p>
        </p:txBody>
      </p:sp>
      <p:sp>
        <p:nvSpPr>
          <p:cNvPr id="29" name="Shape">
            <a:extLst>
              <a:ext uri="{FF2B5EF4-FFF2-40B4-BE49-F238E27FC236}">
                <a16:creationId xmlns:a16="http://schemas.microsoft.com/office/drawing/2014/main" id="{F56F2F10-90D5-496B-A407-B9E08CED7E8A}"/>
              </a:ext>
            </a:extLst>
          </p:cNvPr>
          <p:cNvSpPr>
            <a:spLocks noGrp="1"/>
          </p:cNvSpPr>
          <p:nvPr>
            <p:ph type="body" sz="quarter" idx="24" hasCustomPrompt="1"/>
          </p:nvPr>
        </p:nvSpPr>
        <p:spPr>
          <a:xfrm>
            <a:off x="4469314"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lvl1pPr>
              <a:defRPr b="0" i="0"/>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0" name="Shape">
            <a:extLst>
              <a:ext uri="{FF2B5EF4-FFF2-40B4-BE49-F238E27FC236}">
                <a16:creationId xmlns:a16="http://schemas.microsoft.com/office/drawing/2014/main" id="{F1F04511-37F4-4DF5-AA15-F9ABE7393DF6}"/>
              </a:ext>
            </a:extLst>
          </p:cNvPr>
          <p:cNvSpPr>
            <a:spLocks noGrp="1"/>
          </p:cNvSpPr>
          <p:nvPr>
            <p:ph type="body" sz="quarter" idx="28" hasCustomPrompt="1"/>
          </p:nvPr>
        </p:nvSpPr>
        <p:spPr>
          <a:xfrm>
            <a:off x="9468807"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lvl1pPr>
              <a:defRPr b="0" i="0"/>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1" name="Shape">
            <a:extLst>
              <a:ext uri="{FF2B5EF4-FFF2-40B4-BE49-F238E27FC236}">
                <a16:creationId xmlns:a16="http://schemas.microsoft.com/office/drawing/2014/main" id="{F0901FE0-8B00-47B5-820A-4182E854E0F6}"/>
              </a:ext>
            </a:extLst>
          </p:cNvPr>
          <p:cNvSpPr>
            <a:spLocks noGrp="1"/>
          </p:cNvSpPr>
          <p:nvPr>
            <p:ph type="body" sz="quarter" idx="32" hasCustomPrompt="1"/>
          </p:nvPr>
        </p:nvSpPr>
        <p:spPr>
          <a:xfrm>
            <a:off x="14468300"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lvl1pPr>
              <a:defRPr b="0" i="0"/>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2" name="Shape">
            <a:extLst>
              <a:ext uri="{FF2B5EF4-FFF2-40B4-BE49-F238E27FC236}">
                <a16:creationId xmlns:a16="http://schemas.microsoft.com/office/drawing/2014/main" id="{38A83B6B-64E9-437C-AD64-3CA92539644F}"/>
              </a:ext>
            </a:extLst>
          </p:cNvPr>
          <p:cNvSpPr>
            <a:spLocks noGrp="1"/>
          </p:cNvSpPr>
          <p:nvPr>
            <p:ph type="body" sz="quarter" idx="36" hasCustomPrompt="1"/>
          </p:nvPr>
        </p:nvSpPr>
        <p:spPr>
          <a:xfrm>
            <a:off x="19467793"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lvl1pPr>
              <a:defRPr b="0" i="0"/>
            </a:lvl1pPr>
          </a:lstStyle>
          <a:p>
            <a:pPr defTabSz="822960">
              <a:lnSpc>
                <a:spcPct val="130000"/>
              </a:lnSpc>
              <a:spcBef>
                <a:spcPts val="0"/>
              </a:spcBef>
              <a:defRPr sz="2400" b="0">
                <a:solidFill>
                  <a:schemeClr val="accent1">
                    <a:lumOff val="-57413"/>
                  </a:schemeClr>
                </a:solidFill>
              </a:defRPr>
            </a:pPr>
            <a:r>
              <a:rPr lang="en-US"/>
              <a:t> </a:t>
            </a:r>
            <a:endParaRPr/>
          </a:p>
        </p:txBody>
      </p:sp>
    </p:spTree>
    <p:extLst>
      <p:ext uri="{BB962C8B-B14F-4D97-AF65-F5344CB8AC3E}">
        <p14:creationId xmlns:p14="http://schemas.microsoft.com/office/powerpoint/2010/main" val="1836067816"/>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meline + text (B)">
    <p:bg>
      <p:bgPr>
        <a:solidFill>
          <a:schemeClr val="tx1"/>
        </a:solidFill>
        <a:effectLst/>
      </p:bgPr>
    </p:bg>
    <p:spTree>
      <p:nvGrpSpPr>
        <p:cNvPr id="1" name=""/>
        <p:cNvGrpSpPr/>
        <p:nvPr/>
      </p:nvGrpSpPr>
      <p:grpSpPr>
        <a:xfrm>
          <a:off x="0" y="0"/>
          <a:ext cx="0" cy="0"/>
          <a:chOff x="0" y="0"/>
          <a:chExt cx="0" cy="0"/>
        </a:xfrm>
      </p:grpSpPr>
      <p:sp>
        <p:nvSpPr>
          <p:cNvPr id="33" name="Line">
            <a:extLst>
              <a:ext uri="{FF2B5EF4-FFF2-40B4-BE49-F238E27FC236}">
                <a16:creationId xmlns:a16="http://schemas.microsoft.com/office/drawing/2014/main" id="{042C1213-6C3F-4436-86E8-140CFB7CDDAD}"/>
              </a:ext>
            </a:extLst>
          </p:cNvPr>
          <p:cNvSpPr/>
          <p:nvPr userDrawn="1"/>
        </p:nvSpPr>
        <p:spPr>
          <a:xfrm>
            <a:off x="1765299" y="7901328"/>
            <a:ext cx="20853402" cy="1"/>
          </a:xfrm>
          <a:prstGeom prst="line">
            <a:avLst/>
          </a:prstGeom>
          <a:ln w="12700">
            <a:solidFill>
              <a:srgbClr val="C6C6C6"/>
            </a:solidFill>
            <a:miter lim="400000"/>
          </a:ln>
        </p:spPr>
        <p:txBody>
          <a:bodyPr lIns="45718" tIns="45718" rIns="45718" bIns="45718"/>
          <a:lstStyle/>
          <a:p>
            <a:pPr marR="0" defTabSz="825500">
              <a:lnSpc>
                <a:spcPct val="130000"/>
              </a:lnSpc>
              <a:spcBef>
                <a:spcPts val="2000"/>
              </a:spcBef>
              <a:defRPr sz="3000">
                <a:uFillTx/>
              </a:defRPr>
            </a:pPr>
            <a:endParaRPr b="0" i="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C51ED766-DA15-4AC0-AFE9-42BDCD82A001}"/>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8995190"/>
            <a:ext cx="4849888" cy="365549"/>
          </a:xfrm>
        </p:spPr>
        <p:txBody>
          <a:bodyPr wrap="square">
            <a:spAutoFit/>
          </a:bodyPr>
          <a:lstStyle>
            <a:lvl1pPr algn="ctr">
              <a:lnSpc>
                <a:spcPct val="130000"/>
              </a:lnSpc>
              <a:defRPr sz="2000" b="0" i="0" cap="all" spc="200" baseline="0">
                <a:solidFill>
                  <a:schemeClr val="bg1"/>
                </a:solidFill>
                <a:latin typeface="Arial" panose="020B0604020202020204" pitchFamily="34" charset="0"/>
              </a:defRPr>
            </a:lvl1pPr>
          </a:lstStyle>
          <a:p>
            <a:r>
              <a:rPr lang="de-DE"/>
              <a:t>Subtitle</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b="0" i="0">
                <a:solidFill>
                  <a:schemeClr val="bg1"/>
                </a:solidFill>
                <a:latin typeface="Times New Roman" panose="02020603050405020304" pitchFamily="18" charset="0"/>
              </a:defRPr>
            </a:lvl1pPr>
          </a:lstStyle>
          <a:p>
            <a:r>
              <a:rPr lang="en-US"/>
              <a:t>Month</a:t>
            </a:r>
          </a:p>
        </p:txBody>
      </p:sp>
      <p:sp>
        <p:nvSpPr>
          <p:cNvPr id="16" name="Text Placeholder 8">
            <a:extLst>
              <a:ext uri="{FF2B5EF4-FFF2-40B4-BE49-F238E27FC236}">
                <a16:creationId xmlns:a16="http://schemas.microsoft.com/office/drawing/2014/main" id="{D2C24D1F-26BA-43AD-821A-9FF0EA878431}"/>
              </a:ext>
            </a:extLst>
          </p:cNvPr>
          <p:cNvSpPr>
            <a:spLocks noGrp="1"/>
          </p:cNvSpPr>
          <p:nvPr>
            <p:ph type="body" sz="quarter" idx="27" hasCustomPrompt="1"/>
          </p:nvPr>
        </p:nvSpPr>
        <p:spPr>
          <a:xfrm>
            <a:off x="2578030" y="9756857"/>
            <a:ext cx="4248837" cy="1318438"/>
          </a:xfrm>
        </p:spPr>
        <p:txBody>
          <a:bodyPr wrap="square">
            <a:spAutoFit/>
          </a:bodyPr>
          <a:lstStyle>
            <a:lvl1pPr algn="ctr">
              <a:lnSpc>
                <a:spcPct val="140000"/>
              </a:lnSpc>
              <a:defRPr sz="2100" b="0" i="0">
                <a:solidFill>
                  <a:schemeClr val="bg1"/>
                </a:solidFill>
              </a:defRPr>
            </a:lvl1pPr>
          </a:lstStyle>
          <a:p>
            <a:r>
              <a:rPr lang="de-DE"/>
              <a:t>Description text dolor amet, consectetur adipisicing, lorem smet in alerno repre erit inaet voluptate.</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8995190"/>
            <a:ext cx="4849888" cy="365549"/>
          </a:xfrm>
        </p:spPr>
        <p:txBody>
          <a:bodyPr wrap="square">
            <a:spAutoFit/>
          </a:bodyPr>
          <a:lstStyle>
            <a:lvl1pPr algn="ctr">
              <a:lnSpc>
                <a:spcPct val="130000"/>
              </a:lnSpc>
              <a:defRPr sz="2000" b="0" i="0" cap="all" spc="200" baseline="0">
                <a:solidFill>
                  <a:schemeClr val="bg1"/>
                </a:solidFill>
                <a:latin typeface="Arial" panose="020B0604020202020204" pitchFamily="34" charset="0"/>
              </a:defRPr>
            </a:lvl1pPr>
          </a:lstStyle>
          <a:p>
            <a:r>
              <a:rPr lang="de-DE"/>
              <a:t>Subtitle</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b="0" i="0">
                <a:solidFill>
                  <a:schemeClr val="bg1"/>
                </a:solidFill>
                <a:latin typeface="Times New Roman" panose="02020603050405020304" pitchFamily="18" charset="0"/>
              </a:defRPr>
            </a:lvl1pPr>
          </a:lstStyle>
          <a:p>
            <a:r>
              <a:rPr lang="en-US"/>
              <a:t>Month</a:t>
            </a:r>
          </a:p>
        </p:txBody>
      </p:sp>
      <p:sp>
        <p:nvSpPr>
          <p:cNvPr id="21" name="Text Placeholder 8">
            <a:extLst>
              <a:ext uri="{FF2B5EF4-FFF2-40B4-BE49-F238E27FC236}">
                <a16:creationId xmlns:a16="http://schemas.microsoft.com/office/drawing/2014/main" id="{DCBE138F-8246-4485-8617-3F013826CCAD}"/>
              </a:ext>
            </a:extLst>
          </p:cNvPr>
          <p:cNvSpPr>
            <a:spLocks noGrp="1"/>
          </p:cNvSpPr>
          <p:nvPr>
            <p:ph type="body" sz="quarter" idx="60" hasCustomPrompt="1"/>
          </p:nvPr>
        </p:nvSpPr>
        <p:spPr>
          <a:xfrm>
            <a:off x="7577522" y="9756857"/>
            <a:ext cx="4248837" cy="1318438"/>
          </a:xfrm>
        </p:spPr>
        <p:txBody>
          <a:bodyPr wrap="square">
            <a:spAutoFit/>
          </a:bodyPr>
          <a:lstStyle>
            <a:lvl1pPr algn="ctr">
              <a:lnSpc>
                <a:spcPct val="140000"/>
              </a:lnSpc>
              <a:defRPr sz="2100" b="0" i="0">
                <a:solidFill>
                  <a:schemeClr val="bg1"/>
                </a:solidFill>
              </a:defRPr>
            </a:lvl1pPr>
          </a:lstStyle>
          <a:p>
            <a:r>
              <a:rPr lang="de-DE"/>
              <a:t>Description text dolor amet, consectetur adipisicing, lorem smet in alerno repre erit inaet voluptate.</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8995190"/>
            <a:ext cx="4849888" cy="365549"/>
          </a:xfrm>
        </p:spPr>
        <p:txBody>
          <a:bodyPr wrap="square">
            <a:spAutoFit/>
          </a:bodyPr>
          <a:lstStyle>
            <a:lvl1pPr algn="ctr">
              <a:lnSpc>
                <a:spcPct val="130000"/>
              </a:lnSpc>
              <a:defRPr sz="2000" b="0" i="0" cap="all" spc="200" baseline="0">
                <a:solidFill>
                  <a:schemeClr val="bg1"/>
                </a:solidFill>
                <a:latin typeface="Arial" panose="020B0604020202020204" pitchFamily="34" charset="0"/>
              </a:defRPr>
            </a:lvl1pPr>
          </a:lstStyle>
          <a:p>
            <a:r>
              <a:rPr lang="de-DE"/>
              <a:t>Subtitle</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b="0" i="0">
                <a:solidFill>
                  <a:schemeClr val="bg1"/>
                </a:solidFill>
                <a:latin typeface="Times New Roman" panose="02020603050405020304" pitchFamily="18" charset="0"/>
              </a:defRPr>
            </a:lvl1pPr>
          </a:lstStyle>
          <a:p>
            <a:r>
              <a:rPr lang="en-US"/>
              <a:t>Month</a:t>
            </a:r>
          </a:p>
        </p:txBody>
      </p:sp>
      <p:sp>
        <p:nvSpPr>
          <p:cNvPr id="24" name="Text Placeholder 8">
            <a:extLst>
              <a:ext uri="{FF2B5EF4-FFF2-40B4-BE49-F238E27FC236}">
                <a16:creationId xmlns:a16="http://schemas.microsoft.com/office/drawing/2014/main" id="{048FD75B-366C-4758-AFD7-42ABBEC10C95}"/>
              </a:ext>
            </a:extLst>
          </p:cNvPr>
          <p:cNvSpPr>
            <a:spLocks noGrp="1"/>
          </p:cNvSpPr>
          <p:nvPr>
            <p:ph type="body" sz="quarter" idx="63" hasCustomPrompt="1"/>
          </p:nvPr>
        </p:nvSpPr>
        <p:spPr>
          <a:xfrm>
            <a:off x="12577014" y="9756857"/>
            <a:ext cx="4248837" cy="1318438"/>
          </a:xfrm>
        </p:spPr>
        <p:txBody>
          <a:bodyPr wrap="square">
            <a:spAutoFit/>
          </a:bodyPr>
          <a:lstStyle>
            <a:lvl1pPr algn="ctr">
              <a:lnSpc>
                <a:spcPct val="140000"/>
              </a:lnSpc>
              <a:defRPr sz="2100" b="0" i="0">
                <a:solidFill>
                  <a:schemeClr val="bg1"/>
                </a:solidFill>
              </a:defRPr>
            </a:lvl1pPr>
          </a:lstStyle>
          <a:p>
            <a:r>
              <a:rPr lang="de-DE"/>
              <a:t>Description text dolor amet, consectetur adipisicing, lorem smet in alerno repre erit inaet voluptate.</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8995190"/>
            <a:ext cx="4849888" cy="365549"/>
          </a:xfrm>
        </p:spPr>
        <p:txBody>
          <a:bodyPr wrap="square">
            <a:spAutoFit/>
          </a:bodyPr>
          <a:lstStyle>
            <a:lvl1pPr algn="ctr">
              <a:lnSpc>
                <a:spcPct val="130000"/>
              </a:lnSpc>
              <a:defRPr sz="2000" b="0" i="0" cap="all" spc="200" baseline="0">
                <a:solidFill>
                  <a:schemeClr val="bg1"/>
                </a:solidFill>
                <a:latin typeface="Arial" panose="020B0604020202020204" pitchFamily="34" charset="0"/>
              </a:defRPr>
            </a:lvl1pPr>
          </a:lstStyle>
          <a:p>
            <a:r>
              <a:rPr lang="de-DE"/>
              <a:t>Subtitle</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b="0" i="0">
                <a:solidFill>
                  <a:schemeClr val="bg1"/>
                </a:solidFill>
                <a:latin typeface="Times New Roman" panose="02020603050405020304" pitchFamily="18" charset="0"/>
              </a:defRPr>
            </a:lvl1pPr>
          </a:lstStyle>
          <a:p>
            <a:r>
              <a:rPr lang="en-US"/>
              <a:t>Month</a:t>
            </a:r>
          </a:p>
        </p:txBody>
      </p:sp>
      <p:sp>
        <p:nvSpPr>
          <p:cNvPr id="27" name="Text Placeholder 8">
            <a:extLst>
              <a:ext uri="{FF2B5EF4-FFF2-40B4-BE49-F238E27FC236}">
                <a16:creationId xmlns:a16="http://schemas.microsoft.com/office/drawing/2014/main" id="{256A8A8C-5EF6-4F35-BEB9-C946B0E8483F}"/>
              </a:ext>
            </a:extLst>
          </p:cNvPr>
          <p:cNvSpPr>
            <a:spLocks noGrp="1"/>
          </p:cNvSpPr>
          <p:nvPr>
            <p:ph type="body" sz="quarter" idx="66" hasCustomPrompt="1"/>
          </p:nvPr>
        </p:nvSpPr>
        <p:spPr>
          <a:xfrm>
            <a:off x="17576505" y="9756857"/>
            <a:ext cx="4248837" cy="1318438"/>
          </a:xfrm>
        </p:spPr>
        <p:txBody>
          <a:bodyPr wrap="square">
            <a:spAutoFit/>
          </a:bodyPr>
          <a:lstStyle>
            <a:lvl1pPr algn="ctr">
              <a:lnSpc>
                <a:spcPct val="140000"/>
              </a:lnSpc>
              <a:defRPr sz="2100" b="0" i="0">
                <a:solidFill>
                  <a:schemeClr val="bg1"/>
                </a:solidFill>
              </a:defRPr>
            </a:lvl1pPr>
          </a:lstStyle>
          <a:p>
            <a:r>
              <a:rPr lang="de-DE"/>
              <a:t>Description text dolor amet, consectetur adipisicing, lorem smet in alerno repre erit inaet voluptate.</a:t>
            </a:r>
          </a:p>
        </p:txBody>
      </p:sp>
      <p:sp>
        <p:nvSpPr>
          <p:cNvPr id="29" name="Shape">
            <a:extLst>
              <a:ext uri="{FF2B5EF4-FFF2-40B4-BE49-F238E27FC236}">
                <a16:creationId xmlns:a16="http://schemas.microsoft.com/office/drawing/2014/main" id="{F56F2F10-90D5-496B-A407-B9E08CED7E8A}"/>
              </a:ext>
            </a:extLst>
          </p:cNvPr>
          <p:cNvSpPr>
            <a:spLocks noGrp="1"/>
          </p:cNvSpPr>
          <p:nvPr>
            <p:ph type="body" sz="quarter" idx="24" hasCustomPrompt="1"/>
          </p:nvPr>
        </p:nvSpPr>
        <p:spPr>
          <a:xfrm>
            <a:off x="4469314"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b="0" i="0">
                <a:solidFill>
                  <a:schemeClr val="bg1"/>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0" name="Shape">
            <a:extLst>
              <a:ext uri="{FF2B5EF4-FFF2-40B4-BE49-F238E27FC236}">
                <a16:creationId xmlns:a16="http://schemas.microsoft.com/office/drawing/2014/main" id="{F1F04511-37F4-4DF5-AA15-F9ABE7393DF6}"/>
              </a:ext>
            </a:extLst>
          </p:cNvPr>
          <p:cNvSpPr>
            <a:spLocks noGrp="1"/>
          </p:cNvSpPr>
          <p:nvPr>
            <p:ph type="body" sz="quarter" idx="28" hasCustomPrompt="1"/>
          </p:nvPr>
        </p:nvSpPr>
        <p:spPr>
          <a:xfrm>
            <a:off x="9468807"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b="0" i="0">
                <a:solidFill>
                  <a:schemeClr val="bg1"/>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1" name="Shape">
            <a:extLst>
              <a:ext uri="{FF2B5EF4-FFF2-40B4-BE49-F238E27FC236}">
                <a16:creationId xmlns:a16="http://schemas.microsoft.com/office/drawing/2014/main" id="{F0901FE0-8B00-47B5-820A-4182E854E0F6}"/>
              </a:ext>
            </a:extLst>
          </p:cNvPr>
          <p:cNvSpPr>
            <a:spLocks noGrp="1"/>
          </p:cNvSpPr>
          <p:nvPr>
            <p:ph type="body" sz="quarter" idx="32" hasCustomPrompt="1"/>
          </p:nvPr>
        </p:nvSpPr>
        <p:spPr>
          <a:xfrm>
            <a:off x="14468300"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b="0" i="0">
                <a:solidFill>
                  <a:schemeClr val="bg1"/>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2" name="Shape">
            <a:extLst>
              <a:ext uri="{FF2B5EF4-FFF2-40B4-BE49-F238E27FC236}">
                <a16:creationId xmlns:a16="http://schemas.microsoft.com/office/drawing/2014/main" id="{38A83B6B-64E9-437C-AD64-3CA92539644F}"/>
              </a:ext>
            </a:extLst>
          </p:cNvPr>
          <p:cNvSpPr>
            <a:spLocks noGrp="1"/>
          </p:cNvSpPr>
          <p:nvPr>
            <p:ph type="body" sz="quarter" idx="36" hasCustomPrompt="1"/>
          </p:nvPr>
        </p:nvSpPr>
        <p:spPr>
          <a:xfrm>
            <a:off x="19467793"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b="0" i="0">
                <a:solidFill>
                  <a:schemeClr val="bg1"/>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grpSp>
        <p:nvGrpSpPr>
          <p:cNvPr id="34" name="Group">
            <a:extLst>
              <a:ext uri="{FF2B5EF4-FFF2-40B4-BE49-F238E27FC236}">
                <a16:creationId xmlns:a16="http://schemas.microsoft.com/office/drawing/2014/main" id="{43134443-80BA-4C53-A934-6FD418C5910C}"/>
              </a:ext>
            </a:extLst>
          </p:cNvPr>
          <p:cNvGrpSpPr/>
          <p:nvPr userDrawn="1"/>
        </p:nvGrpSpPr>
        <p:grpSpPr>
          <a:xfrm>
            <a:off x="885450" y="12829819"/>
            <a:ext cx="885653" cy="885653"/>
            <a:chOff x="0" y="0"/>
            <a:chExt cx="885651" cy="885651"/>
          </a:xfrm>
        </p:grpSpPr>
        <p:sp>
          <p:nvSpPr>
            <p:cNvPr id="35" name="Square">
              <a:extLst>
                <a:ext uri="{FF2B5EF4-FFF2-40B4-BE49-F238E27FC236}">
                  <a16:creationId xmlns:a16="http://schemas.microsoft.com/office/drawing/2014/main" id="{AB486088-E5C7-4701-8AD5-5FE15506D14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36" name="Image">
              <a:extLst>
                <a:ext uri="{FF2B5EF4-FFF2-40B4-BE49-F238E27FC236}">
                  <a16:creationId xmlns:a16="http://schemas.microsoft.com/office/drawing/2014/main" id="{8D901641-9A04-462E-8E36-D11EE59201A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87596096"/>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3 w. MYM (I)">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a:effectLst>
            <a:outerShdw blurRad="469900" dist="25400" dir="5400000" algn="ctr" rotWithShape="0">
              <a:srgbClr val="000000">
                <a:alpha val="29000"/>
              </a:srgbClr>
            </a:outerShdw>
          </a:effectLst>
        </p:spPr>
        <p:txBody>
          <a:bodyPr>
            <a:spAutoFit/>
          </a:bodyPr>
          <a:lstStyle>
            <a:lvl1pPr algn="ctr">
              <a:defRPr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a:effectLst>
            <a:outerShdw blurRad="469900" dist="25400" dir="5400000" algn="ctr" rotWithShape="0">
              <a:schemeClr val="tx1">
                <a:alpha val="29000"/>
              </a:schemeClr>
            </a:outerShdw>
          </a:effectLst>
        </p:spPr>
        <p:txBody>
          <a:bodyPr>
            <a:noAutofit/>
          </a:bodyPr>
          <a:lstStyle>
            <a:lvl1pPr algn="ctr">
              <a:defRPr sz="2000" b="0" i="0" cap="all" baseline="0">
                <a:solidFill>
                  <a:schemeClr val="bg1"/>
                </a:solidFill>
                <a:latin typeface="Arial" panose="020B0604020202020204" pitchFamily="34" charset="0"/>
                <a:cs typeface="Arial" panose="020B0604020202020204" pitchFamily="34" charset="0"/>
              </a:defRPr>
            </a:lvl1pPr>
          </a:lstStyle>
          <a:p>
            <a:endParaRPr lang="de-DE"/>
          </a:p>
        </p:txBody>
      </p:sp>
      <p:sp>
        <p:nvSpPr>
          <p:cNvPr id="8" name="Image">
            <a:extLst>
              <a:ext uri="{FF2B5EF4-FFF2-40B4-BE49-F238E27FC236}">
                <a16:creationId xmlns:a16="http://schemas.microsoft.com/office/drawing/2014/main" id="{58B2D7BB-0F33-4A52-97AC-3786B97C42BD}"/>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b="0" i="0">
                <a:solidFill>
                  <a:schemeClr val="bg1"/>
                </a:solidFill>
              </a:defRPr>
            </a:lvl1pPr>
          </a:lstStyle>
          <a:p>
            <a:r>
              <a:rPr lang="de-DE"/>
              <a:t>Add Logo</a:t>
            </a:r>
            <a:endParaRPr/>
          </a:p>
        </p:txBody>
      </p:sp>
      <p:sp>
        <p:nvSpPr>
          <p:cNvPr id="3" name="Title 2">
            <a:extLst>
              <a:ext uri="{FF2B5EF4-FFF2-40B4-BE49-F238E27FC236}">
                <a16:creationId xmlns:a16="http://schemas.microsoft.com/office/drawing/2014/main" id="{DD7B7258-74F8-4842-93C9-ADB48F887A49}"/>
              </a:ext>
            </a:extLst>
          </p:cNvPr>
          <p:cNvSpPr>
            <a:spLocks noGrp="1"/>
          </p:cNvSpPr>
          <p:nvPr>
            <p:ph type="title" hasCustomPrompt="1"/>
          </p:nvPr>
        </p:nvSpPr>
        <p:spPr>
          <a:xfrm>
            <a:off x="0" y="5971540"/>
            <a:ext cx="24384000" cy="2117503"/>
          </a:xfrm>
          <a:effectLst>
            <a:outerShdw blurRad="469900" dist="25400" dir="5400000" algn="ctr" rotWithShape="0">
              <a:schemeClr val="tx1">
                <a:alpha val="29000"/>
              </a:schemeClr>
            </a:outerShdw>
          </a:effectLst>
        </p:spPr>
        <p:txBody>
          <a:bodyPr anchor="t">
            <a:noAutofit/>
          </a:bodyPr>
          <a:lstStyle>
            <a:lvl1pPr algn="ctr">
              <a:lnSpc>
                <a:spcPct val="80000"/>
              </a:lnSpc>
              <a:defRPr sz="12200">
                <a:solidFill>
                  <a:schemeClr val="bg1"/>
                </a:solidFill>
              </a:defRPr>
            </a:lvl1pPr>
          </a:lstStyle>
          <a:p>
            <a:r>
              <a:rPr lang="de-DE"/>
              <a:t>Presentation title</a:t>
            </a:r>
          </a:p>
        </p:txBody>
      </p:sp>
      <p:sp>
        <p:nvSpPr>
          <p:cNvPr id="12" name="Image">
            <a:extLst>
              <a:ext uri="{FF2B5EF4-FFF2-40B4-BE49-F238E27FC236}">
                <a16:creationId xmlns:a16="http://schemas.microsoft.com/office/drawing/2014/main" id="{9EB9DBA8-673B-4AFB-A69A-E326FDDABD7C}"/>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a:effectLst>
            <a:outerShdw blurRad="469900" dist="25400" dir="5400000" algn="ctr" rotWithShape="0">
              <a:srgbClr val="000000">
                <a:alpha val="29000"/>
              </a:srgbClr>
            </a:outerShdw>
          </a:effectLst>
        </p:spPr>
        <p:txBody>
          <a:bodyPr lIns="91439" tIns="45719" rIns="91439" bIns="45719">
            <a:noAutofit/>
          </a:bodyPr>
          <a:lstStyle>
            <a:lvl1pPr>
              <a:defRPr b="0" i="0">
                <a:solidFill>
                  <a:schemeClr val="bg1"/>
                </a:solidFill>
              </a:defRPr>
            </a:lvl1pPr>
          </a:lstStyle>
          <a:p>
            <a:r>
              <a:rPr lang="de-DE"/>
              <a:t> </a:t>
            </a:r>
            <a:endParaRPr/>
          </a:p>
        </p:txBody>
      </p:sp>
    </p:spTree>
    <p:extLst>
      <p:ext uri="{BB962C8B-B14F-4D97-AF65-F5344CB8AC3E}">
        <p14:creationId xmlns:p14="http://schemas.microsoft.com/office/powerpoint/2010/main" val="392897635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meline + text 2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51ED766-DA15-4AC0-AFE9-42BDCD82A001}"/>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159AE81D-93FC-4B96-A9A4-08216B640E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7958478"/>
            <a:ext cx="4849888" cy="365549"/>
          </a:xfrm>
        </p:spPr>
        <p:txBody>
          <a:bodyPr wrap="square">
            <a:spAutoFit/>
          </a:bodyPr>
          <a:lstStyle>
            <a:lvl1pPr algn="ctr">
              <a:lnSpc>
                <a:spcPct val="130000"/>
              </a:lnSpc>
              <a:defRPr sz="2000" b="0" i="0" cap="all" spc="200" baseline="0">
                <a:latin typeface="Arial" panose="020B0604020202020204" pitchFamily="34" charset="0"/>
              </a:defRPr>
            </a:lvl1pPr>
          </a:lstStyle>
          <a:p>
            <a:r>
              <a:rPr lang="de-DE"/>
              <a:t>02 Weeks</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b="0" i="0">
                <a:latin typeface="Times New Roman" panose="02020603050405020304" pitchFamily="18" charset="0"/>
              </a:defRPr>
            </a:lvl1pPr>
          </a:lstStyle>
          <a:p>
            <a:r>
              <a:rPr lang="de-DE"/>
              <a:t>Subhead</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7958478"/>
            <a:ext cx="4849888" cy="365549"/>
          </a:xfrm>
        </p:spPr>
        <p:txBody>
          <a:bodyPr wrap="square">
            <a:spAutoFit/>
          </a:bodyPr>
          <a:lstStyle>
            <a:lvl1pPr algn="ctr">
              <a:lnSpc>
                <a:spcPct val="130000"/>
              </a:lnSpc>
              <a:defRPr sz="2000" b="0" i="0" cap="all" spc="200" baseline="0">
                <a:latin typeface="Arial" panose="020B0604020202020204" pitchFamily="34" charset="0"/>
              </a:defRPr>
            </a:lvl1pPr>
          </a:lstStyle>
          <a:p>
            <a:r>
              <a:rPr lang="de-DE"/>
              <a:t>02 Weeks</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b="0" i="0">
                <a:latin typeface="Times New Roman" panose="02020603050405020304" pitchFamily="18" charset="0"/>
              </a:defRPr>
            </a:lvl1pPr>
          </a:lstStyle>
          <a:p>
            <a:r>
              <a:rPr lang="de-DE"/>
              <a:t>Subhead</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7958478"/>
            <a:ext cx="4849888" cy="365549"/>
          </a:xfrm>
        </p:spPr>
        <p:txBody>
          <a:bodyPr wrap="square">
            <a:spAutoFit/>
          </a:bodyPr>
          <a:lstStyle>
            <a:lvl1pPr algn="ctr">
              <a:lnSpc>
                <a:spcPct val="130000"/>
              </a:lnSpc>
              <a:defRPr sz="2000" b="0" i="0" cap="all" spc="200" baseline="0">
                <a:latin typeface="Arial" panose="020B0604020202020204" pitchFamily="34" charset="0"/>
              </a:defRPr>
            </a:lvl1pPr>
          </a:lstStyle>
          <a:p>
            <a:r>
              <a:rPr lang="de-DE"/>
              <a:t>02 Weeks</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b="0" i="0">
                <a:latin typeface="Times New Roman" panose="02020603050405020304" pitchFamily="18" charset="0"/>
              </a:defRPr>
            </a:lvl1pPr>
          </a:lstStyle>
          <a:p>
            <a:r>
              <a:rPr lang="de-DE"/>
              <a:t>Subhead</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7958478"/>
            <a:ext cx="4849888" cy="365549"/>
          </a:xfrm>
        </p:spPr>
        <p:txBody>
          <a:bodyPr wrap="square">
            <a:spAutoFit/>
          </a:bodyPr>
          <a:lstStyle>
            <a:lvl1pPr algn="ctr">
              <a:lnSpc>
                <a:spcPct val="130000"/>
              </a:lnSpc>
              <a:defRPr sz="2000" b="0" i="0" cap="all" spc="200" baseline="0">
                <a:latin typeface="Arial" panose="020B0604020202020204" pitchFamily="34" charset="0"/>
              </a:defRPr>
            </a:lvl1pPr>
          </a:lstStyle>
          <a:p>
            <a:r>
              <a:rPr lang="de-DE"/>
              <a:t>02 Weeks</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b="0" i="0">
                <a:latin typeface="Times New Roman" panose="02020603050405020304" pitchFamily="18" charset="0"/>
              </a:defRPr>
            </a:lvl1pPr>
          </a:lstStyle>
          <a:p>
            <a:r>
              <a:rPr lang="de-DE"/>
              <a:t>Subhead</a:t>
            </a:r>
          </a:p>
        </p:txBody>
      </p:sp>
      <p:sp>
        <p:nvSpPr>
          <p:cNvPr id="33" name="Line">
            <a:extLst>
              <a:ext uri="{FF2B5EF4-FFF2-40B4-BE49-F238E27FC236}">
                <a16:creationId xmlns:a16="http://schemas.microsoft.com/office/drawing/2014/main" id="{BB856735-AC5D-4D34-AE41-8CACEB2B9180}"/>
              </a:ext>
            </a:extLst>
          </p:cNvPr>
          <p:cNvSpPr/>
          <p:nvPr userDrawn="1"/>
        </p:nvSpPr>
        <p:spPr>
          <a:xfrm>
            <a:off x="1765299" y="8940800"/>
            <a:ext cx="20853402" cy="0"/>
          </a:xfrm>
          <a:prstGeom prst="line">
            <a:avLst/>
          </a:prstGeom>
          <a:ln w="12700">
            <a:solidFill>
              <a:srgbClr val="C6C6C6"/>
            </a:solidFill>
            <a:miter lim="400000"/>
          </a:ln>
        </p:spPr>
        <p:txBody>
          <a:bodyPr lIns="45718" tIns="45718" rIns="45718" bIns="45718"/>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sp>
        <p:nvSpPr>
          <p:cNvPr id="38" name="Rectangle">
            <a:extLst>
              <a:ext uri="{FF2B5EF4-FFF2-40B4-BE49-F238E27FC236}">
                <a16:creationId xmlns:a16="http://schemas.microsoft.com/office/drawing/2014/main" id="{53A0A45A-30BE-4B36-8AC8-01912D0684BA}"/>
              </a:ext>
            </a:extLst>
          </p:cNvPr>
          <p:cNvSpPr>
            <a:spLocks noGrp="1"/>
          </p:cNvSpPr>
          <p:nvPr>
            <p:ph type="body" sz="quarter" idx="25" hasCustomPrompt="1"/>
          </p:nvPr>
        </p:nvSpPr>
        <p:spPr>
          <a:xfrm>
            <a:off x="2387958" y="8820060"/>
            <a:ext cx="4628981"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i="0">
                <a:solidFill>
                  <a:schemeClr val="accent1">
                    <a:lumOff val="-57413"/>
                  </a:schemeClr>
                </a:solidFill>
              </a:defRPr>
            </a:lvl1pPr>
          </a:lstStyle>
          <a:p>
            <a:r>
              <a:t> </a:t>
            </a:r>
            <a:r>
              <a:rPr lang="de-DE"/>
              <a:t> </a:t>
            </a:r>
            <a:endParaRPr/>
          </a:p>
        </p:txBody>
      </p:sp>
      <p:sp>
        <p:nvSpPr>
          <p:cNvPr id="39" name="Rectangle">
            <a:extLst>
              <a:ext uri="{FF2B5EF4-FFF2-40B4-BE49-F238E27FC236}">
                <a16:creationId xmlns:a16="http://schemas.microsoft.com/office/drawing/2014/main" id="{BF2EC53F-046A-4A99-9C60-8222C1FAD131}"/>
              </a:ext>
            </a:extLst>
          </p:cNvPr>
          <p:cNvSpPr>
            <a:spLocks noGrp="1"/>
          </p:cNvSpPr>
          <p:nvPr>
            <p:ph type="body" sz="quarter" idx="67" hasCustomPrompt="1"/>
          </p:nvPr>
        </p:nvSpPr>
        <p:spPr>
          <a:xfrm>
            <a:off x="7387450"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i="0">
                <a:solidFill>
                  <a:schemeClr val="accent1">
                    <a:lumOff val="-57413"/>
                  </a:schemeClr>
                </a:solidFill>
              </a:defRPr>
            </a:lvl1pPr>
          </a:lstStyle>
          <a:p>
            <a:r>
              <a:t> </a:t>
            </a:r>
            <a:r>
              <a:rPr lang="de-DE"/>
              <a:t> </a:t>
            </a:r>
            <a:endParaRPr/>
          </a:p>
        </p:txBody>
      </p:sp>
      <p:sp>
        <p:nvSpPr>
          <p:cNvPr id="40" name="Rectangle">
            <a:extLst>
              <a:ext uri="{FF2B5EF4-FFF2-40B4-BE49-F238E27FC236}">
                <a16:creationId xmlns:a16="http://schemas.microsoft.com/office/drawing/2014/main" id="{71ADA886-A9F7-4995-A1B0-61CE727D4925}"/>
              </a:ext>
            </a:extLst>
          </p:cNvPr>
          <p:cNvSpPr>
            <a:spLocks noGrp="1"/>
          </p:cNvSpPr>
          <p:nvPr>
            <p:ph type="body" sz="quarter" idx="68" hasCustomPrompt="1"/>
          </p:nvPr>
        </p:nvSpPr>
        <p:spPr>
          <a:xfrm>
            <a:off x="12386941"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i="0">
                <a:solidFill>
                  <a:schemeClr val="accent1">
                    <a:lumOff val="-57413"/>
                  </a:schemeClr>
                </a:solidFill>
              </a:defRPr>
            </a:lvl1pPr>
          </a:lstStyle>
          <a:p>
            <a:r>
              <a:t> </a:t>
            </a:r>
            <a:r>
              <a:rPr lang="de-DE"/>
              <a:t> </a:t>
            </a:r>
            <a:endParaRPr/>
          </a:p>
        </p:txBody>
      </p:sp>
      <p:sp>
        <p:nvSpPr>
          <p:cNvPr id="41" name="Rectangle">
            <a:extLst>
              <a:ext uri="{FF2B5EF4-FFF2-40B4-BE49-F238E27FC236}">
                <a16:creationId xmlns:a16="http://schemas.microsoft.com/office/drawing/2014/main" id="{74199E17-18C5-4483-9E36-1372EED2A903}"/>
              </a:ext>
            </a:extLst>
          </p:cNvPr>
          <p:cNvSpPr>
            <a:spLocks noGrp="1"/>
          </p:cNvSpPr>
          <p:nvPr>
            <p:ph type="body" sz="quarter" idx="28" hasCustomPrompt="1"/>
          </p:nvPr>
        </p:nvSpPr>
        <p:spPr>
          <a:xfrm>
            <a:off x="17386433"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i="0">
                <a:solidFill>
                  <a:schemeClr val="accent1">
                    <a:lumOff val="-57413"/>
                  </a:schemeClr>
                </a:solidFill>
              </a:defRPr>
            </a:lvl1pPr>
          </a:lstStyle>
          <a:p>
            <a:r>
              <a:t> </a:t>
            </a:r>
            <a:r>
              <a:rPr lang="de-DE"/>
              <a:t> </a:t>
            </a:r>
            <a:endParaRPr/>
          </a:p>
        </p:txBody>
      </p:sp>
      <p:sp>
        <p:nvSpPr>
          <p:cNvPr id="44" name="Text Placeholder 8">
            <a:extLst>
              <a:ext uri="{FF2B5EF4-FFF2-40B4-BE49-F238E27FC236}">
                <a16:creationId xmlns:a16="http://schemas.microsoft.com/office/drawing/2014/main" id="{99D7DDC2-003C-4F7C-BC9B-66A499537DB2}"/>
              </a:ext>
            </a:extLst>
          </p:cNvPr>
          <p:cNvSpPr>
            <a:spLocks noGrp="1"/>
          </p:cNvSpPr>
          <p:nvPr>
            <p:ph type="body" sz="quarter" idx="27" hasCustomPrompt="1"/>
          </p:nvPr>
        </p:nvSpPr>
        <p:spPr>
          <a:xfrm>
            <a:off x="2578030" y="9756857"/>
            <a:ext cx="4248837" cy="1312988"/>
          </a:xfrm>
        </p:spPr>
        <p:txBody>
          <a:bodyPr wrap="square">
            <a:spAutoFit/>
          </a:bodyPr>
          <a:lstStyle>
            <a:lvl1pPr algn="ctr">
              <a:lnSpc>
                <a:spcPct val="140000"/>
              </a:lnSpc>
              <a:defRPr sz="2100" b="0" i="0">
                <a:solidFill>
                  <a:schemeClr val="tx1"/>
                </a:solidFill>
              </a:defRPr>
            </a:lvl1pPr>
          </a:lstStyle>
          <a:p>
            <a:r>
              <a:rPr lang="de-DE"/>
              <a:t>Description text dolor amet, consectetur adipisicing, lorem smet in alerno.</a:t>
            </a:r>
          </a:p>
        </p:txBody>
      </p:sp>
      <p:sp>
        <p:nvSpPr>
          <p:cNvPr id="45" name="Text Placeholder 8">
            <a:extLst>
              <a:ext uri="{FF2B5EF4-FFF2-40B4-BE49-F238E27FC236}">
                <a16:creationId xmlns:a16="http://schemas.microsoft.com/office/drawing/2014/main" id="{CEB712C5-117A-4252-9EFD-639CDE87AC12}"/>
              </a:ext>
            </a:extLst>
          </p:cNvPr>
          <p:cNvSpPr>
            <a:spLocks noGrp="1"/>
          </p:cNvSpPr>
          <p:nvPr>
            <p:ph type="body" sz="quarter" idx="60" hasCustomPrompt="1"/>
          </p:nvPr>
        </p:nvSpPr>
        <p:spPr>
          <a:xfrm>
            <a:off x="7577522" y="9756857"/>
            <a:ext cx="4248837" cy="1312988"/>
          </a:xfrm>
        </p:spPr>
        <p:txBody>
          <a:bodyPr wrap="square">
            <a:spAutoFit/>
          </a:bodyPr>
          <a:lstStyle>
            <a:lvl1pPr algn="ctr">
              <a:lnSpc>
                <a:spcPct val="140000"/>
              </a:lnSpc>
              <a:defRPr sz="2100" b="0" i="0">
                <a:solidFill>
                  <a:schemeClr val="tx1"/>
                </a:solidFill>
              </a:defRPr>
            </a:lvl1pPr>
          </a:lstStyle>
          <a:p>
            <a:r>
              <a:rPr lang="de-DE"/>
              <a:t>Description text dolor amet, consectetur adipisicing, lorem smet in alerno.</a:t>
            </a:r>
          </a:p>
        </p:txBody>
      </p:sp>
      <p:sp>
        <p:nvSpPr>
          <p:cNvPr id="46" name="Text Placeholder 8">
            <a:extLst>
              <a:ext uri="{FF2B5EF4-FFF2-40B4-BE49-F238E27FC236}">
                <a16:creationId xmlns:a16="http://schemas.microsoft.com/office/drawing/2014/main" id="{1BD6A2A8-C22C-4826-86EE-38D3297A90B0}"/>
              </a:ext>
            </a:extLst>
          </p:cNvPr>
          <p:cNvSpPr>
            <a:spLocks noGrp="1"/>
          </p:cNvSpPr>
          <p:nvPr>
            <p:ph type="body" sz="quarter" idx="63" hasCustomPrompt="1"/>
          </p:nvPr>
        </p:nvSpPr>
        <p:spPr>
          <a:xfrm>
            <a:off x="12577014" y="9756857"/>
            <a:ext cx="4248837" cy="1312988"/>
          </a:xfrm>
        </p:spPr>
        <p:txBody>
          <a:bodyPr wrap="square">
            <a:spAutoFit/>
          </a:bodyPr>
          <a:lstStyle>
            <a:lvl1pPr algn="ctr">
              <a:lnSpc>
                <a:spcPct val="140000"/>
              </a:lnSpc>
              <a:defRPr sz="2100" b="0" i="0">
                <a:solidFill>
                  <a:schemeClr val="tx1"/>
                </a:solidFill>
              </a:defRPr>
            </a:lvl1pPr>
          </a:lstStyle>
          <a:p>
            <a:r>
              <a:rPr lang="de-DE"/>
              <a:t>Description text dolor amet, consectetur adipisicing, lorem smet in alerno.</a:t>
            </a:r>
          </a:p>
        </p:txBody>
      </p:sp>
      <p:sp>
        <p:nvSpPr>
          <p:cNvPr id="47" name="Text Placeholder 8">
            <a:extLst>
              <a:ext uri="{FF2B5EF4-FFF2-40B4-BE49-F238E27FC236}">
                <a16:creationId xmlns:a16="http://schemas.microsoft.com/office/drawing/2014/main" id="{453E802C-C954-4DC7-BC56-BEA367A364E2}"/>
              </a:ext>
            </a:extLst>
          </p:cNvPr>
          <p:cNvSpPr>
            <a:spLocks noGrp="1"/>
          </p:cNvSpPr>
          <p:nvPr>
            <p:ph type="body" sz="quarter" idx="69" hasCustomPrompt="1"/>
          </p:nvPr>
        </p:nvSpPr>
        <p:spPr>
          <a:xfrm>
            <a:off x="17576505" y="9756857"/>
            <a:ext cx="4248837" cy="1312988"/>
          </a:xfrm>
        </p:spPr>
        <p:txBody>
          <a:bodyPr wrap="square">
            <a:spAutoFit/>
          </a:bodyPr>
          <a:lstStyle>
            <a:lvl1pPr algn="ctr">
              <a:lnSpc>
                <a:spcPct val="140000"/>
              </a:lnSpc>
              <a:defRPr sz="2100" b="0" i="0">
                <a:solidFill>
                  <a:schemeClr val="tx1"/>
                </a:solidFill>
              </a:defRPr>
            </a:lvl1pPr>
          </a:lstStyle>
          <a:p>
            <a:r>
              <a:rPr lang="de-DE"/>
              <a:t>Description text dolor amet, consectetur adipisicing, lorem smet in alerno.</a:t>
            </a:r>
          </a:p>
        </p:txBody>
      </p:sp>
    </p:spTree>
    <p:extLst>
      <p:ext uri="{BB962C8B-B14F-4D97-AF65-F5344CB8AC3E}">
        <p14:creationId xmlns:p14="http://schemas.microsoft.com/office/powerpoint/2010/main" val="4148995874"/>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meline + text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C51ED766-DA15-4AC0-AFE9-42BDCD82A001}"/>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7958478"/>
            <a:ext cx="4849888" cy="365549"/>
          </a:xfrm>
        </p:spPr>
        <p:txBody>
          <a:bodyPr wrap="square">
            <a:spAutoFit/>
          </a:bodyPr>
          <a:lstStyle>
            <a:lvl1pPr algn="ctr">
              <a:lnSpc>
                <a:spcPct val="130000"/>
              </a:lnSpc>
              <a:defRPr sz="2000" b="0" i="0" cap="all" spc="200" baseline="0">
                <a:solidFill>
                  <a:schemeClr val="bg1"/>
                </a:solidFill>
                <a:latin typeface="Arial" panose="020B0604020202020204" pitchFamily="34" charset="0"/>
              </a:defRPr>
            </a:lvl1pPr>
          </a:lstStyle>
          <a:p>
            <a:r>
              <a:rPr lang="de-DE"/>
              <a:t>02 Weeks</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b="0" i="0">
                <a:solidFill>
                  <a:schemeClr val="bg1"/>
                </a:solidFill>
                <a:latin typeface="Times New Roman" panose="02020603050405020304" pitchFamily="18" charset="0"/>
              </a:defRPr>
            </a:lvl1pPr>
          </a:lstStyle>
          <a:p>
            <a:r>
              <a:rPr lang="de-DE"/>
              <a:t>Subhead</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7958478"/>
            <a:ext cx="4849888" cy="365549"/>
          </a:xfrm>
        </p:spPr>
        <p:txBody>
          <a:bodyPr wrap="square">
            <a:spAutoFit/>
          </a:bodyPr>
          <a:lstStyle>
            <a:lvl1pPr algn="ctr">
              <a:lnSpc>
                <a:spcPct val="130000"/>
              </a:lnSpc>
              <a:defRPr sz="2000" b="0" i="0" cap="all" spc="200" baseline="0">
                <a:solidFill>
                  <a:schemeClr val="bg1"/>
                </a:solidFill>
                <a:latin typeface="Arial" panose="020B0604020202020204" pitchFamily="34" charset="0"/>
              </a:defRPr>
            </a:lvl1pPr>
          </a:lstStyle>
          <a:p>
            <a:r>
              <a:rPr lang="de-DE"/>
              <a:t>02 Weeks</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b="0" i="0">
                <a:solidFill>
                  <a:schemeClr val="bg1"/>
                </a:solidFill>
                <a:latin typeface="Times New Roman" panose="02020603050405020304" pitchFamily="18" charset="0"/>
              </a:defRPr>
            </a:lvl1pPr>
          </a:lstStyle>
          <a:p>
            <a:r>
              <a:rPr lang="de-DE"/>
              <a:t>Subhead</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7958478"/>
            <a:ext cx="4849888" cy="365549"/>
          </a:xfrm>
        </p:spPr>
        <p:txBody>
          <a:bodyPr wrap="square">
            <a:spAutoFit/>
          </a:bodyPr>
          <a:lstStyle>
            <a:lvl1pPr algn="ctr">
              <a:lnSpc>
                <a:spcPct val="130000"/>
              </a:lnSpc>
              <a:defRPr sz="2000" b="0" i="0" cap="all" spc="200" baseline="0">
                <a:solidFill>
                  <a:schemeClr val="bg1"/>
                </a:solidFill>
                <a:latin typeface="Arial" panose="020B0604020202020204" pitchFamily="34" charset="0"/>
              </a:defRPr>
            </a:lvl1pPr>
          </a:lstStyle>
          <a:p>
            <a:r>
              <a:rPr lang="de-DE"/>
              <a:t>02 Weeks</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b="0" i="0">
                <a:solidFill>
                  <a:schemeClr val="bg1"/>
                </a:solidFill>
                <a:latin typeface="Times New Roman" panose="02020603050405020304" pitchFamily="18" charset="0"/>
              </a:defRPr>
            </a:lvl1pPr>
          </a:lstStyle>
          <a:p>
            <a:r>
              <a:rPr lang="de-DE"/>
              <a:t>Subhead</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7958478"/>
            <a:ext cx="4849888" cy="365549"/>
          </a:xfrm>
        </p:spPr>
        <p:txBody>
          <a:bodyPr wrap="square">
            <a:spAutoFit/>
          </a:bodyPr>
          <a:lstStyle>
            <a:lvl1pPr algn="ctr">
              <a:lnSpc>
                <a:spcPct val="130000"/>
              </a:lnSpc>
              <a:defRPr sz="2000" b="0" i="0" cap="all" spc="200" baseline="0">
                <a:solidFill>
                  <a:schemeClr val="bg1"/>
                </a:solidFill>
                <a:latin typeface="Arial" panose="020B0604020202020204" pitchFamily="34" charset="0"/>
              </a:defRPr>
            </a:lvl1pPr>
          </a:lstStyle>
          <a:p>
            <a:r>
              <a:rPr lang="de-DE"/>
              <a:t>02 Weeks</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b="0" i="0">
                <a:solidFill>
                  <a:schemeClr val="bg1"/>
                </a:solidFill>
                <a:latin typeface="Times New Roman" panose="02020603050405020304" pitchFamily="18" charset="0"/>
              </a:defRPr>
            </a:lvl1pPr>
          </a:lstStyle>
          <a:p>
            <a:r>
              <a:rPr lang="de-DE"/>
              <a:t>Subhead</a:t>
            </a:r>
          </a:p>
        </p:txBody>
      </p:sp>
      <p:sp>
        <p:nvSpPr>
          <p:cNvPr id="33" name="Line">
            <a:extLst>
              <a:ext uri="{FF2B5EF4-FFF2-40B4-BE49-F238E27FC236}">
                <a16:creationId xmlns:a16="http://schemas.microsoft.com/office/drawing/2014/main" id="{BB856735-AC5D-4D34-AE41-8CACEB2B9180}"/>
              </a:ext>
            </a:extLst>
          </p:cNvPr>
          <p:cNvSpPr/>
          <p:nvPr userDrawn="1"/>
        </p:nvSpPr>
        <p:spPr>
          <a:xfrm>
            <a:off x="1765299" y="8940800"/>
            <a:ext cx="20853402" cy="0"/>
          </a:xfrm>
          <a:prstGeom prst="line">
            <a:avLst/>
          </a:prstGeom>
          <a:ln w="12700">
            <a:solidFill>
              <a:srgbClr val="C6C6C6"/>
            </a:solidFill>
            <a:miter lim="400000"/>
          </a:ln>
        </p:spPr>
        <p:txBody>
          <a:bodyPr lIns="45718" tIns="45718" rIns="45718" bIns="45718"/>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sp>
        <p:nvSpPr>
          <p:cNvPr id="38" name="Rectangle">
            <a:extLst>
              <a:ext uri="{FF2B5EF4-FFF2-40B4-BE49-F238E27FC236}">
                <a16:creationId xmlns:a16="http://schemas.microsoft.com/office/drawing/2014/main" id="{53A0A45A-30BE-4B36-8AC8-01912D0684BA}"/>
              </a:ext>
            </a:extLst>
          </p:cNvPr>
          <p:cNvSpPr>
            <a:spLocks noGrp="1"/>
          </p:cNvSpPr>
          <p:nvPr>
            <p:ph type="body" sz="quarter" idx="25" hasCustomPrompt="1"/>
          </p:nvPr>
        </p:nvSpPr>
        <p:spPr>
          <a:xfrm>
            <a:off x="2387958" y="8820060"/>
            <a:ext cx="4628981"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i="0">
                <a:solidFill>
                  <a:schemeClr val="accent1">
                    <a:lumOff val="-57413"/>
                  </a:schemeClr>
                </a:solidFill>
              </a:defRPr>
            </a:lvl1pPr>
          </a:lstStyle>
          <a:p>
            <a:r>
              <a:t> </a:t>
            </a:r>
            <a:r>
              <a:rPr lang="de-DE"/>
              <a:t> </a:t>
            </a:r>
            <a:endParaRPr/>
          </a:p>
        </p:txBody>
      </p:sp>
      <p:sp>
        <p:nvSpPr>
          <p:cNvPr id="39" name="Rectangle">
            <a:extLst>
              <a:ext uri="{FF2B5EF4-FFF2-40B4-BE49-F238E27FC236}">
                <a16:creationId xmlns:a16="http://schemas.microsoft.com/office/drawing/2014/main" id="{BF2EC53F-046A-4A99-9C60-8222C1FAD131}"/>
              </a:ext>
            </a:extLst>
          </p:cNvPr>
          <p:cNvSpPr>
            <a:spLocks noGrp="1"/>
          </p:cNvSpPr>
          <p:nvPr>
            <p:ph type="body" sz="quarter" idx="67" hasCustomPrompt="1"/>
          </p:nvPr>
        </p:nvSpPr>
        <p:spPr>
          <a:xfrm>
            <a:off x="7387450"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i="0">
                <a:solidFill>
                  <a:schemeClr val="accent1">
                    <a:lumOff val="-57413"/>
                  </a:schemeClr>
                </a:solidFill>
              </a:defRPr>
            </a:lvl1pPr>
          </a:lstStyle>
          <a:p>
            <a:r>
              <a:t> </a:t>
            </a:r>
            <a:r>
              <a:rPr lang="de-DE"/>
              <a:t> </a:t>
            </a:r>
            <a:endParaRPr/>
          </a:p>
        </p:txBody>
      </p:sp>
      <p:sp>
        <p:nvSpPr>
          <p:cNvPr id="40" name="Rectangle">
            <a:extLst>
              <a:ext uri="{FF2B5EF4-FFF2-40B4-BE49-F238E27FC236}">
                <a16:creationId xmlns:a16="http://schemas.microsoft.com/office/drawing/2014/main" id="{71ADA886-A9F7-4995-A1B0-61CE727D4925}"/>
              </a:ext>
            </a:extLst>
          </p:cNvPr>
          <p:cNvSpPr>
            <a:spLocks noGrp="1"/>
          </p:cNvSpPr>
          <p:nvPr>
            <p:ph type="body" sz="quarter" idx="68" hasCustomPrompt="1"/>
          </p:nvPr>
        </p:nvSpPr>
        <p:spPr>
          <a:xfrm>
            <a:off x="12386941"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i="0">
                <a:solidFill>
                  <a:schemeClr val="accent1">
                    <a:lumOff val="-57413"/>
                  </a:schemeClr>
                </a:solidFill>
              </a:defRPr>
            </a:lvl1pPr>
          </a:lstStyle>
          <a:p>
            <a:r>
              <a:t> </a:t>
            </a:r>
            <a:r>
              <a:rPr lang="de-DE"/>
              <a:t> </a:t>
            </a:r>
            <a:endParaRPr/>
          </a:p>
        </p:txBody>
      </p:sp>
      <p:sp>
        <p:nvSpPr>
          <p:cNvPr id="41" name="Rectangle">
            <a:extLst>
              <a:ext uri="{FF2B5EF4-FFF2-40B4-BE49-F238E27FC236}">
                <a16:creationId xmlns:a16="http://schemas.microsoft.com/office/drawing/2014/main" id="{74199E17-18C5-4483-9E36-1372EED2A903}"/>
              </a:ext>
            </a:extLst>
          </p:cNvPr>
          <p:cNvSpPr>
            <a:spLocks noGrp="1"/>
          </p:cNvSpPr>
          <p:nvPr>
            <p:ph type="body" sz="quarter" idx="28" hasCustomPrompt="1"/>
          </p:nvPr>
        </p:nvSpPr>
        <p:spPr>
          <a:xfrm>
            <a:off x="17386433"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i="0">
                <a:solidFill>
                  <a:schemeClr val="accent1">
                    <a:lumOff val="-57413"/>
                  </a:schemeClr>
                </a:solidFill>
              </a:defRPr>
            </a:lvl1pPr>
          </a:lstStyle>
          <a:p>
            <a:r>
              <a:t> </a:t>
            </a:r>
            <a:r>
              <a:rPr lang="de-DE"/>
              <a:t> </a:t>
            </a:r>
            <a:endParaRPr/>
          </a:p>
        </p:txBody>
      </p:sp>
      <p:grpSp>
        <p:nvGrpSpPr>
          <p:cNvPr id="28" name="Group">
            <a:extLst>
              <a:ext uri="{FF2B5EF4-FFF2-40B4-BE49-F238E27FC236}">
                <a16:creationId xmlns:a16="http://schemas.microsoft.com/office/drawing/2014/main" id="{7ADA3D0B-EAFF-460C-847A-B2F723C296AA}"/>
              </a:ext>
            </a:extLst>
          </p:cNvPr>
          <p:cNvGrpSpPr/>
          <p:nvPr userDrawn="1"/>
        </p:nvGrpSpPr>
        <p:grpSpPr>
          <a:xfrm>
            <a:off x="885450" y="12829819"/>
            <a:ext cx="885653" cy="885653"/>
            <a:chOff x="0" y="0"/>
            <a:chExt cx="885651" cy="885651"/>
          </a:xfrm>
        </p:grpSpPr>
        <p:sp>
          <p:nvSpPr>
            <p:cNvPr id="29" name="Square">
              <a:extLst>
                <a:ext uri="{FF2B5EF4-FFF2-40B4-BE49-F238E27FC236}">
                  <a16:creationId xmlns:a16="http://schemas.microsoft.com/office/drawing/2014/main" id="{59C7F952-5303-4E6D-A88A-C09E81AEC807}"/>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30" name="Image">
              <a:extLst>
                <a:ext uri="{FF2B5EF4-FFF2-40B4-BE49-F238E27FC236}">
                  <a16:creationId xmlns:a16="http://schemas.microsoft.com/office/drawing/2014/main" id="{DFABBE8C-24C4-468A-BB15-D6942478433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31" name="Text Placeholder 8">
            <a:extLst>
              <a:ext uri="{FF2B5EF4-FFF2-40B4-BE49-F238E27FC236}">
                <a16:creationId xmlns:a16="http://schemas.microsoft.com/office/drawing/2014/main" id="{B2CCC859-2A58-4C0B-B095-005FE5ECD18F}"/>
              </a:ext>
            </a:extLst>
          </p:cNvPr>
          <p:cNvSpPr>
            <a:spLocks noGrp="1"/>
          </p:cNvSpPr>
          <p:nvPr>
            <p:ph type="body" sz="quarter" idx="27" hasCustomPrompt="1"/>
          </p:nvPr>
        </p:nvSpPr>
        <p:spPr>
          <a:xfrm>
            <a:off x="2578030" y="9756857"/>
            <a:ext cx="4248837" cy="1312988"/>
          </a:xfrm>
        </p:spPr>
        <p:txBody>
          <a:bodyPr wrap="square">
            <a:spAutoFit/>
          </a:bodyPr>
          <a:lstStyle>
            <a:lvl1pPr algn="ctr">
              <a:lnSpc>
                <a:spcPct val="140000"/>
              </a:lnSpc>
              <a:defRPr sz="2100" b="0" i="0">
                <a:solidFill>
                  <a:schemeClr val="bg1"/>
                </a:solidFill>
              </a:defRPr>
            </a:lvl1pPr>
          </a:lstStyle>
          <a:p>
            <a:r>
              <a:rPr lang="de-DE"/>
              <a:t>Description text dolor amet, consectetur adipisicing, lorem smet in alerno.</a:t>
            </a:r>
          </a:p>
        </p:txBody>
      </p:sp>
      <p:sp>
        <p:nvSpPr>
          <p:cNvPr id="32" name="Text Placeholder 8">
            <a:extLst>
              <a:ext uri="{FF2B5EF4-FFF2-40B4-BE49-F238E27FC236}">
                <a16:creationId xmlns:a16="http://schemas.microsoft.com/office/drawing/2014/main" id="{EED16F9B-D758-4F1C-910C-258F970E685A}"/>
              </a:ext>
            </a:extLst>
          </p:cNvPr>
          <p:cNvSpPr>
            <a:spLocks noGrp="1"/>
          </p:cNvSpPr>
          <p:nvPr>
            <p:ph type="body" sz="quarter" idx="60" hasCustomPrompt="1"/>
          </p:nvPr>
        </p:nvSpPr>
        <p:spPr>
          <a:xfrm>
            <a:off x="7577522" y="9756857"/>
            <a:ext cx="4248837" cy="1312988"/>
          </a:xfrm>
        </p:spPr>
        <p:txBody>
          <a:bodyPr wrap="square">
            <a:spAutoFit/>
          </a:bodyPr>
          <a:lstStyle>
            <a:lvl1pPr algn="ctr">
              <a:lnSpc>
                <a:spcPct val="140000"/>
              </a:lnSpc>
              <a:defRPr sz="2100" b="0" i="0">
                <a:solidFill>
                  <a:schemeClr val="bg1"/>
                </a:solidFill>
              </a:defRPr>
            </a:lvl1pPr>
          </a:lstStyle>
          <a:p>
            <a:r>
              <a:rPr lang="de-DE"/>
              <a:t>Description text dolor amet, consectetur adipisicing, lorem smet in alerno.</a:t>
            </a:r>
          </a:p>
        </p:txBody>
      </p:sp>
      <p:sp>
        <p:nvSpPr>
          <p:cNvPr id="34" name="Text Placeholder 8">
            <a:extLst>
              <a:ext uri="{FF2B5EF4-FFF2-40B4-BE49-F238E27FC236}">
                <a16:creationId xmlns:a16="http://schemas.microsoft.com/office/drawing/2014/main" id="{66FECFB6-D2D4-428C-B174-5BBCB87AD961}"/>
              </a:ext>
            </a:extLst>
          </p:cNvPr>
          <p:cNvSpPr>
            <a:spLocks noGrp="1"/>
          </p:cNvSpPr>
          <p:nvPr>
            <p:ph type="body" sz="quarter" idx="63" hasCustomPrompt="1"/>
          </p:nvPr>
        </p:nvSpPr>
        <p:spPr>
          <a:xfrm>
            <a:off x="12577014" y="9756857"/>
            <a:ext cx="4248837" cy="1312988"/>
          </a:xfrm>
        </p:spPr>
        <p:txBody>
          <a:bodyPr wrap="square">
            <a:spAutoFit/>
          </a:bodyPr>
          <a:lstStyle>
            <a:lvl1pPr algn="ctr">
              <a:lnSpc>
                <a:spcPct val="140000"/>
              </a:lnSpc>
              <a:defRPr sz="2100" b="0" i="0">
                <a:solidFill>
                  <a:schemeClr val="bg1"/>
                </a:solidFill>
              </a:defRPr>
            </a:lvl1pPr>
          </a:lstStyle>
          <a:p>
            <a:r>
              <a:rPr lang="de-DE"/>
              <a:t>Description text dolor amet, consectetur adipisicing, lorem smet in alerno.</a:t>
            </a:r>
          </a:p>
        </p:txBody>
      </p:sp>
      <p:sp>
        <p:nvSpPr>
          <p:cNvPr id="35" name="Text Placeholder 8">
            <a:extLst>
              <a:ext uri="{FF2B5EF4-FFF2-40B4-BE49-F238E27FC236}">
                <a16:creationId xmlns:a16="http://schemas.microsoft.com/office/drawing/2014/main" id="{FE9B9E04-A147-42F7-A4D6-730F3CFA95A3}"/>
              </a:ext>
            </a:extLst>
          </p:cNvPr>
          <p:cNvSpPr>
            <a:spLocks noGrp="1"/>
          </p:cNvSpPr>
          <p:nvPr>
            <p:ph type="body" sz="quarter" idx="69" hasCustomPrompt="1"/>
          </p:nvPr>
        </p:nvSpPr>
        <p:spPr>
          <a:xfrm>
            <a:off x="17576505" y="9756857"/>
            <a:ext cx="4248837" cy="1312988"/>
          </a:xfrm>
        </p:spPr>
        <p:txBody>
          <a:bodyPr wrap="square">
            <a:spAutoFit/>
          </a:bodyPr>
          <a:lstStyle>
            <a:lvl1pPr algn="ctr">
              <a:lnSpc>
                <a:spcPct val="140000"/>
              </a:lnSpc>
              <a:defRPr sz="2100" b="0" i="0">
                <a:solidFill>
                  <a:schemeClr val="bg1"/>
                </a:solidFill>
              </a:defRPr>
            </a:lvl1pPr>
          </a:lstStyle>
          <a:p>
            <a:r>
              <a:rPr lang="de-DE"/>
              <a:t>Description text dolor amet, consectetur adipisicing, lorem smet in alerno.</a:t>
            </a:r>
          </a:p>
        </p:txBody>
      </p:sp>
    </p:spTree>
    <p:extLst>
      <p:ext uri="{BB962C8B-B14F-4D97-AF65-F5344CB8AC3E}">
        <p14:creationId xmlns:p14="http://schemas.microsoft.com/office/powerpoint/2010/main" val="535596778"/>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x" preserve="1">
  <p:cSld name="Closer">
    <p:bg>
      <p:bgPr>
        <a:solidFill>
          <a:schemeClr val="accent1">
            <a:lumOff val="-57413"/>
          </a:schemeClr>
        </a:solidFill>
        <a:effectLst/>
      </p:bgPr>
    </p:bg>
    <p:spTree>
      <p:nvGrpSpPr>
        <p:cNvPr id="1" name=""/>
        <p:cNvGrpSpPr/>
        <p:nvPr/>
      </p:nvGrpSpPr>
      <p:grpSpPr>
        <a:xfrm>
          <a:off x="0" y="0"/>
          <a:ext cx="0" cy="0"/>
          <a:chOff x="0" y="0"/>
          <a:chExt cx="0" cy="0"/>
        </a:xfrm>
      </p:grpSpPr>
      <p:pic>
        <p:nvPicPr>
          <p:cNvPr id="2284" name="Image"/>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022751" y="5061303"/>
            <a:ext cx="5684237" cy="3593394"/>
          </a:xfrm>
          <a:prstGeom prst="rect">
            <a:avLst/>
          </a:prstGeom>
          <a:ln w="12700">
            <a:miter lim="400000"/>
          </a:ln>
        </p:spPr>
      </p:pic>
      <p:pic>
        <p:nvPicPr>
          <p:cNvPr id="2285" name="Imag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8850" y="13045467"/>
            <a:ext cx="2641562" cy="235319"/>
          </a:xfrm>
          <a:prstGeom prst="rect">
            <a:avLst/>
          </a:prstGeom>
          <a:ln w="12700">
            <a:miter lim="400000"/>
          </a:ln>
        </p:spPr>
      </p:pic>
      <p:sp>
        <p:nvSpPr>
          <p:cNvPr id="5" name="© 2021 frog design inc.">
            <a:extLst>
              <a:ext uri="{FF2B5EF4-FFF2-40B4-BE49-F238E27FC236}">
                <a16:creationId xmlns:a16="http://schemas.microsoft.com/office/drawing/2014/main" id="{C4C21606-DC00-884E-AA23-3902B2B11D61}"/>
              </a:ext>
            </a:extLst>
          </p:cNvPr>
          <p:cNvSpPr/>
          <p:nvPr userDrawn="1"/>
        </p:nvSpPr>
        <p:spPr>
          <a:xfrm>
            <a:off x="18904225" y="13045468"/>
            <a:ext cx="454289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marR="0">
              <a:lnSpc>
                <a:spcPct val="100000"/>
              </a:lnSpc>
              <a:defRPr sz="1600" spc="48">
                <a:solidFill>
                  <a:srgbClr val="FFFFFF"/>
                </a:solidFill>
                <a:uFill>
                  <a:solidFill>
                    <a:srgbClr val="919191"/>
                  </a:solidFill>
                </a:uFill>
              </a:defRPr>
            </a:lvl1pPr>
          </a:lstStyle>
          <a:p>
            <a:pPr defTabSz="914400">
              <a:defRPr>
                <a:solidFill>
                  <a:srgbClr val="A6AAA9"/>
                </a:solidFill>
              </a:defRPr>
            </a:pPr>
            <a:r>
              <a:rPr lang="en-US" b="0" i="0">
                <a:solidFill>
                  <a:schemeClr val="bg1"/>
                </a:solidFill>
                <a:latin typeface="Arial" panose="020B0604020202020204" pitchFamily="34" charset="0"/>
                <a:cs typeface="Arial" panose="020B0604020202020204" pitchFamily="34" charset="0"/>
              </a:rPr>
              <a:t>© confidential | frog, Part of Capgemini Invent</a:t>
            </a:r>
            <a:endParaRPr b="0" i="0">
              <a:solidFill>
                <a:schemeClr val="bg1"/>
              </a:solidFill>
              <a:latin typeface="Arial" panose="020B0604020202020204" pitchFamily="34" charset="0"/>
              <a:cs typeface="Arial" panose="020B0604020202020204" pitchFamily="34" charset="0"/>
            </a:endParaRPr>
          </a:p>
        </p:txBody>
      </p:sp>
    </p:spTree>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x" preserve="1">
  <p:cSld name="Closer thank you">
    <p:bg>
      <p:bgPr>
        <a:solidFill>
          <a:schemeClr val="accent1">
            <a:lumOff val="-57413"/>
          </a:schemeClr>
        </a:solidFill>
        <a:effectLst/>
      </p:bgPr>
    </p:bg>
    <p:spTree>
      <p:nvGrpSpPr>
        <p:cNvPr id="1" name=""/>
        <p:cNvGrpSpPr/>
        <p:nvPr/>
      </p:nvGrpSpPr>
      <p:grpSpPr>
        <a:xfrm>
          <a:off x="0" y="0"/>
          <a:ext cx="0" cy="0"/>
          <a:chOff x="0" y="0"/>
          <a:chExt cx="0" cy="0"/>
        </a:xfrm>
      </p:grpSpPr>
      <p:sp>
        <p:nvSpPr>
          <p:cNvPr id="2283" name="© 2021 frog design inc."/>
          <p:cNvSpPr/>
          <p:nvPr/>
        </p:nvSpPr>
        <p:spPr>
          <a:xfrm>
            <a:off x="18904225" y="13045468"/>
            <a:ext cx="454289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marR="0">
              <a:lnSpc>
                <a:spcPct val="100000"/>
              </a:lnSpc>
              <a:defRPr sz="1600" spc="48">
                <a:solidFill>
                  <a:srgbClr val="FFFFFF"/>
                </a:solidFill>
                <a:uFill>
                  <a:solidFill>
                    <a:srgbClr val="919191"/>
                  </a:solidFill>
                </a:uFill>
              </a:defRPr>
            </a:lvl1pPr>
          </a:lstStyle>
          <a:p>
            <a:pPr defTabSz="914400">
              <a:defRPr>
                <a:solidFill>
                  <a:srgbClr val="A6AAA9"/>
                </a:solidFill>
              </a:defRPr>
            </a:pPr>
            <a:r>
              <a:rPr lang="en-US" b="0" i="0">
                <a:solidFill>
                  <a:schemeClr val="bg1"/>
                </a:solidFill>
                <a:latin typeface="Arial" panose="020B0604020202020204" pitchFamily="34" charset="0"/>
                <a:cs typeface="Arial" panose="020B0604020202020204" pitchFamily="34" charset="0"/>
              </a:rPr>
              <a:t>© confidential | frog, Part of Capgemini Invent</a:t>
            </a:r>
            <a:endParaRPr b="0" i="0">
              <a:solidFill>
                <a:schemeClr val="bg1"/>
              </a:solidFill>
              <a:latin typeface="Arial" panose="020B0604020202020204" pitchFamily="34" charset="0"/>
              <a:cs typeface="Arial" panose="020B0604020202020204" pitchFamily="34" charset="0"/>
            </a:endParaRPr>
          </a:p>
        </p:txBody>
      </p:sp>
      <p:pic>
        <p:nvPicPr>
          <p:cNvPr id="2285" name="Image"/>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58850" y="13045467"/>
            <a:ext cx="2641562" cy="235319"/>
          </a:xfrm>
          <a:prstGeom prst="rect">
            <a:avLst/>
          </a:prstGeom>
          <a:ln w="12700">
            <a:miter lim="400000"/>
          </a:ln>
        </p:spPr>
      </p:pic>
      <p:sp>
        <p:nvSpPr>
          <p:cNvPr id="5" name="Thank you.">
            <a:extLst>
              <a:ext uri="{FF2B5EF4-FFF2-40B4-BE49-F238E27FC236}">
                <a16:creationId xmlns:a16="http://schemas.microsoft.com/office/drawing/2014/main" id="{7DC992BB-7E28-486D-BF2B-123DE388E90E}"/>
              </a:ext>
            </a:extLst>
          </p:cNvPr>
          <p:cNvSpPr/>
          <p:nvPr userDrawn="1"/>
        </p:nvSpPr>
        <p:spPr>
          <a:xfrm>
            <a:off x="10677644" y="9251245"/>
            <a:ext cx="3028714" cy="64017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spAutoFit/>
          </a:bodyPr>
          <a:lstStyle>
            <a:lvl1pPr algn="ctr">
              <a:defRPr sz="5200" spc="-52">
                <a:solidFill>
                  <a:srgbClr val="FFFFFF"/>
                </a:solidFill>
                <a:latin typeface="Quarto Light"/>
                <a:ea typeface="Quarto Light"/>
                <a:cs typeface="Quarto Light"/>
                <a:sym typeface="Quarto Light"/>
              </a:defRPr>
            </a:lvl1pPr>
          </a:lstStyle>
          <a:p>
            <a:pPr>
              <a:defRPr>
                <a:solidFill>
                  <a:schemeClr val="accent1">
                    <a:lumOff val="-57413"/>
                  </a:schemeClr>
                </a:solidFill>
              </a:defRPr>
            </a:pPr>
            <a:r>
              <a:rPr b="0" i="0">
                <a:solidFill>
                  <a:schemeClr val="bg1"/>
                </a:solidFill>
                <a:latin typeface="Times New Roman" panose="02020603050405020304" pitchFamily="18" charset="0"/>
                <a:cs typeface="Times New Roman" panose="02020603050405020304" pitchFamily="18" charset="0"/>
              </a:rPr>
              <a:t>Thank you.</a:t>
            </a:r>
          </a:p>
        </p:txBody>
      </p:sp>
      <p:pic>
        <p:nvPicPr>
          <p:cNvPr id="6" name="Image" descr="Image">
            <a:extLst>
              <a:ext uri="{FF2B5EF4-FFF2-40B4-BE49-F238E27FC236}">
                <a16:creationId xmlns:a16="http://schemas.microsoft.com/office/drawing/2014/main" id="{14E4D6CD-A6BF-41A0-96CA-46CE1C3EC7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96006" y="4484746"/>
            <a:ext cx="5137728" cy="3247908"/>
          </a:xfrm>
          <a:prstGeom prst="rect">
            <a:avLst/>
          </a:prstGeom>
          <a:ln w="12700">
            <a:miter lim="400000"/>
          </a:ln>
        </p:spPr>
      </p:pic>
    </p:spTree>
    <p:extLst>
      <p:ext uri="{BB962C8B-B14F-4D97-AF65-F5344CB8AC3E}">
        <p14:creationId xmlns:p14="http://schemas.microsoft.com/office/powerpoint/2010/main" val="2720600179"/>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x" preserve="1">
  <p:cSld name="Closer text">
    <p:bg>
      <p:bgPr>
        <a:solidFill>
          <a:schemeClr val="accent1">
            <a:lumOff val="-57413"/>
          </a:schemeClr>
        </a:solidFill>
        <a:effectLst/>
      </p:bgPr>
    </p:bg>
    <p:spTree>
      <p:nvGrpSpPr>
        <p:cNvPr id="1" name=""/>
        <p:cNvGrpSpPr/>
        <p:nvPr/>
      </p:nvGrpSpPr>
      <p:grpSpPr>
        <a:xfrm>
          <a:off x="0" y="0"/>
          <a:ext cx="0" cy="0"/>
          <a:chOff x="0" y="0"/>
          <a:chExt cx="0" cy="0"/>
        </a:xfrm>
      </p:grpSpPr>
      <p:pic>
        <p:nvPicPr>
          <p:cNvPr id="10" name="Image">
            <a:extLst>
              <a:ext uri="{FF2B5EF4-FFF2-40B4-BE49-F238E27FC236}">
                <a16:creationId xmlns:a16="http://schemas.microsoft.com/office/drawing/2014/main" id="{858ECFCF-7A4B-C549-AFD3-A7D6DDBEC004}"/>
              </a:ext>
            </a:extLst>
          </p:cNvPr>
          <p:cNvPicPr>
            <a:picLocks noChangeAspect="1"/>
          </p:cNvPicPr>
          <p:nvPr userDrawn="1"/>
        </p:nvPicPr>
        <p:blipFill>
          <a:blip r:embed="rId2">
            <a:alphaModFix amt="15000"/>
          </a:blip>
          <a:stretch>
            <a:fillRect/>
          </a:stretch>
        </p:blipFill>
        <p:spPr>
          <a:xfrm>
            <a:off x="8413974" y="218494"/>
            <a:ext cx="19930473" cy="12599412"/>
          </a:xfrm>
          <a:prstGeom prst="rect">
            <a:avLst/>
          </a:prstGeom>
          <a:ln w="12700">
            <a:miter lim="400000"/>
          </a:ln>
        </p:spPr>
      </p:pic>
      <p:pic>
        <p:nvPicPr>
          <p:cNvPr id="6" name="frog-Cap-Invent-logo-horizontal-white.png">
            <a:extLst>
              <a:ext uri="{FF2B5EF4-FFF2-40B4-BE49-F238E27FC236}">
                <a16:creationId xmlns:a16="http://schemas.microsoft.com/office/drawing/2014/main" id="{BF652BA5-5EC4-A74E-807F-337E348D147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37854" y="1248053"/>
            <a:ext cx="6045063" cy="1638686"/>
          </a:xfrm>
          <a:prstGeom prst="rect">
            <a:avLst/>
          </a:prstGeom>
          <a:ln w="12700">
            <a:miter lim="400000"/>
          </a:ln>
        </p:spPr>
      </p:pic>
      <p:sp>
        <p:nvSpPr>
          <p:cNvPr id="7" name="frog is a leading global design and strategy consultancy.…">
            <a:extLst>
              <a:ext uri="{FF2B5EF4-FFF2-40B4-BE49-F238E27FC236}">
                <a16:creationId xmlns:a16="http://schemas.microsoft.com/office/drawing/2014/main" id="{333752A4-41B3-6C41-8DE8-0441918088BF}"/>
              </a:ext>
            </a:extLst>
          </p:cNvPr>
          <p:cNvSpPr txBox="1"/>
          <p:nvPr userDrawn="1"/>
        </p:nvSpPr>
        <p:spPr>
          <a:xfrm>
            <a:off x="6983165" y="4800171"/>
            <a:ext cx="11835167" cy="63030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spAutoFit/>
          </a:bodyPr>
          <a:lstStyle/>
          <a:p>
            <a:pPr marR="0" defTabSz="822960">
              <a:lnSpc>
                <a:spcPct val="130000"/>
              </a:lnSpc>
              <a:defRPr>
                <a:solidFill>
                  <a:schemeClr val="accent6"/>
                </a:solidFill>
                <a:uFillTx/>
              </a:defRPr>
            </a:pPr>
            <a:r>
              <a:rPr lang="en-US" b="1" i="0">
                <a:solidFill>
                  <a:schemeClr val="bg1"/>
                </a:solidFill>
                <a:latin typeface="Arial" panose="020B0604020202020204" pitchFamily="34" charset="0"/>
                <a:ea typeface="BentonSansF Medium"/>
                <a:cs typeface="Arial" panose="020B0604020202020204" pitchFamily="34" charset="0"/>
                <a:sym typeface="BentonSansF Medium"/>
              </a:rPr>
              <a:t>frog is a leading global creative consultancy, part of Capgemini Invent</a:t>
            </a:r>
          </a:p>
          <a:p>
            <a:pPr marR="0" defTabSz="822960">
              <a:lnSpc>
                <a:spcPct val="130000"/>
              </a:lnSpc>
              <a:defRPr>
                <a:solidFill>
                  <a:schemeClr val="accent6"/>
                </a:solidFill>
                <a:uFillTx/>
              </a:defRPr>
            </a:pPr>
            <a:endParaRPr b="1" i="0">
              <a:solidFill>
                <a:schemeClr val="bg1"/>
              </a:solidFill>
              <a:latin typeface="Arial" panose="020B0604020202020204" pitchFamily="34" charset="0"/>
              <a:ea typeface="BentonSansF Medium"/>
              <a:cs typeface="Arial" panose="020B0604020202020204" pitchFamily="34" charset="0"/>
              <a:sym typeface="BentonSansF Medium"/>
            </a:endParaRPr>
          </a:p>
          <a:p>
            <a:pPr marR="0" defTabSz="822960">
              <a:lnSpc>
                <a:spcPct val="130000"/>
              </a:lnSpc>
              <a:defRPr>
                <a:solidFill>
                  <a:schemeClr val="accent6"/>
                </a:solidFill>
                <a:uFillTx/>
              </a:defRPr>
            </a:pPr>
            <a:r>
              <a:rPr lang="en-US" b="0" i="0">
                <a:solidFill>
                  <a:schemeClr val="bg1"/>
                </a:solidFill>
                <a:latin typeface="Arial" panose="020B0604020202020204" pitchFamily="34" charset="0"/>
                <a:cs typeface="Arial" panose="020B0604020202020204" pitchFamily="34" charset="0"/>
              </a:rPr>
              <a:t>We challenge the status quo to craft and build transformative human experiences that win hearts and move markets. </a:t>
            </a:r>
          </a:p>
          <a:p>
            <a:pPr marR="0" defTabSz="822960">
              <a:lnSpc>
                <a:spcPct val="130000"/>
              </a:lnSpc>
              <a:defRPr>
                <a:solidFill>
                  <a:schemeClr val="accent6"/>
                </a:solidFill>
                <a:uFillTx/>
              </a:defRPr>
            </a:pPr>
            <a:endParaRPr lang="en-US" b="0" i="0">
              <a:solidFill>
                <a:schemeClr val="bg1"/>
              </a:solidFill>
              <a:latin typeface="Arial" panose="020B0604020202020204" pitchFamily="34" charset="0"/>
              <a:cs typeface="Arial" panose="020B0604020202020204" pitchFamily="34" charset="0"/>
            </a:endParaRPr>
          </a:p>
          <a:p>
            <a:pPr marR="0" defTabSz="822960">
              <a:lnSpc>
                <a:spcPct val="130000"/>
              </a:lnSpc>
              <a:defRPr>
                <a:solidFill>
                  <a:schemeClr val="accent6"/>
                </a:solidFill>
                <a:uFillTx/>
              </a:defRPr>
            </a:pPr>
            <a:r>
              <a:rPr lang="en-US" b="0" i="0">
                <a:solidFill>
                  <a:schemeClr val="bg1"/>
                </a:solidFill>
                <a:latin typeface="Arial" panose="020B0604020202020204" pitchFamily="34" charset="0"/>
                <a:cs typeface="Arial" panose="020B0604020202020204" pitchFamily="34" charset="0"/>
              </a:rPr>
              <a:t>Partnering with passionate leaders and visionary entrepreneurs, we apply creativity, strategy, design and data to re-invent businesses, drive growth and orchestrate customer centric transformation.</a:t>
            </a:r>
          </a:p>
          <a:p>
            <a:pPr marR="0" defTabSz="822960">
              <a:lnSpc>
                <a:spcPct val="130000"/>
              </a:lnSpc>
              <a:defRPr>
                <a:solidFill>
                  <a:schemeClr val="accent6"/>
                </a:solidFill>
                <a:uFillTx/>
              </a:defRPr>
            </a:pPr>
            <a:endParaRPr lang="en-US" b="0" i="0">
              <a:solidFill>
                <a:schemeClr val="bg1"/>
              </a:solidFill>
              <a:latin typeface="Arial" panose="020B0604020202020204" pitchFamily="34" charset="0"/>
              <a:cs typeface="Arial" panose="020B0604020202020204" pitchFamily="34" charset="0"/>
            </a:endParaRPr>
          </a:p>
          <a:p>
            <a:pPr marR="0" defTabSz="822960">
              <a:lnSpc>
                <a:spcPct val="130000"/>
              </a:lnSpc>
              <a:defRPr>
                <a:solidFill>
                  <a:schemeClr val="accent6"/>
                </a:solidFill>
                <a:uFillTx/>
              </a:defRPr>
            </a:pPr>
            <a:r>
              <a:rPr lang="en-US" b="0" i="0">
                <a:solidFill>
                  <a:schemeClr val="bg1"/>
                </a:solidFill>
                <a:latin typeface="Arial" panose="020B0604020202020204" pitchFamily="34" charset="0"/>
                <a:cs typeface="Arial" panose="020B0604020202020204" pitchFamily="34" charset="0"/>
              </a:rPr>
              <a:t>Together we strive to shape a regenerative future that is both sustainable and inclusive for businesses, people and planet.</a:t>
            </a:r>
          </a:p>
          <a:p>
            <a:pPr marR="0" defTabSz="822960">
              <a:lnSpc>
                <a:spcPct val="130000"/>
              </a:lnSpc>
              <a:defRPr>
                <a:solidFill>
                  <a:schemeClr val="accent6"/>
                </a:solidFill>
                <a:uFillTx/>
              </a:defRPr>
            </a:pPr>
            <a:endParaRPr b="0" i="0">
              <a:solidFill>
                <a:schemeClr val="bg1"/>
              </a:solidFill>
              <a:latin typeface="Arial" panose="020B0604020202020204" pitchFamily="34" charset="0"/>
              <a:cs typeface="Arial" panose="020B0604020202020204" pitchFamily="34" charset="0"/>
            </a:endParaRPr>
          </a:p>
          <a:p>
            <a:pPr marR="0" defTabSz="822960">
              <a:lnSpc>
                <a:spcPct val="130000"/>
              </a:lnSpc>
              <a:defRPr>
                <a:solidFill>
                  <a:schemeClr val="accent6"/>
                </a:solidFill>
                <a:uFillTx/>
              </a:defRPr>
            </a:pPr>
            <a:r>
              <a:rPr b="0" i="0" err="1">
                <a:solidFill>
                  <a:schemeClr val="bg1"/>
                </a:solidFill>
                <a:latin typeface="Arial" panose="020B0604020202020204" pitchFamily="34" charset="0"/>
                <a:cs typeface="Arial" panose="020B0604020202020204" pitchFamily="34" charset="0"/>
              </a:rPr>
              <a:t>www.frogdesign.com</a:t>
            </a:r>
            <a:endParaRPr b="0" i="0">
              <a:solidFill>
                <a:schemeClr val="bg1"/>
              </a:solidFill>
              <a:latin typeface="Arial" panose="020B0604020202020204" pitchFamily="34" charset="0"/>
              <a:cs typeface="Arial" panose="020B0604020202020204" pitchFamily="34" charset="0"/>
            </a:endParaRPr>
          </a:p>
        </p:txBody>
      </p:sp>
      <p:sp>
        <p:nvSpPr>
          <p:cNvPr id="8" name="© 2021 frog design inc.">
            <a:extLst>
              <a:ext uri="{FF2B5EF4-FFF2-40B4-BE49-F238E27FC236}">
                <a16:creationId xmlns:a16="http://schemas.microsoft.com/office/drawing/2014/main" id="{5C8E0CF0-E158-BE44-8775-62E7AAFFFB94}"/>
              </a:ext>
            </a:extLst>
          </p:cNvPr>
          <p:cNvSpPr/>
          <p:nvPr userDrawn="1"/>
        </p:nvSpPr>
        <p:spPr>
          <a:xfrm>
            <a:off x="18904225" y="13045468"/>
            <a:ext cx="454289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marR="0">
              <a:lnSpc>
                <a:spcPct val="100000"/>
              </a:lnSpc>
              <a:defRPr sz="1600" spc="48">
                <a:solidFill>
                  <a:srgbClr val="FFFFFF"/>
                </a:solidFill>
                <a:uFill>
                  <a:solidFill>
                    <a:srgbClr val="919191"/>
                  </a:solidFill>
                </a:uFill>
              </a:defRPr>
            </a:lvl1pPr>
          </a:lstStyle>
          <a:p>
            <a:pPr defTabSz="914400">
              <a:defRPr>
                <a:solidFill>
                  <a:srgbClr val="A6AAA9"/>
                </a:solidFill>
              </a:defRPr>
            </a:pPr>
            <a:r>
              <a:rPr lang="en-US" b="0" i="0">
                <a:solidFill>
                  <a:schemeClr val="bg1"/>
                </a:solidFill>
                <a:latin typeface="Arial" panose="020B0604020202020204" pitchFamily="34" charset="0"/>
                <a:cs typeface="Arial" panose="020B0604020202020204" pitchFamily="34" charset="0"/>
              </a:rPr>
              <a:t>© confidential | frog, Part of Capgemini Invent</a:t>
            </a:r>
            <a:endParaRPr b="0" i="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97606750"/>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4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bg1"/>
          </a:solidFill>
        </p:spPr>
        <p:txBody>
          <a:bodyPr/>
          <a:lstStyle>
            <a:lvl1pPr>
              <a:defRPr b="0" i="0"/>
            </a:lvl1pPr>
          </a:lstStyle>
          <a:p>
            <a:pPr lvl="0"/>
            <a:r>
              <a:rPr lang="en-US"/>
              <a:t> </a:t>
            </a:r>
            <a:endParaRPr lang="de-DE"/>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i="0">
                <a:solidFill>
                  <a:schemeClr val="tx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658"/>
          </a:xfrm>
          <a:prstGeom prst="rect">
            <a:avLst/>
          </a:prstGeom>
        </p:spPr>
        <p:txBody>
          <a:bodyPr>
            <a:spAutoFit/>
          </a:bodyPr>
          <a:lstStyle>
            <a:lvl1pPr>
              <a:defRPr sz="2000" b="0" i="0" cap="all" baseline="0">
                <a:solidFill>
                  <a:schemeClr val="tx1"/>
                </a:solidFill>
                <a:latin typeface="Arial" panose="020B0604020202020204" pitchFamily="34" charset="0"/>
                <a:cs typeface="Arial" panose="020B0604020202020204" pitchFamily="34" charset="0"/>
              </a:defRPr>
            </a:lvl1pPr>
          </a:lstStyle>
          <a:p>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tx1"/>
                </a:solidFill>
              </a:defRPr>
            </a:lvl1pPr>
          </a:lstStyle>
          <a:p>
            <a:r>
              <a:rPr lang="de-DE"/>
              <a:t>Title of presentation</a:t>
            </a: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2399112" y="10192462"/>
            <a:ext cx="1653262" cy="1453961"/>
          </a:xfrm>
          <a:prstGeom prst="rect">
            <a:avLst/>
          </a:prstGeom>
          <a:blipFill>
            <a:blip r:embed="rId2"/>
            <a:stretch>
              <a:fillRect/>
            </a:stretch>
          </a:blipFill>
        </p:spPr>
        <p:txBody>
          <a:bodyPr lIns="91439" tIns="45719" rIns="91439" bIns="45719">
            <a:noAutofit/>
          </a:bodyPr>
          <a:lstStyle>
            <a:lvl1pPr>
              <a:defRPr b="0" i="0">
                <a:solidFill>
                  <a:schemeClr val="bg1"/>
                </a:solidFill>
              </a:defRPr>
            </a:lvl1pPr>
          </a:lstStyle>
          <a:p>
            <a:r>
              <a:rPr lang="de-DE"/>
              <a:t> </a:t>
            </a:r>
            <a:endParaRPr/>
          </a:p>
        </p:txBody>
      </p:sp>
    </p:spTree>
    <p:extLst>
      <p:ext uri="{BB962C8B-B14F-4D97-AF65-F5344CB8AC3E}">
        <p14:creationId xmlns:p14="http://schemas.microsoft.com/office/powerpoint/2010/main" val="4060846287"/>
      </p:ext>
    </p:extLst>
  </p:cSld>
  <p:clrMapOvr>
    <a:masterClrMapping/>
  </p:clrMapOvr>
  <p:transition spd="med"/>
  <p:extLst>
    <p:ext uri="{DCECCB84-F9BA-43D5-87BE-67443E8EF086}">
      <p15:sldGuideLst xmlns:p15="http://schemas.microsoft.com/office/powerpoint/2012/main">
        <p15:guide id="1" pos="149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4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1" name="Text Placeholder 3">
            <a:extLst>
              <a:ext uri="{FF2B5EF4-FFF2-40B4-BE49-F238E27FC236}">
                <a16:creationId xmlns:a16="http://schemas.microsoft.com/office/drawing/2014/main" id="{C4864043-0F98-4FCA-9CD7-2ED8AB18B693}"/>
              </a:ext>
            </a:extLst>
          </p:cNvPr>
          <p:cNvSpPr>
            <a:spLocks noGrp="1"/>
          </p:cNvSpPr>
          <p:nvPr>
            <p:ph type="body" sz="quarter" idx="29" hasCustomPrompt="1"/>
          </p:nvPr>
        </p:nvSpPr>
        <p:spPr>
          <a:xfrm>
            <a:off x="1770477" y="1617667"/>
            <a:ext cx="8352420" cy="10480666"/>
          </a:xfrm>
          <a:solidFill>
            <a:schemeClr val="bg1"/>
          </a:solidFill>
        </p:spPr>
        <p:txBody>
          <a:bodyPr/>
          <a:lstStyle>
            <a:lvl1pPr>
              <a:defRPr b="0" i="0"/>
            </a:lvl1pPr>
          </a:lstStyle>
          <a:p>
            <a:pPr lvl="0"/>
            <a:r>
              <a:rPr lang="en-US"/>
              <a:t> </a:t>
            </a:r>
            <a:endParaRPr lang="de-DE"/>
          </a:p>
        </p:txBody>
      </p:sp>
      <p:sp>
        <p:nvSpPr>
          <p:cNvPr id="26" name="Image"/>
          <p:cNvSpPr>
            <a:spLocks noGrp="1"/>
          </p:cNvSpPr>
          <p:nvPr>
            <p:ph type="pic" sz="quarter" idx="23" hasCustomPrompt="1"/>
          </p:nvPr>
        </p:nvSpPr>
        <p:spPr>
          <a:xfrm>
            <a:off x="5430275" y="10161824"/>
            <a:ext cx="3724585" cy="1158913"/>
          </a:xfrm>
          <a:prstGeom prst="rect">
            <a:avLst/>
          </a:prstGeom>
        </p:spPr>
        <p:txBody>
          <a:bodyPr lIns="91439" tIns="45719" rIns="91439" bIns="45719">
            <a:noAutofit/>
          </a:bodyPr>
          <a:lstStyle>
            <a:lvl1pPr>
              <a:defRPr b="0" i="0"/>
            </a:lvl1pPr>
          </a:lstStyle>
          <a:p>
            <a:r>
              <a:rPr lang="de-DE"/>
              <a:t>Add Logo</a:t>
            </a:r>
            <a:endParaRP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i="0">
                <a:solidFill>
                  <a:schemeClr val="tx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658"/>
          </a:xfrm>
          <a:prstGeom prst="rect">
            <a:avLst/>
          </a:prstGeom>
        </p:spPr>
        <p:txBody>
          <a:bodyPr>
            <a:spAutoFit/>
          </a:bodyPr>
          <a:lstStyle>
            <a:lvl1pPr>
              <a:defRPr sz="2000" b="0" i="0" cap="all" baseline="0">
                <a:solidFill>
                  <a:schemeClr val="tx1"/>
                </a:solidFill>
                <a:latin typeface="Arial" panose="020B0604020202020204" pitchFamily="34" charset="0"/>
                <a:cs typeface="Arial" panose="020B0604020202020204" pitchFamily="34" charset="0"/>
              </a:defRPr>
            </a:lvl1pPr>
          </a:lstStyle>
          <a:p>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tx1"/>
                </a:solidFill>
              </a:defRPr>
            </a:lvl1pPr>
          </a:lstStyle>
          <a:p>
            <a:r>
              <a:rPr lang="de-DE"/>
              <a:t>Title of presentation</a:t>
            </a:r>
          </a:p>
        </p:txBody>
      </p:sp>
      <p:sp>
        <p:nvSpPr>
          <p:cNvPr id="9" name="Image">
            <a:extLst>
              <a:ext uri="{FF2B5EF4-FFF2-40B4-BE49-F238E27FC236}">
                <a16:creationId xmlns:a16="http://schemas.microsoft.com/office/drawing/2014/main" id="{2237B89F-9C85-4301-AC81-D80FC77AAF59}"/>
              </a:ext>
            </a:extLst>
          </p:cNvPr>
          <p:cNvSpPr>
            <a:spLocks noGrp="1"/>
          </p:cNvSpPr>
          <p:nvPr>
            <p:ph type="pic" sz="quarter" idx="28" hasCustomPrompt="1"/>
          </p:nvPr>
        </p:nvSpPr>
        <p:spPr>
          <a:xfrm>
            <a:off x="2399112" y="10192462"/>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b="0" i="0">
                <a:solidFill>
                  <a:schemeClr val="bg1"/>
                </a:solidFill>
              </a:defRPr>
            </a:lvl1pPr>
          </a:lstStyle>
          <a:p>
            <a:r>
              <a:rPr lang="de-DE"/>
              <a:t> </a:t>
            </a:r>
            <a:endParaRPr/>
          </a:p>
        </p:txBody>
      </p:sp>
    </p:spTree>
    <p:extLst>
      <p:ext uri="{BB962C8B-B14F-4D97-AF65-F5344CB8AC3E}">
        <p14:creationId xmlns:p14="http://schemas.microsoft.com/office/powerpoint/2010/main" val="3871468794"/>
      </p:ext>
    </p:extLst>
  </p:cSld>
  <p:clrMapOvr>
    <a:masterClrMapping/>
  </p:clrMapOvr>
  <p:transition spd="med"/>
  <p:extLst>
    <p:ext uri="{DCECCB84-F9BA-43D5-87BE-67443E8EF086}">
      <p15:sldGuideLst xmlns:p15="http://schemas.microsoft.com/office/powerpoint/2012/main">
        <p15:guide id="1" pos="149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4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tx1"/>
          </a:solidFill>
        </p:spPr>
        <p:txBody>
          <a:bodyPr/>
          <a:lstStyle>
            <a:lvl1pPr>
              <a:defRPr b="0" i="0"/>
            </a:lvl1pPr>
          </a:lstStyle>
          <a:p>
            <a:pPr lvl="0"/>
            <a:r>
              <a:rPr lang="en-US"/>
              <a:t> </a:t>
            </a:r>
            <a:endParaRPr lang="de-DE"/>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658"/>
          </a:xfrm>
          <a:prstGeom prst="rect">
            <a:avLst/>
          </a:prstGeom>
        </p:spPr>
        <p:txBody>
          <a:bodyPr>
            <a:spAutoFit/>
          </a:bodyPr>
          <a:lstStyle>
            <a:lvl1pPr>
              <a:defRPr sz="2000" b="0" i="0" cap="all" baseline="0">
                <a:solidFill>
                  <a:schemeClr val="bg1"/>
                </a:solidFill>
                <a:latin typeface="Arial" panose="020B0604020202020204" pitchFamily="34" charset="0"/>
                <a:cs typeface="Arial" panose="020B0604020202020204" pitchFamily="34" charset="0"/>
              </a:defRPr>
            </a:lvl1pPr>
          </a:lstStyle>
          <a:p>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bg1"/>
                </a:solidFill>
              </a:defRPr>
            </a:lvl1pPr>
          </a:lstStyle>
          <a:p>
            <a:r>
              <a:rPr lang="de-DE"/>
              <a:t>Title of presentation</a:t>
            </a: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2399112" y="10192462"/>
            <a:ext cx="1653262" cy="1453961"/>
          </a:xfrm>
          <a:prstGeom prst="rect">
            <a:avLst/>
          </a:prstGeom>
          <a:blipFill>
            <a:blip r:embed="rId2"/>
            <a:stretch>
              <a:fillRect/>
            </a:stretch>
          </a:blipFill>
        </p:spPr>
        <p:txBody>
          <a:bodyPr lIns="91439" tIns="45719" rIns="91439" bIns="45719">
            <a:noAutofit/>
          </a:bodyPr>
          <a:lstStyle>
            <a:lvl1pPr>
              <a:defRPr b="0" i="0">
                <a:solidFill>
                  <a:schemeClr val="bg1"/>
                </a:solidFill>
              </a:defRPr>
            </a:lvl1pPr>
          </a:lstStyle>
          <a:p>
            <a:r>
              <a:rPr lang="de-DE"/>
              <a:t> </a:t>
            </a:r>
            <a:endParaRPr/>
          </a:p>
        </p:txBody>
      </p:sp>
    </p:spTree>
    <p:extLst>
      <p:ext uri="{BB962C8B-B14F-4D97-AF65-F5344CB8AC3E}">
        <p14:creationId xmlns:p14="http://schemas.microsoft.com/office/powerpoint/2010/main" val="563630766"/>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4 w. Client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tx1"/>
          </a:solidFill>
        </p:spPr>
        <p:txBody>
          <a:bodyPr/>
          <a:lstStyle>
            <a:lvl1pPr>
              <a:defRPr b="0" i="0"/>
            </a:lvl1pPr>
          </a:lstStyle>
          <a:p>
            <a:pPr lvl="0"/>
            <a:r>
              <a:rPr lang="en-US"/>
              <a:t> </a:t>
            </a:r>
            <a:endParaRPr lang="de-DE"/>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658"/>
          </a:xfrm>
          <a:prstGeom prst="rect">
            <a:avLst/>
          </a:prstGeom>
        </p:spPr>
        <p:txBody>
          <a:bodyPr>
            <a:spAutoFit/>
          </a:bodyPr>
          <a:lstStyle>
            <a:lvl1pPr>
              <a:defRPr sz="2000" b="0" i="0" cap="all" baseline="0">
                <a:solidFill>
                  <a:schemeClr val="bg1"/>
                </a:solidFill>
                <a:latin typeface="Arial" panose="020B0604020202020204" pitchFamily="34" charset="0"/>
                <a:cs typeface="Arial" panose="020B0604020202020204" pitchFamily="34" charset="0"/>
              </a:defRPr>
            </a:lvl1pPr>
          </a:lstStyle>
          <a:p>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bg1"/>
                </a:solidFill>
              </a:defRPr>
            </a:lvl1pPr>
          </a:lstStyle>
          <a:p>
            <a:r>
              <a:rPr lang="de-DE"/>
              <a:t>Title of presentation</a:t>
            </a:r>
          </a:p>
        </p:txBody>
      </p:sp>
      <p:sp>
        <p:nvSpPr>
          <p:cNvPr id="10" name="Image">
            <a:extLst>
              <a:ext uri="{FF2B5EF4-FFF2-40B4-BE49-F238E27FC236}">
                <a16:creationId xmlns:a16="http://schemas.microsoft.com/office/drawing/2014/main" id="{07CB3753-CA94-411E-B706-AEFC2A6BA92A}"/>
              </a:ext>
            </a:extLst>
          </p:cNvPr>
          <p:cNvSpPr>
            <a:spLocks noGrp="1"/>
          </p:cNvSpPr>
          <p:nvPr>
            <p:ph type="pic" sz="quarter" idx="27" hasCustomPrompt="1"/>
          </p:nvPr>
        </p:nvSpPr>
        <p:spPr>
          <a:xfrm>
            <a:off x="2399112" y="10192462"/>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b="0" i="0">
                <a:solidFill>
                  <a:schemeClr val="bg1"/>
                </a:solidFill>
              </a:defRPr>
            </a:lvl1pPr>
          </a:lstStyle>
          <a:p>
            <a:r>
              <a:rPr lang="de-DE"/>
              <a:t> </a:t>
            </a:r>
            <a:endParaRPr/>
          </a:p>
        </p:txBody>
      </p:sp>
      <p:sp>
        <p:nvSpPr>
          <p:cNvPr id="19" name="Image">
            <a:extLst>
              <a:ext uri="{FF2B5EF4-FFF2-40B4-BE49-F238E27FC236}">
                <a16:creationId xmlns:a16="http://schemas.microsoft.com/office/drawing/2014/main" id="{7EF5C374-9D63-451A-B7CE-9988DE6E712D}"/>
              </a:ext>
            </a:extLst>
          </p:cNvPr>
          <p:cNvSpPr>
            <a:spLocks noGrp="1"/>
          </p:cNvSpPr>
          <p:nvPr>
            <p:ph type="pic" sz="quarter" idx="23" hasCustomPrompt="1"/>
          </p:nvPr>
        </p:nvSpPr>
        <p:spPr>
          <a:xfrm>
            <a:off x="5430275" y="10161824"/>
            <a:ext cx="3724585" cy="1158913"/>
          </a:xfrm>
          <a:prstGeom prst="rect">
            <a:avLst/>
          </a:prstGeom>
        </p:spPr>
        <p:txBody>
          <a:bodyPr lIns="91439" tIns="45719" rIns="91439" bIns="45719">
            <a:noAutofit/>
          </a:bodyPr>
          <a:lstStyle>
            <a:lvl1pPr>
              <a:defRPr b="0" i="0">
                <a:solidFill>
                  <a:schemeClr val="bg1"/>
                </a:solidFill>
              </a:defRPr>
            </a:lvl1pPr>
          </a:lstStyle>
          <a:p>
            <a:r>
              <a:rPr lang="de-DE"/>
              <a:t>Add Logo</a:t>
            </a:r>
            <a:endParaRPr/>
          </a:p>
        </p:txBody>
      </p:sp>
    </p:spTree>
    <p:extLst>
      <p:ext uri="{BB962C8B-B14F-4D97-AF65-F5344CB8AC3E}">
        <p14:creationId xmlns:p14="http://schemas.microsoft.com/office/powerpoint/2010/main" val="2674292773"/>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5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bg1"/>
          </a:solidFill>
        </p:spPr>
        <p:txBody>
          <a:bodyPr/>
          <a:lstStyle>
            <a:lvl1pPr>
              <a:defRPr b="0" i="0"/>
            </a:lvl1pPr>
          </a:lstStyle>
          <a:p>
            <a:pPr lvl="0"/>
            <a:r>
              <a:rPr lang="en-US"/>
              <a:t> </a:t>
            </a:r>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tx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i="0">
                <a:solidFill>
                  <a:schemeClr val="tx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658"/>
          </a:xfrm>
          <a:prstGeom prst="rect">
            <a:avLst/>
          </a:prstGeom>
        </p:spPr>
        <p:txBody>
          <a:bodyPr>
            <a:spAutoFit/>
          </a:bodyPr>
          <a:lstStyle>
            <a:lvl1pPr>
              <a:defRPr sz="2000" b="0" i="0" cap="all" baseline="0">
                <a:solidFill>
                  <a:schemeClr val="tx1"/>
                </a:solidFill>
                <a:latin typeface="Arial" panose="020B0604020202020204" pitchFamily="34" charset="0"/>
                <a:cs typeface="Arial" panose="020B0604020202020204" pitchFamily="34" charset="0"/>
              </a:defRPr>
            </a:lvl1pPr>
          </a:lstStyle>
          <a:p>
            <a:endParaRPr lang="de-DE"/>
          </a:p>
        </p:txBody>
      </p:sp>
      <p:sp>
        <p:nvSpPr>
          <p:cNvPr id="9" name="Image">
            <a:extLst>
              <a:ext uri="{FF2B5EF4-FFF2-40B4-BE49-F238E27FC236}">
                <a16:creationId xmlns:a16="http://schemas.microsoft.com/office/drawing/2014/main" id="{A9EC351E-B14C-4F07-B6C9-774B4A5D6DB2}"/>
              </a:ext>
            </a:extLst>
          </p:cNvPr>
          <p:cNvSpPr>
            <a:spLocks noGrp="1"/>
          </p:cNvSpPr>
          <p:nvPr>
            <p:ph type="pic" sz="quarter" idx="27" hasCustomPrompt="1"/>
          </p:nvPr>
        </p:nvSpPr>
        <p:spPr>
          <a:xfrm>
            <a:off x="2399112" y="10504981"/>
            <a:ext cx="1653262" cy="1453961"/>
          </a:xfrm>
          <a:prstGeom prst="rect">
            <a:avLst/>
          </a:prstGeom>
          <a:blipFill>
            <a:blip r:embed="rId2"/>
            <a:stretch>
              <a:fillRect/>
            </a:stretch>
          </a:blipFill>
        </p:spPr>
        <p:txBody>
          <a:bodyPr lIns="91439" tIns="45719" rIns="91439" bIns="45719">
            <a:noAutofit/>
          </a:bodyPr>
          <a:lstStyle>
            <a:lvl1pPr>
              <a:defRPr b="0" i="0">
                <a:solidFill>
                  <a:schemeClr val="bg1"/>
                </a:solidFill>
              </a:defRPr>
            </a:lvl1pPr>
          </a:lstStyle>
          <a:p>
            <a:r>
              <a:rPr lang="de-DE"/>
              <a:t> </a:t>
            </a:r>
            <a:endParaRPr/>
          </a:p>
        </p:txBody>
      </p:sp>
    </p:spTree>
    <p:extLst>
      <p:ext uri="{BB962C8B-B14F-4D97-AF65-F5344CB8AC3E}">
        <p14:creationId xmlns:p14="http://schemas.microsoft.com/office/powerpoint/2010/main" val="1144172111"/>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5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bg1"/>
          </a:solidFill>
        </p:spPr>
        <p:txBody>
          <a:bodyPr/>
          <a:lstStyle>
            <a:lvl1pPr>
              <a:defRPr b="0" i="0"/>
            </a:lvl1pPr>
          </a:lstStyle>
          <a:p>
            <a:pPr lvl="0"/>
            <a:r>
              <a:rPr lang="en-US"/>
              <a:t> </a:t>
            </a:r>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tx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i="0">
                <a:solidFill>
                  <a:schemeClr val="tx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658"/>
          </a:xfrm>
          <a:prstGeom prst="rect">
            <a:avLst/>
          </a:prstGeom>
        </p:spPr>
        <p:txBody>
          <a:bodyPr>
            <a:spAutoFit/>
          </a:bodyPr>
          <a:lstStyle>
            <a:lvl1pPr>
              <a:defRPr sz="2000" b="0" i="0" cap="all" baseline="0">
                <a:solidFill>
                  <a:schemeClr val="tx1"/>
                </a:solidFill>
                <a:latin typeface="Arial" panose="020B0604020202020204" pitchFamily="34" charset="0"/>
                <a:cs typeface="Arial" panose="020B0604020202020204" pitchFamily="34" charset="0"/>
              </a:defRPr>
            </a:lvl1pPr>
          </a:lstStyle>
          <a:p>
            <a:endParaRPr lang="de-DE"/>
          </a:p>
        </p:txBody>
      </p:sp>
      <p:sp>
        <p:nvSpPr>
          <p:cNvPr id="8" name="Image">
            <a:extLst>
              <a:ext uri="{FF2B5EF4-FFF2-40B4-BE49-F238E27FC236}">
                <a16:creationId xmlns:a16="http://schemas.microsoft.com/office/drawing/2014/main" id="{3AF87226-1A32-4043-80C7-DADE047802F6}"/>
              </a:ext>
            </a:extLst>
          </p:cNvPr>
          <p:cNvSpPr>
            <a:spLocks noGrp="1"/>
          </p:cNvSpPr>
          <p:nvPr>
            <p:ph type="pic" sz="quarter" idx="27" hasCustomPrompt="1"/>
          </p:nvPr>
        </p:nvSpPr>
        <p:spPr>
          <a:xfrm>
            <a:off x="5430275" y="10470783"/>
            <a:ext cx="3724585" cy="1158913"/>
          </a:xfrm>
          <a:prstGeom prst="rect">
            <a:avLst/>
          </a:prstGeom>
        </p:spPr>
        <p:txBody>
          <a:bodyPr lIns="91439" tIns="45719" rIns="91439" bIns="45719">
            <a:noAutofit/>
          </a:bodyPr>
          <a:lstStyle>
            <a:lvl1pPr>
              <a:defRPr b="0" i="0"/>
            </a:lvl1pPr>
          </a:lstStyle>
          <a:p>
            <a:r>
              <a:rPr lang="de-DE"/>
              <a:t>Add Logo</a:t>
            </a:r>
            <a:endParaRPr/>
          </a:p>
        </p:txBody>
      </p:sp>
      <p:sp>
        <p:nvSpPr>
          <p:cNvPr id="10" name="Image">
            <a:extLst>
              <a:ext uri="{FF2B5EF4-FFF2-40B4-BE49-F238E27FC236}">
                <a16:creationId xmlns:a16="http://schemas.microsoft.com/office/drawing/2014/main" id="{E2299094-C99F-41A4-A3A4-843B3CE159A3}"/>
              </a:ext>
            </a:extLst>
          </p:cNvPr>
          <p:cNvSpPr>
            <a:spLocks noGrp="1"/>
          </p:cNvSpPr>
          <p:nvPr>
            <p:ph type="pic" sz="quarter" idx="29" hasCustomPrompt="1"/>
          </p:nvPr>
        </p:nvSpPr>
        <p:spPr>
          <a:xfrm>
            <a:off x="2399112" y="10501421"/>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b="0" i="0">
                <a:solidFill>
                  <a:schemeClr val="bg1"/>
                </a:solidFill>
              </a:defRPr>
            </a:lvl1pPr>
          </a:lstStyle>
          <a:p>
            <a:r>
              <a:rPr lang="de-DE"/>
              <a:t> </a:t>
            </a:r>
            <a:endParaRPr/>
          </a:p>
        </p:txBody>
      </p:sp>
    </p:spTree>
    <p:extLst>
      <p:ext uri="{BB962C8B-B14F-4D97-AF65-F5344CB8AC3E}">
        <p14:creationId xmlns:p14="http://schemas.microsoft.com/office/powerpoint/2010/main" val="1191401435"/>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5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tx1"/>
          </a:solidFill>
        </p:spPr>
        <p:txBody>
          <a:bodyPr/>
          <a:lstStyle>
            <a:lvl1pPr>
              <a:defRPr b="0" i="0"/>
            </a:lvl1pPr>
          </a:lstStyle>
          <a:p>
            <a:pPr lvl="0"/>
            <a:r>
              <a:rPr lang="en-US"/>
              <a:t> </a:t>
            </a:r>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bg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658"/>
          </a:xfrm>
          <a:prstGeom prst="rect">
            <a:avLst/>
          </a:prstGeom>
        </p:spPr>
        <p:txBody>
          <a:bodyPr>
            <a:spAutoFit/>
          </a:bodyPr>
          <a:lstStyle>
            <a:lvl1pPr>
              <a:defRPr sz="2000" b="0" i="0" cap="all" baseline="0">
                <a:solidFill>
                  <a:schemeClr val="bg1"/>
                </a:solidFill>
                <a:latin typeface="Arial" panose="020B0604020202020204" pitchFamily="34" charset="0"/>
                <a:cs typeface="Arial" panose="020B0604020202020204" pitchFamily="34" charset="0"/>
              </a:defRPr>
            </a:lvl1pPr>
          </a:lstStyle>
          <a:p>
            <a:endParaRPr lang="de-DE"/>
          </a:p>
        </p:txBody>
      </p:sp>
      <p:sp>
        <p:nvSpPr>
          <p:cNvPr id="8" name="Image">
            <a:extLst>
              <a:ext uri="{FF2B5EF4-FFF2-40B4-BE49-F238E27FC236}">
                <a16:creationId xmlns:a16="http://schemas.microsoft.com/office/drawing/2014/main" id="{7923C10F-25A2-49C6-B2F5-73BA9E42462F}"/>
              </a:ext>
            </a:extLst>
          </p:cNvPr>
          <p:cNvSpPr>
            <a:spLocks noGrp="1"/>
          </p:cNvSpPr>
          <p:nvPr>
            <p:ph type="pic" sz="quarter" idx="29" hasCustomPrompt="1"/>
          </p:nvPr>
        </p:nvSpPr>
        <p:spPr>
          <a:xfrm>
            <a:off x="2399112" y="10504982"/>
            <a:ext cx="1653262" cy="1453961"/>
          </a:xfrm>
          <a:prstGeom prst="rect">
            <a:avLst/>
          </a:prstGeom>
          <a:blipFill>
            <a:blip r:embed="rId2"/>
            <a:stretch>
              <a:fillRect/>
            </a:stretch>
          </a:blipFill>
        </p:spPr>
        <p:txBody>
          <a:bodyPr lIns="91439" tIns="45719" rIns="91439" bIns="45719">
            <a:noAutofit/>
          </a:bodyPr>
          <a:lstStyle>
            <a:lvl1pPr>
              <a:defRPr b="0" i="0">
                <a:solidFill>
                  <a:schemeClr val="bg1"/>
                </a:solidFill>
              </a:defRPr>
            </a:lvl1pPr>
          </a:lstStyle>
          <a:p>
            <a:r>
              <a:rPr lang="de-DE"/>
              <a:t> </a:t>
            </a:r>
            <a:endParaRPr/>
          </a:p>
        </p:txBody>
      </p:sp>
    </p:spTree>
    <p:extLst>
      <p:ext uri="{BB962C8B-B14F-4D97-AF65-F5344CB8AC3E}">
        <p14:creationId xmlns:p14="http://schemas.microsoft.com/office/powerpoint/2010/main" val="957230047"/>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1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1693928" y="10288537"/>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b="0" i="0">
                <a:solidFill>
                  <a:schemeClr val="bg1"/>
                </a:solidFill>
              </a:defRPr>
            </a:lvl1pPr>
          </a:lstStyle>
          <a:p>
            <a:r>
              <a:rPr lang="de-DE"/>
              <a:t> </a:t>
            </a:r>
            <a:endParaRPr/>
          </a:p>
        </p:txBody>
      </p:sp>
      <p:sp>
        <p:nvSpPr>
          <p:cNvPr id="26" name="Image"/>
          <p:cNvSpPr>
            <a:spLocks noGrp="1"/>
          </p:cNvSpPr>
          <p:nvPr>
            <p:ph type="pic" sz="quarter" idx="23" hasCustomPrompt="1"/>
          </p:nvPr>
        </p:nvSpPr>
        <p:spPr>
          <a:xfrm>
            <a:off x="4960375" y="10227577"/>
            <a:ext cx="3724585" cy="1158913"/>
          </a:xfrm>
          <a:prstGeom prst="rect">
            <a:avLst/>
          </a:prstGeom>
        </p:spPr>
        <p:txBody>
          <a:bodyPr lIns="91439" tIns="45719" rIns="91439" bIns="45719">
            <a:noAutofit/>
          </a:bodyPr>
          <a:lstStyle>
            <a:lvl1pPr>
              <a:defRPr b="0" i="0"/>
            </a:lvl1pPr>
          </a:lstStyle>
          <a:p>
            <a:r>
              <a:rPr lang="de-DE"/>
              <a:t>Add Logo</a:t>
            </a:r>
            <a:endParaRP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i="0">
                <a:solidFill>
                  <a:schemeClr val="tx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400" b="0" i="0" cap="all" baseline="0">
                <a:solidFill>
                  <a:schemeClr val="tx1"/>
                </a:solidFill>
                <a:latin typeface="Arial" panose="020B0604020202020204" pitchFamily="34" charset="0"/>
                <a:cs typeface="Arial" panose="020B0604020202020204" pitchFamily="34" charset="0"/>
              </a:defRPr>
            </a:lvl1pPr>
          </a:lstStyle>
          <a:p>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tx1"/>
                </a:solidFill>
              </a:defRPr>
            </a:lvl1pPr>
          </a:lstStyle>
          <a:p>
            <a:r>
              <a:rPr lang="de-DE"/>
              <a:t>Presentation title</a:t>
            </a:r>
          </a:p>
        </p:txBody>
      </p:sp>
      <p:sp>
        <p:nvSpPr>
          <p:cNvPr id="3" name="Footer Placeholder 8">
            <a:extLst>
              <a:ext uri="{FF2B5EF4-FFF2-40B4-BE49-F238E27FC236}">
                <a16:creationId xmlns:a16="http://schemas.microsoft.com/office/drawing/2014/main" id="{75905FCA-81C9-7EF2-FC77-9B7AA7D7A7EF}"/>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b="0" i="0" spc="48">
                <a:solidFill>
                  <a:schemeClr val="bg1">
                    <a:lumMod val="65000"/>
                  </a:schemeClr>
                </a:solidFill>
                <a:latin typeface="Arial" panose="020B0604020202020204" pitchFamily="34" charset="0"/>
                <a:cs typeface="Arial" panose="020B0604020202020204" pitchFamily="34" charset="0"/>
              </a:defRPr>
            </a:lvl1pPr>
          </a:lstStyle>
          <a:p>
            <a:r>
              <a:rPr lang="en-US"/>
              <a:t>AI Genies | Claire the Car Repair Assessment Agent</a:t>
            </a:r>
            <a:endParaRPr lang="de-DE"/>
          </a:p>
        </p:txBody>
      </p:sp>
    </p:spTree>
    <p:extLst>
      <p:ext uri="{BB962C8B-B14F-4D97-AF65-F5344CB8AC3E}">
        <p14:creationId xmlns:p14="http://schemas.microsoft.com/office/powerpoint/2010/main" val="2014235820"/>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ver #5 w. Logo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tx1"/>
          </a:solidFill>
        </p:spPr>
        <p:txBody>
          <a:bodyPr/>
          <a:lstStyle>
            <a:lvl1pPr>
              <a:defRPr b="0" i="0"/>
            </a:lvl1pPr>
          </a:lstStyle>
          <a:p>
            <a:pPr lvl="0"/>
            <a:r>
              <a:rPr lang="en-US"/>
              <a:t> </a:t>
            </a:r>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bg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658"/>
          </a:xfrm>
          <a:prstGeom prst="rect">
            <a:avLst/>
          </a:prstGeom>
        </p:spPr>
        <p:txBody>
          <a:bodyPr>
            <a:spAutoFit/>
          </a:bodyPr>
          <a:lstStyle>
            <a:lvl1pPr>
              <a:defRPr sz="2000" b="0" i="0" cap="all" baseline="0">
                <a:solidFill>
                  <a:schemeClr val="bg1"/>
                </a:solidFill>
                <a:latin typeface="Arial" panose="020B0604020202020204" pitchFamily="34" charset="0"/>
                <a:cs typeface="Arial" panose="020B0604020202020204" pitchFamily="34" charset="0"/>
              </a:defRPr>
            </a:lvl1pPr>
          </a:lstStyle>
          <a:p>
            <a:endParaRPr lang="de-DE"/>
          </a:p>
        </p:txBody>
      </p:sp>
      <p:sp>
        <p:nvSpPr>
          <p:cNvPr id="8" name="Image">
            <a:extLst>
              <a:ext uri="{FF2B5EF4-FFF2-40B4-BE49-F238E27FC236}">
                <a16:creationId xmlns:a16="http://schemas.microsoft.com/office/drawing/2014/main" id="{3AF87226-1A32-4043-80C7-DADE047802F6}"/>
              </a:ext>
            </a:extLst>
          </p:cNvPr>
          <p:cNvSpPr>
            <a:spLocks noGrp="1"/>
          </p:cNvSpPr>
          <p:nvPr>
            <p:ph type="pic" sz="quarter" idx="27" hasCustomPrompt="1"/>
          </p:nvPr>
        </p:nvSpPr>
        <p:spPr>
          <a:xfrm>
            <a:off x="5430275" y="10470783"/>
            <a:ext cx="3724585" cy="1158913"/>
          </a:xfrm>
          <a:prstGeom prst="rect">
            <a:avLst/>
          </a:prstGeom>
        </p:spPr>
        <p:txBody>
          <a:bodyPr lIns="91439" tIns="45719" rIns="91439" bIns="45719">
            <a:noAutofit/>
          </a:bodyPr>
          <a:lstStyle>
            <a:lvl1pPr>
              <a:defRPr b="0" i="0">
                <a:solidFill>
                  <a:schemeClr val="bg1"/>
                </a:solidFill>
              </a:defRPr>
            </a:lvl1pPr>
          </a:lstStyle>
          <a:p>
            <a:r>
              <a:rPr lang="de-DE"/>
              <a:t>Add Logo</a:t>
            </a:r>
            <a:endParaRPr/>
          </a:p>
        </p:txBody>
      </p:sp>
      <p:sp>
        <p:nvSpPr>
          <p:cNvPr id="9" name="Image">
            <a:extLst>
              <a:ext uri="{FF2B5EF4-FFF2-40B4-BE49-F238E27FC236}">
                <a16:creationId xmlns:a16="http://schemas.microsoft.com/office/drawing/2014/main" id="{F9398BAF-7FD9-4611-B8D7-C9A102A5AE55}"/>
              </a:ext>
            </a:extLst>
          </p:cNvPr>
          <p:cNvSpPr>
            <a:spLocks noGrp="1"/>
          </p:cNvSpPr>
          <p:nvPr>
            <p:ph type="pic" sz="quarter" idx="30" hasCustomPrompt="1"/>
          </p:nvPr>
        </p:nvSpPr>
        <p:spPr>
          <a:xfrm>
            <a:off x="2399112" y="10501421"/>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b="0" i="0">
                <a:solidFill>
                  <a:schemeClr val="bg1"/>
                </a:solidFill>
              </a:defRPr>
            </a:lvl1pPr>
          </a:lstStyle>
          <a:p>
            <a:r>
              <a:rPr lang="de-DE"/>
              <a:t> </a:t>
            </a:r>
            <a:endParaRPr/>
          </a:p>
        </p:txBody>
      </p:sp>
    </p:spTree>
    <p:extLst>
      <p:ext uri="{BB962C8B-B14F-4D97-AF65-F5344CB8AC3E}">
        <p14:creationId xmlns:p14="http://schemas.microsoft.com/office/powerpoint/2010/main" val="818697941"/>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reserve="1">
  <p:cSld name="Blank (W)">
    <p:spTree>
      <p:nvGrpSpPr>
        <p:cNvPr id="1" name=""/>
        <p:cNvGrpSpPr/>
        <p:nvPr/>
      </p:nvGrpSpPr>
      <p:grpSpPr>
        <a:xfrm>
          <a:off x="0" y="0"/>
          <a:ext cx="0" cy="0"/>
          <a:chOff x="0" y="0"/>
          <a:chExt cx="0" cy="0"/>
        </a:xfrm>
      </p:grpSpPr>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reserve="1">
  <p:cSld name=" Blank (B)">
    <p:bg>
      <p:bgPr>
        <a:solidFill>
          <a:schemeClr val="tx1"/>
        </a:solidFill>
        <a:effectLst/>
      </p:bgPr>
    </p:bg>
    <p:spTree>
      <p:nvGrpSpPr>
        <p:cNvPr id="1" name=""/>
        <p:cNvGrpSpPr/>
        <p:nvPr/>
      </p:nvGrpSpPr>
      <p:grpSpPr>
        <a:xfrm>
          <a:off x="0" y="0"/>
          <a:ext cx="0" cy="0"/>
          <a:chOff x="0" y="0"/>
          <a:chExt cx="0" cy="0"/>
        </a:xfrm>
      </p:grpSpPr>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w. footer (W)">
    <p:spTree>
      <p:nvGrpSpPr>
        <p:cNvPr id="1" name=""/>
        <p:cNvGrpSpPr/>
        <p:nvPr/>
      </p:nvGrpSpPr>
      <p:grpSpPr>
        <a:xfrm>
          <a:off x="0" y="0"/>
          <a:ext cx="0" cy="0"/>
          <a:chOff x="0" y="0"/>
          <a:chExt cx="0" cy="0"/>
        </a:xfrm>
      </p:grpSpPr>
      <p:pic>
        <p:nvPicPr>
          <p:cNvPr id="366"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7" name="Date Placeholder 6">
            <a:extLst>
              <a:ext uri="{FF2B5EF4-FFF2-40B4-BE49-F238E27FC236}">
                <a16:creationId xmlns:a16="http://schemas.microsoft.com/office/drawing/2014/main" id="{AC68610D-A64D-4E07-819F-E75DCC373A02}"/>
              </a:ext>
            </a:extLst>
          </p:cNvPr>
          <p:cNvSpPr>
            <a:spLocks noGrp="1"/>
          </p:cNvSpPr>
          <p:nvPr>
            <p:ph type="dt" sz="half" idx="22"/>
          </p:nvPr>
        </p:nvSpPr>
        <p:spPr>
          <a:xfrm>
            <a:off x="2134063"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lvl1pPr>
              <a:defRPr b="0" i="0"/>
            </a:lvl1pPr>
          </a:lstStyle>
          <a:p>
            <a:r>
              <a:rPr lang="en-US"/>
              <a:t>AI Genies | Claire the Car Repair Assessment Agent</a:t>
            </a:r>
            <a:endParaRPr lang="de-DE"/>
          </a:p>
        </p:txBody>
      </p:sp>
      <p:sp>
        <p:nvSpPr>
          <p:cNvPr id="9" name="Slide Number Placeholder 8">
            <a:extLst>
              <a:ext uri="{FF2B5EF4-FFF2-40B4-BE49-F238E27FC236}">
                <a16:creationId xmlns:a16="http://schemas.microsoft.com/office/drawing/2014/main" id="{B38062F3-7AB5-480E-B267-9560C0CEB5E3}"/>
              </a:ext>
            </a:extLst>
          </p:cNvPr>
          <p:cNvSpPr>
            <a:spLocks noGrp="1"/>
          </p:cNvSpPr>
          <p:nvPr>
            <p:ph type="sldNum" sz="quarter" idx="24"/>
          </p:nvPr>
        </p:nvSpPr>
        <p:spPr/>
        <p:txBody>
          <a:bodyPr/>
          <a:lstStyle>
            <a:lvl1pPr>
              <a:defRPr b="0" i="0"/>
            </a:lvl1pPr>
          </a:lstStyle>
          <a:p>
            <a:fld id="{F4562D32-726A-4413-ACA3-4E6BD640C7C8}" type="slidenum">
              <a:rPr lang="de-DE" smtClean="0"/>
              <a:pPr/>
              <a:t>‹#›</a:t>
            </a:fld>
            <a:endParaRPr lang="de-DE"/>
          </a:p>
        </p:txBody>
      </p:sp>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w. footer (B)">
    <p:bg>
      <p:bgPr>
        <a:solidFill>
          <a:schemeClr val="tx1"/>
        </a:solidFill>
        <a:effectLst/>
      </p:bgPr>
    </p:bg>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AC68610D-A64D-4E07-819F-E75DCC373A02}"/>
              </a:ext>
            </a:extLst>
          </p:cNvPr>
          <p:cNvSpPr>
            <a:spLocks noGrp="1"/>
          </p:cNvSpPr>
          <p:nvPr>
            <p:ph type="dt" sz="half" idx="22"/>
          </p:nvPr>
        </p:nvSpPr>
        <p:spPr>
          <a:xfrm>
            <a:off x="2134063"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lvl1pPr>
              <a:defRPr b="0" i="0"/>
            </a:lvl1pPr>
          </a:lstStyle>
          <a:p>
            <a:r>
              <a:rPr lang="en-US"/>
              <a:t>AI Genies | Claire the Car Repair Assessment Agent</a:t>
            </a:r>
            <a:endParaRPr lang="de-DE"/>
          </a:p>
        </p:txBody>
      </p:sp>
      <p:sp>
        <p:nvSpPr>
          <p:cNvPr id="9" name="Slide Number Placeholder 8">
            <a:extLst>
              <a:ext uri="{FF2B5EF4-FFF2-40B4-BE49-F238E27FC236}">
                <a16:creationId xmlns:a16="http://schemas.microsoft.com/office/drawing/2014/main" id="{B38062F3-7AB5-480E-B267-9560C0CEB5E3}"/>
              </a:ext>
            </a:extLst>
          </p:cNvPr>
          <p:cNvSpPr>
            <a:spLocks noGrp="1"/>
          </p:cNvSpPr>
          <p:nvPr>
            <p:ph type="sldNum" sz="quarter" idx="24"/>
          </p:nvPr>
        </p:nvSpPr>
        <p:spPr/>
        <p:txBody>
          <a:bodyPr/>
          <a:lstStyle>
            <a:lvl1pPr>
              <a:defRPr b="0" i="0"/>
            </a:lvl1pPr>
          </a:lstStyle>
          <a:p>
            <a:fld id="{F4562D32-726A-4413-ACA3-4E6BD640C7C8}" type="slidenum">
              <a:rPr lang="de-DE" smtClean="0"/>
              <a:pPr/>
              <a:t>‹#›</a:t>
            </a:fld>
            <a:endParaRPr lang="de-DE"/>
          </a:p>
        </p:txBody>
      </p:sp>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grpSp>
        <p:nvGrpSpPr>
          <p:cNvPr id="10" name="Group">
            <a:extLst>
              <a:ext uri="{FF2B5EF4-FFF2-40B4-BE49-F238E27FC236}">
                <a16:creationId xmlns:a16="http://schemas.microsoft.com/office/drawing/2014/main" id="{7ED3A9AE-9477-4095-BBD0-5711B59CC2B9}"/>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CDC35A45-F102-4185-A084-436B38D79798}"/>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E900CF8B-D6ED-4C0F-B5BB-80E60A0B34A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157278118"/>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CA5C8-30A7-4C00-B717-ACE14C466743}"/>
              </a:ext>
            </a:extLst>
          </p:cNvPr>
          <p:cNvSpPr>
            <a:spLocks noGrp="1"/>
          </p:cNvSpPr>
          <p:nvPr>
            <p:ph type="title"/>
          </p:nvPr>
        </p:nvSpPr>
        <p:spPr/>
        <p:txBody>
          <a:bodyPr/>
          <a:lstStyle/>
          <a:p>
            <a:r>
              <a:rPr lang="en-US"/>
              <a:t>Click to edit Master title style</a:t>
            </a:r>
            <a:endParaRPr lang="de-DE"/>
          </a:p>
        </p:txBody>
      </p:sp>
      <p:sp>
        <p:nvSpPr>
          <p:cNvPr id="4" name="Footer Placeholder 3">
            <a:extLst>
              <a:ext uri="{FF2B5EF4-FFF2-40B4-BE49-F238E27FC236}">
                <a16:creationId xmlns:a16="http://schemas.microsoft.com/office/drawing/2014/main" id="{D79E0894-8603-4E6E-8933-9614A7E340FD}"/>
              </a:ext>
            </a:extLst>
          </p:cNvPr>
          <p:cNvSpPr>
            <a:spLocks noGrp="1"/>
          </p:cNvSpPr>
          <p:nvPr>
            <p:ph type="ftr" sz="quarter" idx="11"/>
          </p:nvPr>
        </p:nvSpPr>
        <p:spPr/>
        <p:txBody>
          <a:bodyPr/>
          <a:lstStyle>
            <a:lvl1pPr>
              <a:defRPr b="0" i="0">
                <a:solidFill>
                  <a:schemeClr val="tx1"/>
                </a:solidFill>
              </a:defRPr>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1BA171C-8BD3-4CAC-BC65-F5FDA91AF043}"/>
              </a:ext>
            </a:extLst>
          </p:cNvPr>
          <p:cNvSpPr>
            <a:spLocks noGrp="1"/>
          </p:cNvSpPr>
          <p:nvPr>
            <p:ph type="sldNum" sz="quarter" idx="12"/>
          </p:nvPr>
        </p:nvSpPr>
        <p:spPr/>
        <p:txBody>
          <a:bodyPr/>
          <a:lstStyle>
            <a:lvl1pPr>
              <a:defRPr b="0" i="0">
                <a:solidFill>
                  <a:sysClr val="windowText" lastClr="000000"/>
                </a:solidFill>
              </a:defRPr>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C83AAC62-2541-49FB-9484-D6A1A33E286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spTree>
    <p:extLst>
      <p:ext uri="{BB962C8B-B14F-4D97-AF65-F5344CB8AC3E}">
        <p14:creationId xmlns:p14="http://schemas.microsoft.com/office/powerpoint/2010/main" val="449422931"/>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CA5C8-30A7-4C00-B717-ACE14C46674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3" name="Date Placeholder 2">
            <a:extLst>
              <a:ext uri="{FF2B5EF4-FFF2-40B4-BE49-F238E27FC236}">
                <a16:creationId xmlns:a16="http://schemas.microsoft.com/office/drawing/2014/main" id="{3AC30BEF-8823-4D36-863B-FFA9F8AD66A3}"/>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D79E0894-8603-4E6E-8933-9614A7E340FD}"/>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1BA171C-8BD3-4CAC-BC65-F5FDA91AF043}"/>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C83AAC62-2541-49FB-9484-D6A1A33E286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grpSp>
        <p:nvGrpSpPr>
          <p:cNvPr id="7" name="Group">
            <a:extLst>
              <a:ext uri="{FF2B5EF4-FFF2-40B4-BE49-F238E27FC236}">
                <a16:creationId xmlns:a16="http://schemas.microsoft.com/office/drawing/2014/main" id="{45E8177D-80B2-41C3-878D-3291B465B777}"/>
              </a:ext>
            </a:extLst>
          </p:cNvPr>
          <p:cNvGrpSpPr/>
          <p:nvPr userDrawn="1"/>
        </p:nvGrpSpPr>
        <p:grpSpPr>
          <a:xfrm>
            <a:off x="885450" y="12829819"/>
            <a:ext cx="885653" cy="885653"/>
            <a:chOff x="0" y="0"/>
            <a:chExt cx="885651" cy="885651"/>
          </a:xfrm>
        </p:grpSpPr>
        <p:sp>
          <p:nvSpPr>
            <p:cNvPr id="8" name="Square">
              <a:extLst>
                <a:ext uri="{FF2B5EF4-FFF2-40B4-BE49-F238E27FC236}">
                  <a16:creationId xmlns:a16="http://schemas.microsoft.com/office/drawing/2014/main" id="{7508FD2C-4424-43BA-8728-3E8CAA2F2BD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9" name="Image">
              <a:extLst>
                <a:ext uri="{FF2B5EF4-FFF2-40B4-BE49-F238E27FC236}">
                  <a16:creationId xmlns:a16="http://schemas.microsoft.com/office/drawing/2014/main" id="{6803D9A3-9FF8-4C5A-BBA8-E048BD65BA2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695711916"/>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ndex (W)">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3548379"/>
            <a:ext cx="10579311" cy="7078861"/>
          </a:xfrm>
        </p:spPr>
        <p:txBody>
          <a:bodyPr/>
          <a:lstStyle>
            <a:lvl1pPr>
              <a:lnSpc>
                <a:spcPct val="100000"/>
              </a:lnSpc>
              <a:defRPr sz="9200" b="0" i="0">
                <a:solidFill>
                  <a:schemeClr val="tx1"/>
                </a:solidFill>
                <a:latin typeface="Times New Roman" panose="02020603050405020304" pitchFamily="18" charset="0"/>
              </a:defRPr>
            </a:lvl1pPr>
          </a:lstStyle>
          <a:p>
            <a:pPr lvl="0"/>
            <a:r>
              <a:rPr lang="en-US"/>
              <a:t>Section heading</a:t>
            </a:r>
          </a:p>
          <a:p>
            <a:pPr lvl="0"/>
            <a:r>
              <a:rPr lang="en-US"/>
              <a:t>Other section heading</a:t>
            </a:r>
          </a:p>
          <a:p>
            <a:pPr lvl="0"/>
            <a:r>
              <a:rPr lang="en-US"/>
              <a:t>Section heading</a:t>
            </a:r>
          </a:p>
          <a:p>
            <a:pPr lvl="0"/>
            <a:r>
              <a:rPr lang="en-US"/>
              <a:t>Other section heading</a:t>
            </a:r>
          </a:p>
          <a:p>
            <a:pPr lvl="0"/>
            <a:r>
              <a:rPr lang="en-US"/>
              <a:t>Section heading</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p:nvPr>
        </p:nvSpPr>
        <p:spPr>
          <a:xfrm>
            <a:off x="13942428" y="3601957"/>
            <a:ext cx="1562354" cy="1285673"/>
          </a:xfrm>
          <a:prstGeom prst="rect">
            <a:avLst/>
          </a:prstGeom>
        </p:spPr>
        <p:txBody>
          <a:bodyPr lIns="0" tIns="0" rIns="0" bIns="0">
            <a:spAutoFit/>
          </a:bodyPr>
          <a:lstStyle>
            <a:lvl1pPr defTabSz="822960">
              <a:lnSpc>
                <a:spcPct val="400000"/>
              </a:lnSpc>
              <a:spcBef>
                <a:spcPts val="0"/>
              </a:spcBef>
              <a:defRPr sz="2600" b="1" i="0">
                <a:solidFill>
                  <a:schemeClr val="tx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15" name="XX">
            <a:extLst>
              <a:ext uri="{FF2B5EF4-FFF2-40B4-BE49-F238E27FC236}">
                <a16:creationId xmlns:a16="http://schemas.microsoft.com/office/drawing/2014/main" id="{53D5A602-1C0A-E14C-957E-BD1AFD5CDAE1}"/>
              </a:ext>
            </a:extLst>
          </p:cNvPr>
          <p:cNvSpPr>
            <a:spLocks noGrp="1"/>
          </p:cNvSpPr>
          <p:nvPr>
            <p:ph type="body" sz="quarter" idx="25"/>
          </p:nvPr>
        </p:nvSpPr>
        <p:spPr>
          <a:xfrm>
            <a:off x="13942428" y="4959011"/>
            <a:ext cx="1562354" cy="1285673"/>
          </a:xfrm>
          <a:prstGeom prst="rect">
            <a:avLst/>
          </a:prstGeom>
        </p:spPr>
        <p:txBody>
          <a:bodyPr lIns="0" tIns="0" rIns="0" bIns="0">
            <a:spAutoFit/>
          </a:bodyPr>
          <a:lstStyle>
            <a:lvl1pPr defTabSz="822960">
              <a:lnSpc>
                <a:spcPct val="400000"/>
              </a:lnSpc>
              <a:spcBef>
                <a:spcPts val="0"/>
              </a:spcBef>
              <a:defRPr sz="2600" b="1" i="0">
                <a:solidFill>
                  <a:schemeClr val="tx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16" name="XX">
            <a:extLst>
              <a:ext uri="{FF2B5EF4-FFF2-40B4-BE49-F238E27FC236}">
                <a16:creationId xmlns:a16="http://schemas.microsoft.com/office/drawing/2014/main" id="{73D32A85-4461-E544-96D1-BFD3A609B263}"/>
              </a:ext>
            </a:extLst>
          </p:cNvPr>
          <p:cNvSpPr>
            <a:spLocks noGrp="1"/>
          </p:cNvSpPr>
          <p:nvPr>
            <p:ph type="body" sz="quarter" idx="26"/>
          </p:nvPr>
        </p:nvSpPr>
        <p:spPr>
          <a:xfrm>
            <a:off x="13942428" y="6379564"/>
            <a:ext cx="1562354" cy="1285673"/>
          </a:xfrm>
          <a:prstGeom prst="rect">
            <a:avLst/>
          </a:prstGeom>
        </p:spPr>
        <p:txBody>
          <a:bodyPr lIns="0" tIns="0" rIns="0" bIns="0">
            <a:spAutoFit/>
          </a:bodyPr>
          <a:lstStyle>
            <a:lvl1pPr defTabSz="822960">
              <a:lnSpc>
                <a:spcPct val="400000"/>
              </a:lnSpc>
              <a:spcBef>
                <a:spcPts val="0"/>
              </a:spcBef>
              <a:defRPr sz="2600" b="1" i="0">
                <a:solidFill>
                  <a:schemeClr val="tx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17" name="XX">
            <a:extLst>
              <a:ext uri="{FF2B5EF4-FFF2-40B4-BE49-F238E27FC236}">
                <a16:creationId xmlns:a16="http://schemas.microsoft.com/office/drawing/2014/main" id="{81713E40-EDAF-7640-8823-AD5B7A685B45}"/>
              </a:ext>
            </a:extLst>
          </p:cNvPr>
          <p:cNvSpPr>
            <a:spLocks noGrp="1"/>
          </p:cNvSpPr>
          <p:nvPr>
            <p:ph type="body" sz="quarter" idx="27"/>
          </p:nvPr>
        </p:nvSpPr>
        <p:spPr>
          <a:xfrm>
            <a:off x="13942428" y="7774717"/>
            <a:ext cx="1562354" cy="1285673"/>
          </a:xfrm>
          <a:prstGeom prst="rect">
            <a:avLst/>
          </a:prstGeom>
        </p:spPr>
        <p:txBody>
          <a:bodyPr lIns="0" tIns="0" rIns="0" bIns="0">
            <a:spAutoFit/>
          </a:bodyPr>
          <a:lstStyle>
            <a:lvl1pPr defTabSz="822960">
              <a:lnSpc>
                <a:spcPct val="400000"/>
              </a:lnSpc>
              <a:spcBef>
                <a:spcPts val="0"/>
              </a:spcBef>
              <a:defRPr sz="2600" b="1" i="0">
                <a:solidFill>
                  <a:schemeClr val="tx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18" name="XX">
            <a:extLst>
              <a:ext uri="{FF2B5EF4-FFF2-40B4-BE49-F238E27FC236}">
                <a16:creationId xmlns:a16="http://schemas.microsoft.com/office/drawing/2014/main" id="{B9F6328A-944E-BD4D-988A-98B4D23FEDBC}"/>
              </a:ext>
            </a:extLst>
          </p:cNvPr>
          <p:cNvSpPr>
            <a:spLocks noGrp="1"/>
          </p:cNvSpPr>
          <p:nvPr>
            <p:ph type="body" sz="quarter" idx="28"/>
          </p:nvPr>
        </p:nvSpPr>
        <p:spPr>
          <a:xfrm>
            <a:off x="13942428" y="9157171"/>
            <a:ext cx="1562354" cy="1285673"/>
          </a:xfrm>
          <a:prstGeom prst="rect">
            <a:avLst/>
          </a:prstGeom>
        </p:spPr>
        <p:txBody>
          <a:bodyPr lIns="0" tIns="0" rIns="0" bIns="0">
            <a:spAutoFit/>
          </a:bodyPr>
          <a:lstStyle>
            <a:lvl1pPr defTabSz="822960">
              <a:lnSpc>
                <a:spcPct val="400000"/>
              </a:lnSpc>
              <a:spcBef>
                <a:spcPts val="0"/>
              </a:spcBef>
              <a:defRPr sz="2600" b="1" i="0">
                <a:solidFill>
                  <a:schemeClr val="tx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pic>
        <p:nvPicPr>
          <p:cNvPr id="19" name="friedolin_WB.jpg">
            <a:extLst>
              <a:ext uri="{FF2B5EF4-FFF2-40B4-BE49-F238E27FC236}">
                <a16:creationId xmlns:a16="http://schemas.microsoft.com/office/drawing/2014/main" id="{82CD51A8-903A-4762-838D-CF10A535AED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Date Placeholder 1">
            <a:extLst>
              <a:ext uri="{FF2B5EF4-FFF2-40B4-BE49-F238E27FC236}">
                <a16:creationId xmlns:a16="http://schemas.microsoft.com/office/drawing/2014/main" id="{A766CADF-747C-4174-B7DE-476F868F1C34}"/>
              </a:ext>
            </a:extLst>
          </p:cNvPr>
          <p:cNvSpPr>
            <a:spLocks noGrp="1"/>
          </p:cNvSpPr>
          <p:nvPr>
            <p:ph type="dt" sz="half" idx="31"/>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9ACF9F17-00F6-4A9E-9ABB-62B031474A50}"/>
              </a:ext>
            </a:extLst>
          </p:cNvPr>
          <p:cNvSpPr>
            <a:spLocks noGrp="1"/>
          </p:cNvSpPr>
          <p:nvPr>
            <p:ph type="ftr" sz="quarter" idx="32"/>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07D25875-99D5-4A13-8EFF-76DE1EE49EF9}"/>
              </a:ext>
            </a:extLst>
          </p:cNvPr>
          <p:cNvSpPr>
            <a:spLocks noGrp="1"/>
          </p:cNvSpPr>
          <p:nvPr>
            <p:ph type="sldNum" sz="quarter" idx="33"/>
          </p:nvPr>
        </p:nvSpPr>
        <p:spPr/>
        <p:txBody>
          <a:bodyPr/>
          <a:lstStyle>
            <a:lvl1pPr>
              <a:defRPr b="0" i="0"/>
            </a:lvl1pPr>
          </a:lstStyle>
          <a:p>
            <a:fld id="{F4562D32-726A-4413-ACA3-4E6BD640C7C8}" type="slidenum">
              <a:rPr lang="de-DE" smtClean="0"/>
              <a:pPr/>
              <a:t>‹#›</a:t>
            </a:fld>
            <a:endParaRPr lang="de-DE"/>
          </a:p>
        </p:txBody>
      </p:sp>
      <p:sp>
        <p:nvSpPr>
          <p:cNvPr id="12" name="Text Placeholder 14">
            <a:extLst>
              <a:ext uri="{FF2B5EF4-FFF2-40B4-BE49-F238E27FC236}">
                <a16:creationId xmlns:a16="http://schemas.microsoft.com/office/drawing/2014/main" id="{DCA4C912-856B-47E9-A2AB-9BC2313D7980}"/>
              </a:ext>
            </a:extLst>
          </p:cNvPr>
          <p:cNvSpPr>
            <a:spLocks noGrp="1"/>
          </p:cNvSpPr>
          <p:nvPr>
            <p:ph type="body" sz="quarter" idx="34"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spTree>
    <p:extLst>
      <p:ext uri="{BB962C8B-B14F-4D97-AF65-F5344CB8AC3E}">
        <p14:creationId xmlns:p14="http://schemas.microsoft.com/office/powerpoint/2010/main" val="2182071198"/>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dex (B)">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3548379"/>
            <a:ext cx="10579311" cy="7078861"/>
          </a:xfrm>
        </p:spPr>
        <p:txBody>
          <a:bodyPr/>
          <a:lstStyle>
            <a:lvl1pPr>
              <a:lnSpc>
                <a:spcPct val="100000"/>
              </a:lnSpc>
              <a:defRPr sz="9200" b="0" i="0">
                <a:solidFill>
                  <a:schemeClr val="bg1"/>
                </a:solidFill>
                <a:latin typeface="Times New Roman" panose="02020603050405020304" pitchFamily="18" charset="0"/>
              </a:defRPr>
            </a:lvl1pPr>
          </a:lstStyle>
          <a:p>
            <a:pPr lvl="0"/>
            <a:r>
              <a:rPr lang="en-US"/>
              <a:t>Section heading</a:t>
            </a:r>
          </a:p>
          <a:p>
            <a:pPr lvl="0"/>
            <a:r>
              <a:rPr lang="en-US"/>
              <a:t>Other section heading</a:t>
            </a:r>
          </a:p>
          <a:p>
            <a:pPr lvl="0"/>
            <a:r>
              <a:rPr lang="en-US"/>
              <a:t>Section heading</a:t>
            </a:r>
          </a:p>
          <a:p>
            <a:pPr lvl="0"/>
            <a:r>
              <a:rPr lang="en-US"/>
              <a:t>Other section heading</a:t>
            </a:r>
          </a:p>
          <a:p>
            <a:pPr lvl="0"/>
            <a:r>
              <a:rPr lang="en-US"/>
              <a:t>Section heading</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p:nvPr>
        </p:nvSpPr>
        <p:spPr>
          <a:xfrm>
            <a:off x="13942428" y="3601957"/>
            <a:ext cx="1562354" cy="1285673"/>
          </a:xfrm>
          <a:prstGeom prst="rect">
            <a:avLst/>
          </a:prstGeom>
        </p:spPr>
        <p:txBody>
          <a:bodyPr lIns="0" tIns="0" rIns="0" bIns="0">
            <a:spAutoFit/>
          </a:bodyPr>
          <a:lstStyle>
            <a:lvl1pPr defTabSz="822960">
              <a:lnSpc>
                <a:spcPct val="400000"/>
              </a:lnSpc>
              <a:spcBef>
                <a:spcPts val="0"/>
              </a:spcBef>
              <a:defRPr sz="2600" b="1" i="0">
                <a:solidFill>
                  <a:schemeClr val="bg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15" name="XX">
            <a:extLst>
              <a:ext uri="{FF2B5EF4-FFF2-40B4-BE49-F238E27FC236}">
                <a16:creationId xmlns:a16="http://schemas.microsoft.com/office/drawing/2014/main" id="{53D5A602-1C0A-E14C-957E-BD1AFD5CDAE1}"/>
              </a:ext>
            </a:extLst>
          </p:cNvPr>
          <p:cNvSpPr>
            <a:spLocks noGrp="1"/>
          </p:cNvSpPr>
          <p:nvPr>
            <p:ph type="body" sz="quarter" idx="25"/>
          </p:nvPr>
        </p:nvSpPr>
        <p:spPr>
          <a:xfrm>
            <a:off x="13942428" y="4959011"/>
            <a:ext cx="1562354" cy="1285673"/>
          </a:xfrm>
          <a:prstGeom prst="rect">
            <a:avLst/>
          </a:prstGeom>
        </p:spPr>
        <p:txBody>
          <a:bodyPr lIns="0" tIns="0" rIns="0" bIns="0">
            <a:spAutoFit/>
          </a:bodyPr>
          <a:lstStyle>
            <a:lvl1pPr defTabSz="822960">
              <a:lnSpc>
                <a:spcPct val="400000"/>
              </a:lnSpc>
              <a:spcBef>
                <a:spcPts val="0"/>
              </a:spcBef>
              <a:defRPr sz="2600" b="1" i="0">
                <a:solidFill>
                  <a:schemeClr val="bg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16" name="XX">
            <a:extLst>
              <a:ext uri="{FF2B5EF4-FFF2-40B4-BE49-F238E27FC236}">
                <a16:creationId xmlns:a16="http://schemas.microsoft.com/office/drawing/2014/main" id="{73D32A85-4461-E544-96D1-BFD3A609B263}"/>
              </a:ext>
            </a:extLst>
          </p:cNvPr>
          <p:cNvSpPr>
            <a:spLocks noGrp="1"/>
          </p:cNvSpPr>
          <p:nvPr>
            <p:ph type="body" sz="quarter" idx="26"/>
          </p:nvPr>
        </p:nvSpPr>
        <p:spPr>
          <a:xfrm>
            <a:off x="13942428" y="6379564"/>
            <a:ext cx="1562354" cy="1285673"/>
          </a:xfrm>
          <a:prstGeom prst="rect">
            <a:avLst/>
          </a:prstGeom>
        </p:spPr>
        <p:txBody>
          <a:bodyPr lIns="0" tIns="0" rIns="0" bIns="0">
            <a:spAutoFit/>
          </a:bodyPr>
          <a:lstStyle>
            <a:lvl1pPr defTabSz="822960">
              <a:lnSpc>
                <a:spcPct val="400000"/>
              </a:lnSpc>
              <a:spcBef>
                <a:spcPts val="0"/>
              </a:spcBef>
              <a:defRPr sz="2600" b="1" i="0">
                <a:solidFill>
                  <a:schemeClr val="bg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17" name="XX">
            <a:extLst>
              <a:ext uri="{FF2B5EF4-FFF2-40B4-BE49-F238E27FC236}">
                <a16:creationId xmlns:a16="http://schemas.microsoft.com/office/drawing/2014/main" id="{81713E40-EDAF-7640-8823-AD5B7A685B45}"/>
              </a:ext>
            </a:extLst>
          </p:cNvPr>
          <p:cNvSpPr>
            <a:spLocks noGrp="1"/>
          </p:cNvSpPr>
          <p:nvPr>
            <p:ph type="body" sz="quarter" idx="27"/>
          </p:nvPr>
        </p:nvSpPr>
        <p:spPr>
          <a:xfrm>
            <a:off x="13942428" y="7774717"/>
            <a:ext cx="1562354" cy="1285673"/>
          </a:xfrm>
          <a:prstGeom prst="rect">
            <a:avLst/>
          </a:prstGeom>
        </p:spPr>
        <p:txBody>
          <a:bodyPr lIns="0" tIns="0" rIns="0" bIns="0">
            <a:spAutoFit/>
          </a:bodyPr>
          <a:lstStyle>
            <a:lvl1pPr defTabSz="822960">
              <a:lnSpc>
                <a:spcPct val="400000"/>
              </a:lnSpc>
              <a:spcBef>
                <a:spcPts val="0"/>
              </a:spcBef>
              <a:defRPr sz="2600" b="1" i="0">
                <a:solidFill>
                  <a:schemeClr val="bg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18" name="XX">
            <a:extLst>
              <a:ext uri="{FF2B5EF4-FFF2-40B4-BE49-F238E27FC236}">
                <a16:creationId xmlns:a16="http://schemas.microsoft.com/office/drawing/2014/main" id="{B9F6328A-944E-BD4D-988A-98B4D23FEDBC}"/>
              </a:ext>
            </a:extLst>
          </p:cNvPr>
          <p:cNvSpPr>
            <a:spLocks noGrp="1"/>
          </p:cNvSpPr>
          <p:nvPr>
            <p:ph type="body" sz="quarter" idx="28"/>
          </p:nvPr>
        </p:nvSpPr>
        <p:spPr>
          <a:xfrm>
            <a:off x="13942428" y="9157171"/>
            <a:ext cx="1562354" cy="1285673"/>
          </a:xfrm>
          <a:prstGeom prst="rect">
            <a:avLst/>
          </a:prstGeom>
        </p:spPr>
        <p:txBody>
          <a:bodyPr lIns="0" tIns="0" rIns="0" bIns="0">
            <a:spAutoFit/>
          </a:bodyPr>
          <a:lstStyle>
            <a:lvl1pPr defTabSz="822960">
              <a:lnSpc>
                <a:spcPct val="400000"/>
              </a:lnSpc>
              <a:spcBef>
                <a:spcPts val="0"/>
              </a:spcBef>
              <a:defRPr sz="2600" b="1" i="0">
                <a:solidFill>
                  <a:schemeClr val="bg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grpSp>
        <p:nvGrpSpPr>
          <p:cNvPr id="12" name="Group">
            <a:extLst>
              <a:ext uri="{FF2B5EF4-FFF2-40B4-BE49-F238E27FC236}">
                <a16:creationId xmlns:a16="http://schemas.microsoft.com/office/drawing/2014/main" id="{2E1EBFB5-F0D1-4A1F-9452-502F295BD744}"/>
              </a:ext>
            </a:extLst>
          </p:cNvPr>
          <p:cNvGrpSpPr/>
          <p:nvPr userDrawn="1"/>
        </p:nvGrpSpPr>
        <p:grpSpPr>
          <a:xfrm>
            <a:off x="885450" y="12829819"/>
            <a:ext cx="885653" cy="885653"/>
            <a:chOff x="0" y="0"/>
            <a:chExt cx="885651" cy="885651"/>
          </a:xfrm>
        </p:grpSpPr>
        <p:sp>
          <p:nvSpPr>
            <p:cNvPr id="13" name="Square">
              <a:extLst>
                <a:ext uri="{FF2B5EF4-FFF2-40B4-BE49-F238E27FC236}">
                  <a16:creationId xmlns:a16="http://schemas.microsoft.com/office/drawing/2014/main" id="{C15E1D8C-901C-4D3A-9F3D-A086350E606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21" name="Image">
              <a:extLst>
                <a:ext uri="{FF2B5EF4-FFF2-40B4-BE49-F238E27FC236}">
                  <a16:creationId xmlns:a16="http://schemas.microsoft.com/office/drawing/2014/main" id="{F39A277A-B72B-4858-920E-E164469417D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5" name="Date Placeholder 4">
            <a:extLst>
              <a:ext uri="{FF2B5EF4-FFF2-40B4-BE49-F238E27FC236}">
                <a16:creationId xmlns:a16="http://schemas.microsoft.com/office/drawing/2014/main" id="{ECC736A2-1119-40CD-86D3-8E8A4A46D625}"/>
              </a:ext>
            </a:extLst>
          </p:cNvPr>
          <p:cNvSpPr>
            <a:spLocks noGrp="1"/>
          </p:cNvSpPr>
          <p:nvPr>
            <p:ph type="dt" sz="half" idx="31"/>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6" name="Footer Placeholder 5">
            <a:extLst>
              <a:ext uri="{FF2B5EF4-FFF2-40B4-BE49-F238E27FC236}">
                <a16:creationId xmlns:a16="http://schemas.microsoft.com/office/drawing/2014/main" id="{62C59672-EAFA-44C7-B73D-373FE717A98E}"/>
              </a:ext>
            </a:extLst>
          </p:cNvPr>
          <p:cNvSpPr>
            <a:spLocks noGrp="1"/>
          </p:cNvSpPr>
          <p:nvPr>
            <p:ph type="ftr" sz="quarter" idx="32"/>
          </p:nvPr>
        </p:nvSpPr>
        <p:spPr/>
        <p:txBody>
          <a:bodyPr/>
          <a:lstStyle>
            <a:lvl1pPr>
              <a:defRPr b="0" i="0"/>
            </a:lvl1pPr>
          </a:lstStyle>
          <a:p>
            <a:r>
              <a:rPr lang="en-US"/>
              <a:t>AI Genies | Claire the Car Repair Assessment Agent</a:t>
            </a:r>
            <a:endParaRPr lang="de-DE"/>
          </a:p>
        </p:txBody>
      </p:sp>
      <p:sp>
        <p:nvSpPr>
          <p:cNvPr id="7" name="Slide Number Placeholder 6">
            <a:extLst>
              <a:ext uri="{FF2B5EF4-FFF2-40B4-BE49-F238E27FC236}">
                <a16:creationId xmlns:a16="http://schemas.microsoft.com/office/drawing/2014/main" id="{1D1ADF2E-F13F-48AA-A7AC-6B24DBACAA25}"/>
              </a:ext>
            </a:extLst>
          </p:cNvPr>
          <p:cNvSpPr>
            <a:spLocks noGrp="1"/>
          </p:cNvSpPr>
          <p:nvPr>
            <p:ph type="sldNum" sz="quarter" idx="33"/>
          </p:nvPr>
        </p:nvSpPr>
        <p:spPr/>
        <p:txBody>
          <a:bodyPr/>
          <a:lstStyle>
            <a:lvl1pPr>
              <a:defRPr b="0" i="0"/>
            </a:lvl1pPr>
          </a:lstStyle>
          <a:p>
            <a:fld id="{F4562D32-726A-4413-ACA3-4E6BD640C7C8}" type="slidenum">
              <a:rPr lang="de-DE" smtClean="0"/>
              <a:pPr/>
              <a:t>‹#›</a:t>
            </a:fld>
            <a:endParaRPr lang="de-DE"/>
          </a:p>
        </p:txBody>
      </p:sp>
      <p:sp>
        <p:nvSpPr>
          <p:cNvPr id="19" name="Text Placeholder 14">
            <a:extLst>
              <a:ext uri="{FF2B5EF4-FFF2-40B4-BE49-F238E27FC236}">
                <a16:creationId xmlns:a16="http://schemas.microsoft.com/office/drawing/2014/main" id="{0D5E90A3-E065-417C-9413-EC6E6A32BE8B}"/>
              </a:ext>
            </a:extLst>
          </p:cNvPr>
          <p:cNvSpPr>
            <a:spLocks noGrp="1"/>
          </p:cNvSpPr>
          <p:nvPr>
            <p:ph type="body" sz="quarter" idx="34"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Tree>
    <p:extLst>
      <p:ext uri="{BB962C8B-B14F-4D97-AF65-F5344CB8AC3E}">
        <p14:creationId xmlns:p14="http://schemas.microsoft.com/office/powerpoint/2010/main" val="3963287697"/>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dex (W) with subheads">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2089140"/>
            <a:ext cx="10579311" cy="9953622"/>
          </a:xfrm>
        </p:spPr>
        <p:txBody>
          <a:bodyPr>
            <a:noAutofit/>
          </a:bodyPr>
          <a:lstStyle>
            <a:lvl1pPr>
              <a:lnSpc>
                <a:spcPct val="100000"/>
              </a:lnSpc>
              <a:defRPr sz="9200" b="0" i="0">
                <a:solidFill>
                  <a:schemeClr val="tx1"/>
                </a:solidFill>
                <a:latin typeface="Times New Roman" panose="02020603050405020304" pitchFamily="18" charset="0"/>
              </a:defRPr>
            </a:lvl1pPr>
            <a:lvl2pPr>
              <a:lnSpc>
                <a:spcPct val="130000"/>
              </a:lnSpc>
              <a:defRPr sz="3200" b="0" i="0"/>
            </a:lvl2pPr>
          </a:lstStyle>
          <a:p>
            <a:pPr lvl="0"/>
            <a:r>
              <a:rPr lang="en-US"/>
              <a:t>Section heading</a:t>
            </a:r>
          </a:p>
          <a:p>
            <a:pPr lvl="1"/>
            <a:r>
              <a:rPr lang="en-US"/>
              <a:t>Subhead 01</a:t>
            </a:r>
          </a:p>
          <a:p>
            <a:pPr lvl="1"/>
            <a:r>
              <a:rPr lang="en-US"/>
              <a:t>Subhead 02</a:t>
            </a:r>
          </a:p>
          <a:p>
            <a:pPr lvl="1"/>
            <a:r>
              <a:rPr lang="en-US"/>
              <a:t>Subhead 03</a:t>
            </a:r>
          </a:p>
          <a:p>
            <a:pPr lvl="0"/>
            <a:r>
              <a:rPr lang="en-US"/>
              <a:t>Section heading</a:t>
            </a:r>
          </a:p>
          <a:p>
            <a:pPr lvl="1"/>
            <a:r>
              <a:rPr lang="en-US"/>
              <a:t>Subhead 01</a:t>
            </a:r>
          </a:p>
          <a:p>
            <a:pPr lvl="1"/>
            <a:r>
              <a:rPr lang="en-US"/>
              <a:t>Subhead 02</a:t>
            </a:r>
          </a:p>
          <a:p>
            <a:pPr lvl="1"/>
            <a:r>
              <a:rPr lang="en-US"/>
              <a:t>Subhead 03</a:t>
            </a:r>
          </a:p>
          <a:p>
            <a:pPr lvl="0"/>
            <a:r>
              <a:rPr lang="en-US"/>
              <a:t>Section heading</a:t>
            </a:r>
          </a:p>
          <a:p>
            <a:pPr lvl="1"/>
            <a:r>
              <a:rPr lang="en-US"/>
              <a:t>Subhead 01</a:t>
            </a:r>
          </a:p>
          <a:p>
            <a:pPr lvl="1"/>
            <a:r>
              <a:rPr lang="en-US"/>
              <a:t>Subhead 02</a:t>
            </a:r>
          </a:p>
          <a:p>
            <a:pPr lvl="1"/>
            <a:r>
              <a:rPr lang="en-US"/>
              <a:t>Subhead 03</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hasCustomPrompt="1"/>
          </p:nvPr>
        </p:nvSpPr>
        <p:spPr>
          <a:xfrm>
            <a:off x="13942428" y="2089140"/>
            <a:ext cx="1562354" cy="1210320"/>
          </a:xfrm>
          <a:prstGeom prst="rect">
            <a:avLst/>
          </a:prstGeom>
        </p:spPr>
        <p:txBody>
          <a:bodyPr lIns="0" tIns="0" rIns="0" bIns="0" anchor="b">
            <a:noAutofit/>
          </a:bodyPr>
          <a:lstStyle>
            <a:lvl1pPr defTabSz="822960">
              <a:lnSpc>
                <a:spcPct val="100000"/>
              </a:lnSpc>
              <a:spcBef>
                <a:spcPts val="0"/>
              </a:spcBef>
              <a:defRPr sz="2600" b="1" i="0">
                <a:solidFill>
                  <a:schemeClr val="tx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pic>
        <p:nvPicPr>
          <p:cNvPr id="19" name="friedolin_WB.jpg">
            <a:extLst>
              <a:ext uri="{FF2B5EF4-FFF2-40B4-BE49-F238E27FC236}">
                <a16:creationId xmlns:a16="http://schemas.microsoft.com/office/drawing/2014/main" id="{82CD51A8-903A-4762-838D-CF10A535AED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3" name="XX">
            <a:extLst>
              <a:ext uri="{FF2B5EF4-FFF2-40B4-BE49-F238E27FC236}">
                <a16:creationId xmlns:a16="http://schemas.microsoft.com/office/drawing/2014/main" id="{DBF55034-C4B7-4678-9208-9592D7DE526B}"/>
              </a:ext>
            </a:extLst>
          </p:cNvPr>
          <p:cNvSpPr>
            <a:spLocks noGrp="1"/>
          </p:cNvSpPr>
          <p:nvPr>
            <p:ph type="body" sz="quarter" idx="31" hasCustomPrompt="1"/>
          </p:nvPr>
        </p:nvSpPr>
        <p:spPr>
          <a:xfrm>
            <a:off x="13942428" y="5392888"/>
            <a:ext cx="1562354" cy="1210320"/>
          </a:xfrm>
          <a:prstGeom prst="rect">
            <a:avLst/>
          </a:prstGeom>
        </p:spPr>
        <p:txBody>
          <a:bodyPr lIns="0" tIns="0" rIns="0" bIns="0" anchor="b">
            <a:noAutofit/>
          </a:bodyPr>
          <a:lstStyle>
            <a:lvl1pPr defTabSz="822960">
              <a:lnSpc>
                <a:spcPct val="100000"/>
              </a:lnSpc>
              <a:spcBef>
                <a:spcPts val="0"/>
              </a:spcBef>
              <a:defRPr sz="2600" b="1" i="0">
                <a:solidFill>
                  <a:schemeClr val="tx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21" name="XX">
            <a:extLst>
              <a:ext uri="{FF2B5EF4-FFF2-40B4-BE49-F238E27FC236}">
                <a16:creationId xmlns:a16="http://schemas.microsoft.com/office/drawing/2014/main" id="{47CB3E39-5730-4B76-B2DE-42A9772A0670}"/>
              </a:ext>
            </a:extLst>
          </p:cNvPr>
          <p:cNvSpPr>
            <a:spLocks noGrp="1"/>
          </p:cNvSpPr>
          <p:nvPr>
            <p:ph type="body" sz="quarter" idx="32" hasCustomPrompt="1"/>
          </p:nvPr>
        </p:nvSpPr>
        <p:spPr>
          <a:xfrm>
            <a:off x="13942428" y="8696636"/>
            <a:ext cx="1562354" cy="1210320"/>
          </a:xfrm>
          <a:prstGeom prst="rect">
            <a:avLst/>
          </a:prstGeom>
        </p:spPr>
        <p:txBody>
          <a:bodyPr lIns="0" tIns="0" rIns="0" bIns="0" anchor="b">
            <a:noAutofit/>
          </a:bodyPr>
          <a:lstStyle>
            <a:lvl1pPr defTabSz="822960">
              <a:lnSpc>
                <a:spcPct val="100000"/>
              </a:lnSpc>
              <a:spcBef>
                <a:spcPts val="0"/>
              </a:spcBef>
              <a:defRPr sz="2600" b="1" i="0">
                <a:solidFill>
                  <a:schemeClr val="tx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2" name="Date Placeholder 1">
            <a:extLst>
              <a:ext uri="{FF2B5EF4-FFF2-40B4-BE49-F238E27FC236}">
                <a16:creationId xmlns:a16="http://schemas.microsoft.com/office/drawing/2014/main" id="{FE4D6A38-2858-45FC-A7CC-610910A60359}"/>
              </a:ext>
            </a:extLst>
          </p:cNvPr>
          <p:cNvSpPr>
            <a:spLocks noGrp="1"/>
          </p:cNvSpPr>
          <p:nvPr>
            <p:ph type="dt" sz="half" idx="33"/>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28A90B93-A6CC-4D76-9C1E-BCCAF09A6095}"/>
              </a:ext>
            </a:extLst>
          </p:cNvPr>
          <p:cNvSpPr>
            <a:spLocks noGrp="1"/>
          </p:cNvSpPr>
          <p:nvPr>
            <p:ph type="ftr" sz="quarter" idx="34"/>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E89F90F8-B75E-4F86-91F5-66CDA52915A5}"/>
              </a:ext>
            </a:extLst>
          </p:cNvPr>
          <p:cNvSpPr>
            <a:spLocks noGrp="1"/>
          </p:cNvSpPr>
          <p:nvPr>
            <p:ph type="sldNum" sz="quarter" idx="35"/>
          </p:nvPr>
        </p:nvSpPr>
        <p:spPr/>
        <p:txBody>
          <a:bodyPr/>
          <a:lstStyle>
            <a:lvl1pPr>
              <a:defRPr b="0" i="0"/>
            </a:lvl1pPr>
          </a:lstStyle>
          <a:p>
            <a:fld id="{F4562D32-726A-4413-ACA3-4E6BD640C7C8}" type="slidenum">
              <a:rPr lang="de-DE" smtClean="0"/>
              <a:pPr/>
              <a:t>‹#›</a:t>
            </a:fld>
            <a:endParaRPr lang="de-DE"/>
          </a:p>
        </p:txBody>
      </p:sp>
      <p:sp>
        <p:nvSpPr>
          <p:cNvPr id="10" name="Text Placeholder 14">
            <a:extLst>
              <a:ext uri="{FF2B5EF4-FFF2-40B4-BE49-F238E27FC236}">
                <a16:creationId xmlns:a16="http://schemas.microsoft.com/office/drawing/2014/main" id="{EB917041-0DF1-470A-9EC6-627F94AF4B8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spTree>
    <p:extLst>
      <p:ext uri="{BB962C8B-B14F-4D97-AF65-F5344CB8AC3E}">
        <p14:creationId xmlns:p14="http://schemas.microsoft.com/office/powerpoint/2010/main" val="435208645"/>
      </p:ext>
    </p:extLst>
  </p:cSld>
  <p:clrMapOvr>
    <a:masterClrMapping/>
  </p:clrMapOvr>
  <p:transition spd="med"/>
  <p:extLst>
    <p:ext uri="{DCECCB84-F9BA-43D5-87BE-67443E8EF086}">
      <p15:sldGuideLst xmlns:p15="http://schemas.microsoft.com/office/powerpoint/2012/main">
        <p15:guide id="1" orient="horz" pos="2024" userDrawn="1">
          <p15:clr>
            <a:srgbClr val="FBAE40"/>
          </p15:clr>
        </p15:guide>
        <p15:guide id="2" orient="horz" pos="4105" userDrawn="1">
          <p15:clr>
            <a:srgbClr val="FBAE40"/>
          </p15:clr>
        </p15:guide>
        <p15:guide id="3" orient="horz" pos="619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1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400" b="0" i="0" cap="all" baseline="0">
                <a:solidFill>
                  <a:schemeClr val="bg1"/>
                </a:solidFill>
                <a:latin typeface="Arial" panose="020B0604020202020204" pitchFamily="34" charset="0"/>
                <a:cs typeface="Arial" panose="020B0604020202020204" pitchFamily="34" charset="0"/>
              </a:defRPr>
            </a:lvl1pPr>
          </a:lstStyle>
          <a:p>
            <a:endParaRPr lang="de-DE"/>
          </a:p>
        </p:txBody>
      </p:sp>
      <p:pic>
        <p:nvPicPr>
          <p:cNvPr id="18" name="frog-Cap-Invent-logo-horizontal-white.png">
            <a:extLst>
              <a:ext uri="{FF2B5EF4-FFF2-40B4-BE49-F238E27FC236}">
                <a16:creationId xmlns:a16="http://schemas.microsoft.com/office/drawing/2014/main" id="{46E09E16-95CD-46A1-9741-2FFB42235E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56950" y="10237550"/>
            <a:ext cx="4622801" cy="1253142"/>
          </a:xfrm>
          <a:prstGeom prst="rect">
            <a:avLst/>
          </a:prstGeom>
          <a:ln w="12700">
            <a:miter lim="400000"/>
          </a:ln>
        </p:spPr>
      </p:pic>
      <p:sp>
        <p:nvSpPr>
          <p:cNvPr id="21" name="Title 3">
            <a:extLst>
              <a:ext uri="{FF2B5EF4-FFF2-40B4-BE49-F238E27FC236}">
                <a16:creationId xmlns:a16="http://schemas.microsoft.com/office/drawing/2014/main" id="{F8B58677-3F06-41E3-BE6B-7C7EED0FA068}"/>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a:t>Presentation title</a:t>
            </a:r>
          </a:p>
        </p:txBody>
      </p:sp>
      <p:sp>
        <p:nvSpPr>
          <p:cNvPr id="3" name="Footer Placeholder 8">
            <a:extLst>
              <a:ext uri="{FF2B5EF4-FFF2-40B4-BE49-F238E27FC236}">
                <a16:creationId xmlns:a16="http://schemas.microsoft.com/office/drawing/2014/main" id="{81B626D2-49D0-E02D-E06B-C070CC44E133}"/>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b="0" i="0" spc="48">
                <a:solidFill>
                  <a:schemeClr val="bg1">
                    <a:lumMod val="65000"/>
                  </a:schemeClr>
                </a:solidFill>
                <a:latin typeface="Arial" panose="020B0604020202020204" pitchFamily="34" charset="0"/>
                <a:cs typeface="Arial" panose="020B0604020202020204" pitchFamily="34" charset="0"/>
              </a:defRPr>
            </a:lvl1pPr>
          </a:lstStyle>
          <a:p>
            <a:r>
              <a:rPr lang="en-US"/>
              <a:t>AI Genies | Claire the Car Repair Assessment Agent</a:t>
            </a:r>
            <a:endParaRPr lang="de-DE"/>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dex (B) with subheads">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2089140"/>
            <a:ext cx="10579311" cy="9953622"/>
          </a:xfrm>
        </p:spPr>
        <p:txBody>
          <a:bodyPr>
            <a:noAutofit/>
          </a:bodyPr>
          <a:lstStyle>
            <a:lvl1pPr>
              <a:lnSpc>
                <a:spcPct val="100000"/>
              </a:lnSpc>
              <a:defRPr sz="9200" b="0" i="0">
                <a:solidFill>
                  <a:schemeClr val="bg1"/>
                </a:solidFill>
                <a:latin typeface="Times New Roman" panose="02020603050405020304" pitchFamily="18" charset="0"/>
              </a:defRPr>
            </a:lvl1pPr>
            <a:lvl2pPr>
              <a:lnSpc>
                <a:spcPct val="130000"/>
              </a:lnSpc>
              <a:defRPr sz="3200" b="0" i="0">
                <a:solidFill>
                  <a:schemeClr val="bg1"/>
                </a:solidFill>
              </a:defRPr>
            </a:lvl2pPr>
          </a:lstStyle>
          <a:p>
            <a:pPr lvl="0"/>
            <a:r>
              <a:rPr lang="en-US"/>
              <a:t>Section heading</a:t>
            </a:r>
          </a:p>
          <a:p>
            <a:pPr lvl="1"/>
            <a:r>
              <a:rPr lang="en-US"/>
              <a:t>Subhead 01</a:t>
            </a:r>
          </a:p>
          <a:p>
            <a:pPr lvl="1"/>
            <a:r>
              <a:rPr lang="en-US"/>
              <a:t>Subhead 02</a:t>
            </a:r>
          </a:p>
          <a:p>
            <a:pPr lvl="1"/>
            <a:r>
              <a:rPr lang="en-US"/>
              <a:t>Subhead 03</a:t>
            </a:r>
          </a:p>
          <a:p>
            <a:pPr lvl="0"/>
            <a:r>
              <a:rPr lang="en-US"/>
              <a:t>Section heading</a:t>
            </a:r>
          </a:p>
          <a:p>
            <a:pPr lvl="1"/>
            <a:r>
              <a:rPr lang="en-US"/>
              <a:t>Subhead 01</a:t>
            </a:r>
          </a:p>
          <a:p>
            <a:pPr lvl="1"/>
            <a:r>
              <a:rPr lang="en-US"/>
              <a:t>Subhead 02</a:t>
            </a:r>
          </a:p>
          <a:p>
            <a:pPr lvl="1"/>
            <a:r>
              <a:rPr lang="en-US"/>
              <a:t>Subhead 03</a:t>
            </a:r>
          </a:p>
          <a:p>
            <a:pPr lvl="0"/>
            <a:r>
              <a:rPr lang="en-US"/>
              <a:t>Section heading</a:t>
            </a:r>
          </a:p>
          <a:p>
            <a:pPr lvl="1"/>
            <a:r>
              <a:rPr lang="en-US"/>
              <a:t>Subhead 01</a:t>
            </a:r>
          </a:p>
          <a:p>
            <a:pPr lvl="1"/>
            <a:r>
              <a:rPr lang="en-US"/>
              <a:t>Subhead 02</a:t>
            </a:r>
          </a:p>
          <a:p>
            <a:pPr lvl="1"/>
            <a:r>
              <a:rPr lang="en-US"/>
              <a:t>Subhead 03</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hasCustomPrompt="1"/>
          </p:nvPr>
        </p:nvSpPr>
        <p:spPr>
          <a:xfrm>
            <a:off x="13942428" y="2089140"/>
            <a:ext cx="1562354" cy="1210320"/>
          </a:xfrm>
          <a:prstGeom prst="rect">
            <a:avLst/>
          </a:prstGeom>
        </p:spPr>
        <p:txBody>
          <a:bodyPr lIns="0" tIns="0" rIns="0" bIns="0" anchor="b">
            <a:noAutofit/>
          </a:bodyPr>
          <a:lstStyle>
            <a:lvl1pPr defTabSz="822960">
              <a:lnSpc>
                <a:spcPct val="100000"/>
              </a:lnSpc>
              <a:spcBef>
                <a:spcPts val="0"/>
              </a:spcBef>
              <a:defRPr sz="2600" b="1" i="0">
                <a:solidFill>
                  <a:schemeClr val="bg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13" name="XX">
            <a:extLst>
              <a:ext uri="{FF2B5EF4-FFF2-40B4-BE49-F238E27FC236}">
                <a16:creationId xmlns:a16="http://schemas.microsoft.com/office/drawing/2014/main" id="{DBF55034-C4B7-4678-9208-9592D7DE526B}"/>
              </a:ext>
            </a:extLst>
          </p:cNvPr>
          <p:cNvSpPr>
            <a:spLocks noGrp="1"/>
          </p:cNvSpPr>
          <p:nvPr>
            <p:ph type="body" sz="quarter" idx="31" hasCustomPrompt="1"/>
          </p:nvPr>
        </p:nvSpPr>
        <p:spPr>
          <a:xfrm>
            <a:off x="13942428" y="5392888"/>
            <a:ext cx="1562354" cy="1210320"/>
          </a:xfrm>
          <a:prstGeom prst="rect">
            <a:avLst/>
          </a:prstGeom>
        </p:spPr>
        <p:txBody>
          <a:bodyPr lIns="0" tIns="0" rIns="0" bIns="0" anchor="b">
            <a:noAutofit/>
          </a:bodyPr>
          <a:lstStyle>
            <a:lvl1pPr defTabSz="822960">
              <a:lnSpc>
                <a:spcPct val="100000"/>
              </a:lnSpc>
              <a:spcBef>
                <a:spcPts val="0"/>
              </a:spcBef>
              <a:defRPr sz="2600" b="1" i="0">
                <a:solidFill>
                  <a:schemeClr val="bg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sp>
        <p:nvSpPr>
          <p:cNvPr id="21" name="XX">
            <a:extLst>
              <a:ext uri="{FF2B5EF4-FFF2-40B4-BE49-F238E27FC236}">
                <a16:creationId xmlns:a16="http://schemas.microsoft.com/office/drawing/2014/main" id="{47CB3E39-5730-4B76-B2DE-42A9772A0670}"/>
              </a:ext>
            </a:extLst>
          </p:cNvPr>
          <p:cNvSpPr>
            <a:spLocks noGrp="1"/>
          </p:cNvSpPr>
          <p:nvPr>
            <p:ph type="body" sz="quarter" idx="32" hasCustomPrompt="1"/>
          </p:nvPr>
        </p:nvSpPr>
        <p:spPr>
          <a:xfrm>
            <a:off x="13942428" y="8696636"/>
            <a:ext cx="1562354" cy="1210320"/>
          </a:xfrm>
          <a:prstGeom prst="rect">
            <a:avLst/>
          </a:prstGeom>
        </p:spPr>
        <p:txBody>
          <a:bodyPr lIns="0" tIns="0" rIns="0" bIns="0" anchor="b">
            <a:noAutofit/>
          </a:bodyPr>
          <a:lstStyle>
            <a:lvl1pPr defTabSz="822960">
              <a:lnSpc>
                <a:spcPct val="100000"/>
              </a:lnSpc>
              <a:spcBef>
                <a:spcPts val="0"/>
              </a:spcBef>
              <a:defRPr sz="2600" b="1" i="0">
                <a:solidFill>
                  <a:schemeClr val="bg1"/>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XX</a:t>
            </a:r>
          </a:p>
        </p:txBody>
      </p:sp>
      <p:grpSp>
        <p:nvGrpSpPr>
          <p:cNvPr id="15" name="Group">
            <a:extLst>
              <a:ext uri="{FF2B5EF4-FFF2-40B4-BE49-F238E27FC236}">
                <a16:creationId xmlns:a16="http://schemas.microsoft.com/office/drawing/2014/main" id="{91B64E7F-FA88-4143-B5CC-C2C2C7766336}"/>
              </a:ext>
            </a:extLst>
          </p:cNvPr>
          <p:cNvGrpSpPr/>
          <p:nvPr userDrawn="1"/>
        </p:nvGrpSpPr>
        <p:grpSpPr>
          <a:xfrm>
            <a:off x="885450" y="12829819"/>
            <a:ext cx="885653" cy="885653"/>
            <a:chOff x="0" y="0"/>
            <a:chExt cx="885651" cy="885651"/>
          </a:xfrm>
        </p:grpSpPr>
        <p:sp>
          <p:nvSpPr>
            <p:cNvPr id="16" name="Square">
              <a:extLst>
                <a:ext uri="{FF2B5EF4-FFF2-40B4-BE49-F238E27FC236}">
                  <a16:creationId xmlns:a16="http://schemas.microsoft.com/office/drawing/2014/main" id="{DF2C4D5A-1005-430B-92DC-79A70449E71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7" name="Image">
              <a:extLst>
                <a:ext uri="{FF2B5EF4-FFF2-40B4-BE49-F238E27FC236}">
                  <a16:creationId xmlns:a16="http://schemas.microsoft.com/office/drawing/2014/main" id="{C9126241-7C6B-4986-82D6-72A43AD7B8D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2" name="Date Placeholder 1">
            <a:extLst>
              <a:ext uri="{FF2B5EF4-FFF2-40B4-BE49-F238E27FC236}">
                <a16:creationId xmlns:a16="http://schemas.microsoft.com/office/drawing/2014/main" id="{CCDE36BE-1483-402D-84AC-546870311622}"/>
              </a:ext>
            </a:extLst>
          </p:cNvPr>
          <p:cNvSpPr>
            <a:spLocks noGrp="1"/>
          </p:cNvSpPr>
          <p:nvPr>
            <p:ph type="dt" sz="half" idx="33"/>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386A0D8D-9743-45CE-99CA-FB7722AF74F4}"/>
              </a:ext>
            </a:extLst>
          </p:cNvPr>
          <p:cNvSpPr>
            <a:spLocks noGrp="1"/>
          </p:cNvSpPr>
          <p:nvPr>
            <p:ph type="ftr" sz="quarter" idx="34"/>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6231F851-D71E-488C-BDD0-FF4A01CBE7AB}"/>
              </a:ext>
            </a:extLst>
          </p:cNvPr>
          <p:cNvSpPr>
            <a:spLocks noGrp="1"/>
          </p:cNvSpPr>
          <p:nvPr>
            <p:ph type="sldNum" sz="quarter" idx="35"/>
          </p:nvPr>
        </p:nvSpPr>
        <p:spPr/>
        <p:txBody>
          <a:bodyPr/>
          <a:lstStyle>
            <a:lvl1pPr>
              <a:defRPr b="0" i="0"/>
            </a:lvl1pPr>
          </a:lstStyle>
          <a:p>
            <a:fld id="{F4562D32-726A-4413-ACA3-4E6BD640C7C8}" type="slidenum">
              <a:rPr lang="de-DE" smtClean="0"/>
              <a:pPr/>
              <a:t>‹#›</a:t>
            </a:fld>
            <a:endParaRPr lang="de-DE"/>
          </a:p>
        </p:txBody>
      </p:sp>
      <p:sp>
        <p:nvSpPr>
          <p:cNvPr id="12" name="Text Placeholder 14">
            <a:extLst>
              <a:ext uri="{FF2B5EF4-FFF2-40B4-BE49-F238E27FC236}">
                <a16:creationId xmlns:a16="http://schemas.microsoft.com/office/drawing/2014/main" id="{FE83B043-139B-4AD4-AF37-9E4B408379BC}"/>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Tree>
    <p:extLst>
      <p:ext uri="{BB962C8B-B14F-4D97-AF65-F5344CB8AC3E}">
        <p14:creationId xmlns:p14="http://schemas.microsoft.com/office/powerpoint/2010/main" val="2651665487"/>
      </p:ext>
    </p:extLst>
  </p:cSld>
  <p:clrMapOvr>
    <a:masterClrMapping/>
  </p:clrMapOvr>
  <p:transition spd="med"/>
  <p:extLst>
    <p:ext uri="{DCECCB84-F9BA-43D5-87BE-67443E8EF086}">
      <p15:sldGuideLst xmlns:p15="http://schemas.microsoft.com/office/powerpoint/2012/main">
        <p15:guide id="1" orient="horz" pos="2024" userDrawn="1">
          <p15:clr>
            <a:srgbClr val="FBAE40"/>
          </p15:clr>
        </p15:guide>
        <p15:guide id="2" orient="horz" pos="4105" userDrawn="1">
          <p15:clr>
            <a:srgbClr val="FBAE40"/>
          </p15:clr>
        </p15:guide>
        <p15:guide id="3" orient="horz" pos="619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break #1 (W)">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9D20C4D-CDA3-4834-803F-603DA16545E8}"/>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b="0" i="0"/>
            </a:lvl1pPr>
          </a:lstStyle>
          <a:p>
            <a:endParaRPr/>
          </a:p>
        </p:txBody>
      </p:sp>
      <p:pic>
        <p:nvPicPr>
          <p:cNvPr id="6" name="friedolin_WB.jpg">
            <a:extLst>
              <a:ext uri="{FF2B5EF4-FFF2-40B4-BE49-F238E27FC236}">
                <a16:creationId xmlns:a16="http://schemas.microsoft.com/office/drawing/2014/main" id="{0256220B-4BCF-4A61-BFB9-98D121838D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tx1"/>
                </a:solidFill>
              </a:defRPr>
            </a:lvl1pPr>
          </a:lstStyle>
          <a:p>
            <a:r>
              <a:rPr lang="en-US"/>
              <a:t>Section break</a:t>
            </a:r>
            <a:endParaRPr lang="de-DE"/>
          </a:p>
        </p:txBody>
      </p:sp>
    </p:spTree>
    <p:extLst>
      <p:ext uri="{BB962C8B-B14F-4D97-AF65-F5344CB8AC3E}">
        <p14:creationId xmlns:p14="http://schemas.microsoft.com/office/powerpoint/2010/main" val="466005349"/>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break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bg1"/>
                </a:solidFill>
              </a:defRPr>
            </a:lvl1pPr>
          </a:lstStyle>
          <a:p>
            <a:r>
              <a:rPr lang="en-US"/>
              <a:t>Section break</a:t>
            </a:r>
            <a:endParaRPr lang="de-DE"/>
          </a:p>
        </p:txBody>
      </p:sp>
      <p:grpSp>
        <p:nvGrpSpPr>
          <p:cNvPr id="5" name="Group">
            <a:extLst>
              <a:ext uri="{FF2B5EF4-FFF2-40B4-BE49-F238E27FC236}">
                <a16:creationId xmlns:a16="http://schemas.microsoft.com/office/drawing/2014/main" id="{07FAC7C3-B39B-43B6-A0B7-E0CD730F867D}"/>
              </a:ext>
            </a:extLst>
          </p:cNvPr>
          <p:cNvGrpSpPr/>
          <p:nvPr userDrawn="1"/>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943529977"/>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break #1 (I)">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C0A197B5-E48B-4D6E-AE03-84CB93BEE28D}"/>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b="0" i="0">
                <a:solidFill>
                  <a:schemeClr val="bg1"/>
                </a:solidFill>
              </a:defRPr>
            </a:lvl1pPr>
          </a:lstStyle>
          <a:p>
            <a:endParaRPr/>
          </a:p>
        </p:txBody>
      </p:sp>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bg1"/>
                </a:solidFill>
              </a:defRPr>
            </a:lvl1pPr>
          </a:lstStyle>
          <a:p>
            <a:r>
              <a:rPr lang="en-US"/>
              <a:t>Section break</a:t>
            </a:r>
            <a:endParaRPr lang="de-DE"/>
          </a:p>
        </p:txBody>
      </p:sp>
      <p:grpSp>
        <p:nvGrpSpPr>
          <p:cNvPr id="5" name="Group">
            <a:extLst>
              <a:ext uri="{FF2B5EF4-FFF2-40B4-BE49-F238E27FC236}">
                <a16:creationId xmlns:a16="http://schemas.microsoft.com/office/drawing/2014/main" id="{07FAC7C3-B39B-43B6-A0B7-E0CD730F867D}"/>
              </a:ext>
            </a:extLst>
          </p:cNvPr>
          <p:cNvGrpSpPr/>
          <p:nvPr userDrawn="1"/>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496235580"/>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break #2 (W)">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7A13600-C653-4F6D-BBC4-8FDE432EE53D}"/>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b="0" i="0"/>
            </a:lvl1pPr>
          </a:lstStyle>
          <a:p>
            <a:endParaRPr/>
          </a:p>
        </p:txBody>
      </p:sp>
      <p:pic>
        <p:nvPicPr>
          <p:cNvPr id="6" name="friedolin_WB.jpg">
            <a:extLst>
              <a:ext uri="{FF2B5EF4-FFF2-40B4-BE49-F238E27FC236}">
                <a16:creationId xmlns:a16="http://schemas.microsoft.com/office/drawing/2014/main" id="{0256220B-4BCF-4A61-BFB9-98D121838D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anchor="t">
            <a:spAutoFit/>
          </a:bodyPr>
          <a:lstStyle>
            <a:lvl1pPr algn="ctr">
              <a:defRPr sz="17200">
                <a:solidFill>
                  <a:schemeClr val="tx1"/>
                </a:solidFill>
              </a:defRPr>
            </a:lvl1pPr>
          </a:lstStyle>
          <a:p>
            <a:r>
              <a:rPr lang="en-US"/>
              <a:t>Section break</a:t>
            </a:r>
            <a:endParaRPr lang="de-DE"/>
          </a:p>
        </p:txBody>
      </p:sp>
    </p:spTree>
    <p:extLst>
      <p:ext uri="{BB962C8B-B14F-4D97-AF65-F5344CB8AC3E}">
        <p14:creationId xmlns:p14="http://schemas.microsoft.com/office/powerpoint/2010/main" val="2298626961"/>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break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vert="horz" wrap="square" lIns="0" tIns="0" rIns="0" bIns="0" anchor="t" anchorCtr="0">
            <a:spAutoFit/>
          </a:bodyPr>
          <a:lstStyle>
            <a:lvl1pPr algn="ctr">
              <a:defRPr sz="17200">
                <a:solidFill>
                  <a:schemeClr val="bg1"/>
                </a:solidFill>
              </a:defRPr>
            </a:lvl1pPr>
          </a:lstStyle>
          <a:p>
            <a:r>
              <a:rPr lang="en-US"/>
              <a:t>Section break</a:t>
            </a:r>
            <a:endParaRPr lang="de-DE"/>
          </a:p>
        </p:txBody>
      </p:sp>
      <p:grpSp>
        <p:nvGrpSpPr>
          <p:cNvPr id="5" name="Group">
            <a:extLst>
              <a:ext uri="{FF2B5EF4-FFF2-40B4-BE49-F238E27FC236}">
                <a16:creationId xmlns:a16="http://schemas.microsoft.com/office/drawing/2014/main" id="{07FAC7C3-B39B-43B6-A0B7-E0CD730F867D}"/>
              </a:ext>
            </a:extLst>
          </p:cNvPr>
          <p:cNvGrpSpPr/>
          <p:nvPr userDrawn="1"/>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347597604"/>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break #2 (I)">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A00C4C4-9418-43F6-9981-1AF4BBAFF045}"/>
              </a:ext>
            </a:extLst>
          </p:cNvPr>
          <p:cNvSpPr>
            <a:spLocks noGrp="1"/>
          </p:cNvSpPr>
          <p:nvPr>
            <p:ph type="pic" idx="21"/>
          </p:nvPr>
        </p:nvSpPr>
        <p:spPr>
          <a:xfrm>
            <a:off x="0" y="0"/>
            <a:ext cx="24384000" cy="13716000"/>
          </a:xfrm>
          <a:custGeom>
            <a:avLst/>
            <a:gdLst>
              <a:gd name="connsiteX0" fmla="*/ 885450 w 24384000"/>
              <a:gd name="connsiteY0" fmla="*/ 12829819 h 13716000"/>
              <a:gd name="connsiteX1" fmla="*/ 885450 w 24384000"/>
              <a:gd name="connsiteY1" fmla="*/ 13715473 h 13716000"/>
              <a:gd name="connsiteX2" fmla="*/ 1771103 w 24384000"/>
              <a:gd name="connsiteY2" fmla="*/ 13715473 h 13716000"/>
              <a:gd name="connsiteX3" fmla="*/ 1771103 w 24384000"/>
              <a:gd name="connsiteY3" fmla="*/ 12829819 h 13716000"/>
              <a:gd name="connsiteX4" fmla="*/ 0 w 24384000"/>
              <a:gd name="connsiteY4" fmla="*/ 0 h 13716000"/>
              <a:gd name="connsiteX5" fmla="*/ 24384000 w 24384000"/>
              <a:gd name="connsiteY5" fmla="*/ 0 h 13716000"/>
              <a:gd name="connsiteX6" fmla="*/ 24384000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885450" y="12829819"/>
                </a:moveTo>
                <a:lnTo>
                  <a:pt x="885450" y="13715473"/>
                </a:lnTo>
                <a:lnTo>
                  <a:pt x="1771103" y="13715473"/>
                </a:lnTo>
                <a:lnTo>
                  <a:pt x="1771103" y="12829819"/>
                </a:lnTo>
                <a:close/>
                <a:moveTo>
                  <a:pt x="0" y="0"/>
                </a:moveTo>
                <a:lnTo>
                  <a:pt x="24384000" y="0"/>
                </a:lnTo>
                <a:lnTo>
                  <a:pt x="24384000"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b="0" i="0">
                <a:solidFill>
                  <a:schemeClr val="bg1"/>
                </a:solidFill>
              </a:defRPr>
            </a:lvl1pPr>
          </a:lstStyle>
          <a:p>
            <a:endParaRPr/>
          </a:p>
        </p:txBody>
      </p:sp>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vert="horz" wrap="square" lIns="0" tIns="0" rIns="0" bIns="0" anchor="t" anchorCtr="0">
            <a:spAutoFit/>
          </a:bodyPr>
          <a:lstStyle>
            <a:lvl1pPr algn="ctr">
              <a:defRPr sz="17200">
                <a:solidFill>
                  <a:schemeClr val="bg1"/>
                </a:solidFill>
              </a:defRPr>
            </a:lvl1pPr>
          </a:lstStyle>
          <a:p>
            <a:r>
              <a:rPr lang="en-US"/>
              <a:t>Section break</a:t>
            </a:r>
            <a:endParaRPr lang="de-DE"/>
          </a:p>
        </p:txBody>
      </p:sp>
      <p:grpSp>
        <p:nvGrpSpPr>
          <p:cNvPr id="5" name="Group">
            <a:extLst>
              <a:ext uri="{FF2B5EF4-FFF2-40B4-BE49-F238E27FC236}">
                <a16:creationId xmlns:a16="http://schemas.microsoft.com/office/drawing/2014/main" id="{07FAC7C3-B39B-43B6-A0B7-E0CD730F867D}"/>
              </a:ext>
            </a:extLst>
          </p:cNvPr>
          <p:cNvGrpSpPr/>
          <p:nvPr userDrawn="1"/>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721499437"/>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tro statement #1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lvl1pPr>
          </a:lstStyle>
          <a:p>
            <a:r>
              <a:rPr lang="en-US"/>
              <a:t>Introduction</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4292998105"/>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tro statement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solidFill>
                  <a:schemeClr val="bg1"/>
                </a:solidFill>
              </a:defRPr>
            </a:lvl1pPr>
          </a:lstStyle>
          <a:p>
            <a:r>
              <a:rPr lang="en-US"/>
              <a:t>Introduction</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grpSp>
        <p:nvGrpSpPr>
          <p:cNvPr id="8" name="Group">
            <a:extLst>
              <a:ext uri="{FF2B5EF4-FFF2-40B4-BE49-F238E27FC236}">
                <a16:creationId xmlns:a16="http://schemas.microsoft.com/office/drawing/2014/main" id="{E1F947BC-3D7B-4034-A373-79233F72BEAE}"/>
              </a:ext>
            </a:extLst>
          </p:cNvPr>
          <p:cNvGrpSpPr/>
          <p:nvPr userDrawn="1"/>
        </p:nvGrpSpPr>
        <p:grpSpPr>
          <a:xfrm>
            <a:off x="885450" y="12829819"/>
            <a:ext cx="885653" cy="885653"/>
            <a:chOff x="0" y="0"/>
            <a:chExt cx="885651" cy="885651"/>
          </a:xfrm>
        </p:grpSpPr>
        <p:sp>
          <p:nvSpPr>
            <p:cNvPr id="9" name="Square">
              <a:extLst>
                <a:ext uri="{FF2B5EF4-FFF2-40B4-BE49-F238E27FC236}">
                  <a16:creationId xmlns:a16="http://schemas.microsoft.com/office/drawing/2014/main" id="{E3591DFF-1F44-485F-9D84-1AD3D1A73CB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0" name="Image">
              <a:extLst>
                <a:ext uri="{FF2B5EF4-FFF2-40B4-BE49-F238E27FC236}">
                  <a16:creationId xmlns:a16="http://schemas.microsoft.com/office/drawing/2014/main" id="{B0DD056C-6F9C-4F26-92BF-57B2FBC1C0F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368896543"/>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tro statement #2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4628129" y="3931459"/>
            <a:ext cx="15127740" cy="5191761"/>
          </a:xfrm>
        </p:spPr>
        <p:txBody>
          <a:bodyPr anchor="t"/>
          <a:lstStyle>
            <a:lvl1pPr algn="ctr">
              <a:defRPr sz="12200"/>
            </a:lvl1pPr>
          </a:lstStyle>
          <a:p>
            <a:r>
              <a:rPr lang="en-US"/>
              <a:t>Introduction</a:t>
            </a:r>
            <a:br>
              <a:rPr lang="en-US"/>
            </a:br>
            <a:r>
              <a:rPr lang="en-US"/>
              <a:t>lorem ipsum dolor</a:t>
            </a:r>
            <a:br>
              <a:rPr lang="en-US"/>
            </a:br>
            <a:r>
              <a:rPr lang="en-US"/>
              <a:t>sit </a:t>
            </a:r>
            <a:r>
              <a:rPr lang="en-US" err="1"/>
              <a:t>amet</a:t>
            </a:r>
            <a:r>
              <a:rPr lang="en-US"/>
              <a: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4628129" y="2978350"/>
            <a:ext cx="15127740" cy="307777"/>
          </a:xfrm>
        </p:spPr>
        <p:txBody>
          <a:bodyPr>
            <a:noAutofit/>
          </a:bodyPr>
          <a:lstStyle>
            <a:lvl1pPr algn="ct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2477475717"/>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1 w. Client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19685881" cy="466410"/>
          </a:xfrm>
        </p:spPr>
        <p:txBody>
          <a:bodyPr>
            <a:noAutofit/>
          </a:bodyPr>
          <a:lstStyle>
            <a:lvl1pPr>
              <a:defRPr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400" b="0" i="0" cap="all" baseline="0">
                <a:solidFill>
                  <a:schemeClr val="bg1"/>
                </a:solidFill>
                <a:latin typeface="Arial" panose="020B0604020202020204" pitchFamily="34" charset="0"/>
                <a:cs typeface="Arial" panose="020B0604020202020204" pitchFamily="34" charset="0"/>
              </a:defRPr>
            </a:lvl1pPr>
          </a:lstStyle>
          <a:p>
            <a:endParaRPr lang="de-DE"/>
          </a:p>
        </p:txBody>
      </p:sp>
      <p:pic>
        <p:nvPicPr>
          <p:cNvPr id="13" name="21-frog-Cap-Invent-logo-square-WHITE.png">
            <a:extLst>
              <a:ext uri="{FF2B5EF4-FFF2-40B4-BE49-F238E27FC236}">
                <a16:creationId xmlns:a16="http://schemas.microsoft.com/office/drawing/2014/main" id="{BD273A94-1398-4286-B5CA-C3F48C3ADA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93928" y="10283299"/>
            <a:ext cx="1907948" cy="1677945"/>
          </a:xfrm>
          <a:prstGeom prst="rect">
            <a:avLst/>
          </a:prstGeom>
          <a:ln w="12700">
            <a:miter lim="400000"/>
          </a:ln>
        </p:spPr>
      </p:pic>
      <p:sp>
        <p:nvSpPr>
          <p:cNvPr id="18" name="Title 3">
            <a:extLst>
              <a:ext uri="{FF2B5EF4-FFF2-40B4-BE49-F238E27FC236}">
                <a16:creationId xmlns:a16="http://schemas.microsoft.com/office/drawing/2014/main" id="{5CA3CE1A-1574-49EF-AD98-681881D5C93D}"/>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a:t>Presentation title</a:t>
            </a:r>
          </a:p>
        </p:txBody>
      </p:sp>
      <p:sp>
        <p:nvSpPr>
          <p:cNvPr id="3" name="Footer Placeholder 8">
            <a:extLst>
              <a:ext uri="{FF2B5EF4-FFF2-40B4-BE49-F238E27FC236}">
                <a16:creationId xmlns:a16="http://schemas.microsoft.com/office/drawing/2014/main" id="{426047E0-59FF-BFD6-0F99-269A9FFB82AF}"/>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b="0" i="0" spc="48">
                <a:solidFill>
                  <a:schemeClr val="bg1">
                    <a:lumMod val="65000"/>
                  </a:schemeClr>
                </a:solidFill>
                <a:latin typeface="Arial" panose="020B0604020202020204" pitchFamily="34" charset="0"/>
                <a:cs typeface="Arial" panose="020B0604020202020204" pitchFamily="34" charset="0"/>
              </a:defRPr>
            </a:lvl1pPr>
          </a:lstStyle>
          <a:p>
            <a:r>
              <a:rPr lang="en-US"/>
              <a:t>AI Genies | Claire the Car Repair Assessment Agent</a:t>
            </a:r>
            <a:endParaRPr lang="de-DE"/>
          </a:p>
        </p:txBody>
      </p:sp>
    </p:spTree>
    <p:extLst>
      <p:ext uri="{BB962C8B-B14F-4D97-AF65-F5344CB8AC3E}">
        <p14:creationId xmlns:p14="http://schemas.microsoft.com/office/powerpoint/2010/main" val="400869130"/>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tro statement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4628129" y="3931459"/>
            <a:ext cx="15127740" cy="5191761"/>
          </a:xfrm>
        </p:spPr>
        <p:txBody>
          <a:bodyPr anchor="t"/>
          <a:lstStyle>
            <a:lvl1pPr algn="ctr">
              <a:defRPr sz="12200">
                <a:solidFill>
                  <a:schemeClr val="bg1"/>
                </a:solidFill>
              </a:defRPr>
            </a:lvl1pPr>
          </a:lstStyle>
          <a:p>
            <a:r>
              <a:rPr lang="en-US"/>
              <a:t>Introduction</a:t>
            </a:r>
            <a:br>
              <a:rPr lang="en-US"/>
            </a:br>
            <a:r>
              <a:rPr lang="en-US"/>
              <a:t>lorem ipsum dolor</a:t>
            </a:r>
            <a:br>
              <a:rPr lang="en-US"/>
            </a:br>
            <a:r>
              <a:rPr lang="en-US"/>
              <a:t>sit </a:t>
            </a:r>
            <a:r>
              <a:rPr lang="en-US" err="1"/>
              <a:t>amet</a:t>
            </a:r>
            <a:r>
              <a:rPr lang="en-US"/>
              <a: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4628129" y="2978350"/>
            <a:ext cx="15127740" cy="307777"/>
          </a:xfrm>
        </p:spPr>
        <p:txBody>
          <a:bodyPr>
            <a:noAutofit/>
          </a:bodyPr>
          <a:lstStyle>
            <a:lvl1pPr algn="ct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grpSp>
        <p:nvGrpSpPr>
          <p:cNvPr id="8" name="Group">
            <a:extLst>
              <a:ext uri="{FF2B5EF4-FFF2-40B4-BE49-F238E27FC236}">
                <a16:creationId xmlns:a16="http://schemas.microsoft.com/office/drawing/2014/main" id="{AAE0E6F2-BF14-411F-87A5-CCE9F45E3B68}"/>
              </a:ext>
            </a:extLst>
          </p:cNvPr>
          <p:cNvGrpSpPr/>
          <p:nvPr userDrawn="1"/>
        </p:nvGrpSpPr>
        <p:grpSpPr>
          <a:xfrm>
            <a:off x="885450" y="12829819"/>
            <a:ext cx="885653" cy="885653"/>
            <a:chOff x="0" y="0"/>
            <a:chExt cx="885651" cy="885651"/>
          </a:xfrm>
        </p:grpSpPr>
        <p:sp>
          <p:nvSpPr>
            <p:cNvPr id="9" name="Square">
              <a:extLst>
                <a:ext uri="{FF2B5EF4-FFF2-40B4-BE49-F238E27FC236}">
                  <a16:creationId xmlns:a16="http://schemas.microsoft.com/office/drawing/2014/main" id="{ADF4D387-8256-48FF-BA06-9D74107DFEC1}"/>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0" name="Image">
              <a:extLst>
                <a:ext uri="{FF2B5EF4-FFF2-40B4-BE49-F238E27FC236}">
                  <a16:creationId xmlns:a16="http://schemas.microsoft.com/office/drawing/2014/main" id="{752DDF66-1B43-4454-B458-A2BC945BDC5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238615832"/>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tro statement #3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lvl1pPr>
          </a:lstStyle>
          <a:p>
            <a:r>
              <a:rPr lang="en-US"/>
              <a:t>Introduction</a:t>
            </a:r>
            <a:br>
              <a:rPr lang="en-US"/>
            </a:br>
            <a:r>
              <a:rPr lang="en-US"/>
              <a:t>lorem ipsum dolor sit </a:t>
            </a:r>
            <a:r>
              <a:rPr lang="en-US" err="1"/>
              <a:t>amet</a:t>
            </a:r>
            <a:r>
              <a:rPr lang="en-US"/>
              <a:t> significant exi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454896"/>
            <a:ext cx="11945937" cy="1750607"/>
          </a:xfrm>
        </p:spPr>
        <p:txBody>
          <a:bodyPr>
            <a:sp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Tree>
    <p:extLst>
      <p:ext uri="{BB962C8B-B14F-4D97-AF65-F5344CB8AC3E}">
        <p14:creationId xmlns:p14="http://schemas.microsoft.com/office/powerpoint/2010/main" val="1239900726"/>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tro statement #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solidFill>
                  <a:schemeClr val="bg1"/>
                </a:solidFill>
              </a:defRPr>
            </a:lvl1pPr>
          </a:lstStyle>
          <a:p>
            <a:r>
              <a:rPr lang="en-US"/>
              <a:t>Introduction</a:t>
            </a:r>
            <a:br>
              <a:rPr lang="en-US"/>
            </a:br>
            <a:r>
              <a:rPr lang="en-US"/>
              <a:t>lorem ipsum dolor sit </a:t>
            </a:r>
            <a:r>
              <a:rPr lang="en-US" err="1"/>
              <a:t>amet</a:t>
            </a:r>
            <a:r>
              <a:rPr lang="en-US"/>
              <a:t> significant exi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454896"/>
            <a:ext cx="11945937" cy="1750607"/>
          </a:xfrm>
        </p:spPr>
        <p:txBody>
          <a:bodyPr>
            <a:sp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grpSp>
        <p:nvGrpSpPr>
          <p:cNvPr id="10" name="Group">
            <a:extLst>
              <a:ext uri="{FF2B5EF4-FFF2-40B4-BE49-F238E27FC236}">
                <a16:creationId xmlns:a16="http://schemas.microsoft.com/office/drawing/2014/main" id="{67B348B0-C53C-4554-9933-0B39628AE319}"/>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78D334E7-7AF4-4E43-8922-A0B9968494E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8FD0D178-C608-4BD1-9584-9287EAF8C7E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4161890840"/>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tro statement #4 (W)">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FC7531A-7A3F-4596-BAB0-FD6F30D71EA9}"/>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b="0" i="0"/>
            </a:lvl1pPr>
          </a:lstStyle>
          <a:p>
            <a:endParaRPr/>
          </a:p>
        </p:txBody>
      </p:sp>
      <p:sp>
        <p:nvSpPr>
          <p:cNvPr id="13" name="Text Placeholder 3">
            <a:extLst>
              <a:ext uri="{FF2B5EF4-FFF2-40B4-BE49-F238E27FC236}">
                <a16:creationId xmlns:a16="http://schemas.microsoft.com/office/drawing/2014/main" id="{0FABEE4D-0752-44FA-BD0B-F8D96E34F106}"/>
              </a:ext>
            </a:extLst>
          </p:cNvPr>
          <p:cNvSpPr>
            <a:spLocks noGrp="1"/>
          </p:cNvSpPr>
          <p:nvPr>
            <p:ph type="body" sz="quarter" idx="28" hasCustomPrompt="1"/>
          </p:nvPr>
        </p:nvSpPr>
        <p:spPr>
          <a:xfrm>
            <a:off x="1771632" y="5003800"/>
            <a:ext cx="20840716" cy="8712200"/>
          </a:xfrm>
          <a:solidFill>
            <a:schemeClr val="bg1"/>
          </a:solidFill>
        </p:spPr>
        <p:txBody>
          <a:bodyPr/>
          <a:lstStyle>
            <a:lvl1pPr>
              <a:defRPr b="0" i="0"/>
            </a:lvl1pPr>
          </a:lstStyle>
          <a:p>
            <a:pPr lvl="0"/>
            <a:r>
              <a:rPr lang="en-US"/>
              <a:t> </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014931" y="9752561"/>
            <a:ext cx="14354136" cy="1750607"/>
          </a:xfrm>
        </p:spPr>
        <p:txBody>
          <a:bodyPr>
            <a:spAutoFit/>
          </a:bodyPr>
          <a:lstStyle>
            <a:lvl1pPr algn="ct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
        <p:nvSpPr>
          <p:cNvPr id="10" name="Title 1">
            <a:extLst>
              <a:ext uri="{FF2B5EF4-FFF2-40B4-BE49-F238E27FC236}">
                <a16:creationId xmlns:a16="http://schemas.microsoft.com/office/drawing/2014/main" id="{B69F84B1-5756-4079-A523-1878CAE5D70E}"/>
              </a:ext>
            </a:extLst>
          </p:cNvPr>
          <p:cNvSpPr>
            <a:spLocks noGrp="1"/>
          </p:cNvSpPr>
          <p:nvPr>
            <p:ph type="title" hasCustomPrompt="1"/>
          </p:nvPr>
        </p:nvSpPr>
        <p:spPr>
          <a:xfrm>
            <a:off x="5014931" y="7632700"/>
            <a:ext cx="14354136" cy="1397000"/>
          </a:xfrm>
        </p:spPr>
        <p:txBody>
          <a:bodyPr anchor="t"/>
          <a:lstStyle>
            <a:lvl1pPr algn="ctr">
              <a:lnSpc>
                <a:spcPct val="80000"/>
              </a:lnSpc>
              <a:defRPr sz="9200"/>
            </a:lvl1pPr>
          </a:lstStyle>
          <a:p>
            <a:r>
              <a:rPr lang="en-US"/>
              <a:t>Introduction statement</a:t>
            </a:r>
            <a:endParaRPr lang="de-DE"/>
          </a:p>
        </p:txBody>
      </p:sp>
      <p:sp>
        <p:nvSpPr>
          <p:cNvPr id="11" name="Text Placeholder 14">
            <a:extLst>
              <a:ext uri="{FF2B5EF4-FFF2-40B4-BE49-F238E27FC236}">
                <a16:creationId xmlns:a16="http://schemas.microsoft.com/office/drawing/2014/main" id="{54E96705-D9DE-4B95-829F-CB544226A902}"/>
              </a:ext>
            </a:extLst>
          </p:cNvPr>
          <p:cNvSpPr>
            <a:spLocks noGrp="1"/>
          </p:cNvSpPr>
          <p:nvPr>
            <p:ph type="body" sz="quarter" idx="26" hasCustomPrompt="1"/>
          </p:nvPr>
        </p:nvSpPr>
        <p:spPr>
          <a:xfrm>
            <a:off x="5014931" y="6628949"/>
            <a:ext cx="14354136" cy="307777"/>
          </a:xfrm>
        </p:spPr>
        <p:txBody>
          <a:bodyPr>
            <a:spAutoFit/>
          </a:bodyPr>
          <a:lstStyle>
            <a:lvl1pPr algn="ctr">
              <a:lnSpc>
                <a:spcPct val="100000"/>
              </a:lnSpc>
              <a:defRPr sz="2000" b="0" i="0" cap="all" spc="200" baseline="0">
                <a:latin typeface="Arial" panose="020B0604020202020204" pitchFamily="34" charset="0"/>
              </a:defRPr>
            </a:lvl1pPr>
          </a:lstStyle>
          <a:p>
            <a:pPr lvl="0"/>
            <a:r>
              <a:rPr lang="en-US"/>
              <a:t>Section</a:t>
            </a:r>
            <a:endParaRPr lang="de-DE"/>
          </a:p>
        </p:txBody>
      </p:sp>
    </p:spTree>
    <p:extLst>
      <p:ext uri="{BB962C8B-B14F-4D97-AF65-F5344CB8AC3E}">
        <p14:creationId xmlns:p14="http://schemas.microsoft.com/office/powerpoint/2010/main" val="94729223"/>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tro statement #4 (B)">
    <p:bg>
      <p:bgPr>
        <a:solidFill>
          <a:schemeClr val="tx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FC7531A-7A3F-4596-BAB0-FD6F30D71EA9}"/>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b="0" i="0">
                <a:solidFill>
                  <a:schemeClr val="bg1"/>
                </a:solidFill>
              </a:defRPr>
            </a:lvl1pPr>
          </a:lstStyle>
          <a:p>
            <a:endParaRPr/>
          </a:p>
        </p:txBody>
      </p:sp>
      <p:sp>
        <p:nvSpPr>
          <p:cNvPr id="13" name="Text Placeholder 3">
            <a:extLst>
              <a:ext uri="{FF2B5EF4-FFF2-40B4-BE49-F238E27FC236}">
                <a16:creationId xmlns:a16="http://schemas.microsoft.com/office/drawing/2014/main" id="{0FABEE4D-0752-44FA-BD0B-F8D96E34F106}"/>
              </a:ext>
            </a:extLst>
          </p:cNvPr>
          <p:cNvSpPr>
            <a:spLocks noGrp="1"/>
          </p:cNvSpPr>
          <p:nvPr>
            <p:ph type="body" sz="quarter" idx="28" hasCustomPrompt="1"/>
          </p:nvPr>
        </p:nvSpPr>
        <p:spPr>
          <a:xfrm>
            <a:off x="1771632" y="5003800"/>
            <a:ext cx="20840716" cy="8712200"/>
          </a:xfrm>
          <a:solidFill>
            <a:schemeClr val="tx1"/>
          </a:solidFill>
        </p:spPr>
        <p:txBody>
          <a:bodyPr/>
          <a:lstStyle>
            <a:lvl1pPr>
              <a:defRPr b="0" i="0"/>
            </a:lvl1pPr>
          </a:lstStyle>
          <a:p>
            <a:pPr lvl="0"/>
            <a:r>
              <a:rPr lang="en-US"/>
              <a:t> </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014931" y="9752561"/>
            <a:ext cx="14354136" cy="1750607"/>
          </a:xfrm>
        </p:spPr>
        <p:txBody>
          <a:bodyPr>
            <a:spAutoFit/>
          </a:bodyPr>
          <a:lstStyle>
            <a:lvl1pPr algn="ct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
        <p:nvSpPr>
          <p:cNvPr id="10" name="Title 1">
            <a:extLst>
              <a:ext uri="{FF2B5EF4-FFF2-40B4-BE49-F238E27FC236}">
                <a16:creationId xmlns:a16="http://schemas.microsoft.com/office/drawing/2014/main" id="{B69F84B1-5756-4079-A523-1878CAE5D70E}"/>
              </a:ext>
            </a:extLst>
          </p:cNvPr>
          <p:cNvSpPr>
            <a:spLocks noGrp="1"/>
          </p:cNvSpPr>
          <p:nvPr>
            <p:ph type="title" hasCustomPrompt="1"/>
          </p:nvPr>
        </p:nvSpPr>
        <p:spPr>
          <a:xfrm>
            <a:off x="5014931" y="7632700"/>
            <a:ext cx="14354136" cy="1397000"/>
          </a:xfrm>
        </p:spPr>
        <p:txBody>
          <a:bodyPr anchor="t"/>
          <a:lstStyle>
            <a:lvl1pPr algn="ctr">
              <a:lnSpc>
                <a:spcPct val="80000"/>
              </a:lnSpc>
              <a:defRPr sz="9200">
                <a:solidFill>
                  <a:schemeClr val="bg1"/>
                </a:solidFill>
              </a:defRPr>
            </a:lvl1pPr>
          </a:lstStyle>
          <a:p>
            <a:r>
              <a:rPr lang="en-US"/>
              <a:t>Introduction statement</a:t>
            </a:r>
            <a:endParaRPr lang="de-DE"/>
          </a:p>
        </p:txBody>
      </p:sp>
      <p:sp>
        <p:nvSpPr>
          <p:cNvPr id="11" name="Text Placeholder 14">
            <a:extLst>
              <a:ext uri="{FF2B5EF4-FFF2-40B4-BE49-F238E27FC236}">
                <a16:creationId xmlns:a16="http://schemas.microsoft.com/office/drawing/2014/main" id="{54E96705-D9DE-4B95-829F-CB544226A902}"/>
              </a:ext>
            </a:extLst>
          </p:cNvPr>
          <p:cNvSpPr>
            <a:spLocks noGrp="1"/>
          </p:cNvSpPr>
          <p:nvPr>
            <p:ph type="body" sz="quarter" idx="26" hasCustomPrompt="1"/>
          </p:nvPr>
        </p:nvSpPr>
        <p:spPr>
          <a:xfrm>
            <a:off x="5014931" y="6628949"/>
            <a:ext cx="14354136" cy="307777"/>
          </a:xfrm>
        </p:spPr>
        <p:txBody>
          <a:bodyPr>
            <a:spAutoFit/>
          </a:bodyPr>
          <a:lstStyle>
            <a:lvl1pPr algn="ct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grpSp>
        <p:nvGrpSpPr>
          <p:cNvPr id="16" name="Group">
            <a:extLst>
              <a:ext uri="{FF2B5EF4-FFF2-40B4-BE49-F238E27FC236}">
                <a16:creationId xmlns:a16="http://schemas.microsoft.com/office/drawing/2014/main" id="{7033D05B-CFC1-406C-BD4E-94ABDE75557E}"/>
              </a:ext>
            </a:extLst>
          </p:cNvPr>
          <p:cNvGrpSpPr/>
          <p:nvPr userDrawn="1"/>
        </p:nvGrpSpPr>
        <p:grpSpPr>
          <a:xfrm>
            <a:off x="885450" y="12829819"/>
            <a:ext cx="885653" cy="885653"/>
            <a:chOff x="0" y="0"/>
            <a:chExt cx="885651" cy="885651"/>
          </a:xfrm>
        </p:grpSpPr>
        <p:sp>
          <p:nvSpPr>
            <p:cNvPr id="17" name="Square">
              <a:extLst>
                <a:ext uri="{FF2B5EF4-FFF2-40B4-BE49-F238E27FC236}">
                  <a16:creationId xmlns:a16="http://schemas.microsoft.com/office/drawing/2014/main" id="{99FEB934-7D89-41A5-90E0-64C4E14FA17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8" name="Image">
              <a:extLst>
                <a:ext uri="{FF2B5EF4-FFF2-40B4-BE49-F238E27FC236}">
                  <a16:creationId xmlns:a16="http://schemas.microsoft.com/office/drawing/2014/main" id="{C19707AF-E143-462C-874A-E378D18D495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761012870"/>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tro Opening #1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0"/>
            <a:ext cx="8676538" cy="5545330"/>
          </a:xfrm>
        </p:spPr>
        <p:txBody>
          <a:bodyPr anchor="t"/>
          <a:lstStyle>
            <a:lvl1pPr>
              <a:defRPr sz="7200">
                <a:solidFill>
                  <a:schemeClr val="tx1"/>
                </a:solidFill>
              </a:defRPr>
            </a:lvl1pPr>
          </a:lstStyle>
          <a:p>
            <a:r>
              <a:rPr lang="en-US"/>
              <a:t>Introduction</a:t>
            </a:r>
            <a:br>
              <a:rPr lang="en-US"/>
            </a:br>
            <a:r>
              <a:rPr lang="en-US"/>
              <a:t>lorem ipsum dolor sit </a:t>
            </a:r>
            <a:r>
              <a:rPr lang="en-US" err="1"/>
              <a:t>amet</a:t>
            </a:r>
            <a:r>
              <a:rPr lang="en-US"/>
              <a:t> significant exi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tx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3947161"/>
            <a:ext cx="9908738" cy="5545328"/>
          </a:xfrm>
        </p:spPr>
        <p:txBody>
          <a:bodyPr>
            <a:noAutofit/>
          </a:bodyPr>
          <a:lstStyle>
            <a:lvl1pPr>
              <a:defRPr sz="2800" b="0" i="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p>
          <a:p>
            <a:pPr lvl="0"/>
            <a:endParaRPr lang="en-US"/>
          </a:p>
          <a:p>
            <a:pPr lvl="0"/>
            <a:r>
              <a:rPr lang="de-DE"/>
              <a:t>Stet clita kasd gubergren, no sea takimata sanctus est Lorem ipsum dolor sit amet. Lorem ipsum dolor sit amet, consetetur sadipscing elitr, sed diam</a:t>
            </a:r>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1749476841"/>
      </p:ext>
    </p:extLst>
  </p:cSld>
  <p:clrMapOvr>
    <a:masterClrMapping/>
  </p:clrMapOvr>
  <p:transition spd="med"/>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 Opening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0"/>
            <a:ext cx="8676538" cy="5545330"/>
          </a:xfrm>
        </p:spPr>
        <p:txBody>
          <a:bodyPr anchor="t"/>
          <a:lstStyle>
            <a:lvl1pPr>
              <a:defRPr sz="7200">
                <a:solidFill>
                  <a:schemeClr val="bg1"/>
                </a:solidFill>
              </a:defRPr>
            </a:lvl1pPr>
          </a:lstStyle>
          <a:p>
            <a:r>
              <a:rPr lang="en-US"/>
              <a:t>Introduction</a:t>
            </a:r>
            <a:br>
              <a:rPr lang="en-US"/>
            </a:br>
            <a:r>
              <a:rPr lang="en-US"/>
              <a:t>lorem ipsum dolor sit </a:t>
            </a:r>
            <a:r>
              <a:rPr lang="en-US" err="1"/>
              <a:t>amet</a:t>
            </a:r>
            <a:r>
              <a:rPr lang="en-US"/>
              <a:t> significant exi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3947161"/>
            <a:ext cx="9908738" cy="5545328"/>
          </a:xfrm>
        </p:spPr>
        <p:txBody>
          <a:bodyPr>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p>
          <a:p>
            <a:pPr lvl="0"/>
            <a:endParaRPr lang="en-US"/>
          </a:p>
          <a:p>
            <a:pPr lvl="0"/>
            <a:r>
              <a:rPr lang="de-DE"/>
              <a:t>Stet clita kasd gubergren, no sea takimata sanctus est Lorem ipsum dolor sit amet. Lorem ipsum dolor sit amet, consetetur sadipscing elitr, sed diam</a:t>
            </a:r>
          </a:p>
        </p:txBody>
      </p:sp>
      <p:grpSp>
        <p:nvGrpSpPr>
          <p:cNvPr id="10" name="Group">
            <a:extLst>
              <a:ext uri="{FF2B5EF4-FFF2-40B4-BE49-F238E27FC236}">
                <a16:creationId xmlns:a16="http://schemas.microsoft.com/office/drawing/2014/main" id="{67B348B0-C53C-4554-9933-0B39628AE319}"/>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78D334E7-7AF4-4E43-8922-A0B9968494E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8FD0D178-C608-4BD1-9584-9287EAF8C7E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876021350"/>
      </p:ext>
    </p:extLst>
  </p:cSld>
  <p:clrMapOvr>
    <a:masterClrMapping/>
  </p:clrMapOvr>
  <p:transition spd="med"/>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 Opening #2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1623067" y="3619500"/>
            <a:ext cx="9908738" cy="997196"/>
          </a:xfrm>
        </p:spPr>
        <p:txBody>
          <a:bodyPr anchor="t">
            <a:noAutofit/>
          </a:bodyPr>
          <a:lstStyle>
            <a:lvl1pPr>
              <a:defRPr sz="7200">
                <a:solidFill>
                  <a:schemeClr val="tx1"/>
                </a:solidFill>
              </a:defRPr>
            </a:lvl1pPr>
          </a:lstStyle>
          <a:p>
            <a:r>
              <a:rPr lang="en-US"/>
              <a:t>Introduction statemen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tx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4977362"/>
            <a:ext cx="9908738" cy="6757438"/>
          </a:xfrm>
        </p:spPr>
        <p:txBody>
          <a:bodyPr>
            <a:noAutofit/>
          </a:bodyPr>
          <a:lstStyle>
            <a:lvl1pPr>
              <a:defRPr sz="2800" b="0" i="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p>
          <a:p>
            <a:pPr lvl="0"/>
            <a:endParaRPr lang="en-US"/>
          </a:p>
          <a:p>
            <a:pPr lvl="0"/>
            <a:r>
              <a:rPr lang="de-DE"/>
              <a:t>Stet clita kasd gubergren, no sea takimata sanctus est Lorem ipsum dolor sit amet. Lorem ipsum dolor sit amet, consetetur sadipscing elitr, sed diam</a:t>
            </a:r>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227123410"/>
      </p:ext>
    </p:extLst>
  </p:cSld>
  <p:clrMapOvr>
    <a:masterClrMapping/>
  </p:clrMapOvr>
  <p:transition spd="med"/>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tro Opening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1623067" y="3619500"/>
            <a:ext cx="9908738" cy="997196"/>
          </a:xfrm>
        </p:spPr>
        <p:txBody>
          <a:bodyPr anchor="t">
            <a:noAutofit/>
          </a:bodyPr>
          <a:lstStyle>
            <a:lvl1pPr>
              <a:defRPr sz="7200">
                <a:solidFill>
                  <a:schemeClr val="bg1"/>
                </a:solidFill>
              </a:defRPr>
            </a:lvl1pPr>
          </a:lstStyle>
          <a:p>
            <a:r>
              <a:rPr lang="en-US"/>
              <a:t>Introduction statemen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4977362"/>
            <a:ext cx="9908738" cy="6757438"/>
          </a:xfrm>
        </p:spPr>
        <p:txBody>
          <a:bodyPr>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p>
          <a:p>
            <a:pPr lvl="0"/>
            <a:endParaRPr lang="en-US"/>
          </a:p>
          <a:p>
            <a:pPr lvl="0"/>
            <a:r>
              <a:rPr lang="de-DE"/>
              <a:t>Stet clita kasd gubergren, no sea takimata sanctus est Lorem ipsum dolor sit amet. Lorem ipsum dolor sit amet, consetetur sadipscing elitr, sed diam</a:t>
            </a:r>
          </a:p>
        </p:txBody>
      </p:sp>
      <p:grpSp>
        <p:nvGrpSpPr>
          <p:cNvPr id="10" name="Group">
            <a:extLst>
              <a:ext uri="{FF2B5EF4-FFF2-40B4-BE49-F238E27FC236}">
                <a16:creationId xmlns:a16="http://schemas.microsoft.com/office/drawing/2014/main" id="{2BE9C1DA-2A21-44AB-B740-62D0B63E849B}"/>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802B080D-604C-4EA9-B6F8-53C668DCDA70}"/>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B37FDDAB-A66B-480F-AA82-49A97718580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971094886"/>
      </p:ext>
    </p:extLst>
  </p:cSld>
  <p:clrMapOvr>
    <a:masterClrMapping/>
  </p:clrMapOvr>
  <p:transition spd="med"/>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ro Opening #3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1"/>
            <a:ext cx="7474206" cy="2991588"/>
          </a:xfrm>
        </p:spPr>
        <p:txBody>
          <a:bodyPr anchor="t">
            <a:noAutofit/>
          </a:bodyPr>
          <a:lstStyle>
            <a:lvl1pPr>
              <a:defRPr sz="7200">
                <a:solidFill>
                  <a:schemeClr val="tx1"/>
                </a:solidFill>
              </a:defRPr>
            </a:lvl1pPr>
          </a:lstStyle>
          <a:p>
            <a:r>
              <a:rPr lang="en-US"/>
              <a:t>Introduction statement that goes on three lines</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tx1"/>
                </a:solidFill>
                <a:latin typeface="Arial" panose="020B0604020202020204" pitchFamily="34" charset="0"/>
              </a:defRPr>
            </a:lvl1pPr>
          </a:lstStyle>
          <a:p>
            <a:pPr lvl="0"/>
            <a:r>
              <a:rPr lang="en-US"/>
              <a:t>Section</a:t>
            </a:r>
            <a:endParaRPr lang="de-DE"/>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936463"/>
            <a:ext cx="7474206" cy="3241040"/>
          </a:xfrm>
        </p:spPr>
        <p:txBody>
          <a:bodyPr>
            <a:noAutofit/>
          </a:bodyPr>
          <a:lstStyle>
            <a:lvl1pPr>
              <a:defRPr sz="2800" b="0" i="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0173894" y="3020019"/>
            <a:ext cx="14210106" cy="8714781"/>
          </a:xfrm>
          <a:prstGeom prst="rect">
            <a:avLst/>
          </a:prstGeom>
          <a:solidFill>
            <a:schemeClr val="accent6"/>
          </a:solidFill>
        </p:spPr>
        <p:txBody>
          <a:bodyPr lIns="91439" tIns="45719" rIns="91439" bIns="45719">
            <a:noAutofit/>
          </a:bodyPr>
          <a:lstStyle>
            <a:lvl1pPr algn="ctr">
              <a:defRPr b="0" i="0"/>
            </a:lvl1pPr>
          </a:lstStyle>
          <a:p>
            <a:endParaRPr/>
          </a:p>
        </p:txBody>
      </p:sp>
    </p:spTree>
    <p:extLst>
      <p:ext uri="{BB962C8B-B14F-4D97-AF65-F5344CB8AC3E}">
        <p14:creationId xmlns:p14="http://schemas.microsoft.com/office/powerpoint/2010/main" val="2340730601"/>
      </p:ext>
    </p:extLst>
  </p:cSld>
  <p:clrMapOvr>
    <a:masterClrMapping/>
  </p:clrMapOvr>
  <p:transition spd="med"/>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1 w. Client (I)">
    <p:bg>
      <p:bgPr>
        <a:solidFill>
          <a:schemeClr val="tx1"/>
        </a:solidFill>
        <a:effectLst/>
      </p:bgPr>
    </p:bg>
    <p:spTree>
      <p:nvGrpSpPr>
        <p:cNvPr id="1" name=""/>
        <p:cNvGrpSpPr/>
        <p:nvPr/>
      </p:nvGrpSpPr>
      <p:grpSpPr>
        <a:xfrm>
          <a:off x="0" y="0"/>
          <a:ext cx="0" cy="0"/>
          <a:chOff x="0" y="0"/>
          <a:chExt cx="0" cy="0"/>
        </a:xfrm>
      </p:grpSpPr>
      <p:sp>
        <p:nvSpPr>
          <p:cNvPr id="12" name="image8.png">
            <a:extLst>
              <a:ext uri="{FF2B5EF4-FFF2-40B4-BE49-F238E27FC236}">
                <a16:creationId xmlns:a16="http://schemas.microsoft.com/office/drawing/2014/main" id="{263385B9-82F3-4CD5-B049-AA50104DDA15}"/>
              </a:ext>
            </a:extLst>
          </p:cNvPr>
          <p:cNvSpPr>
            <a:spLocks noGrp="1"/>
          </p:cNvSpPr>
          <p:nvPr>
            <p:ph type="pic" idx="21"/>
          </p:nvPr>
        </p:nvSpPr>
        <p:spPr>
          <a:xfrm>
            <a:off x="0" y="0"/>
            <a:ext cx="24384000" cy="13716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4" name="Title 3">
            <a:extLst>
              <a:ext uri="{FF2B5EF4-FFF2-40B4-BE49-F238E27FC236}">
                <a16:creationId xmlns:a16="http://schemas.microsoft.com/office/drawing/2014/main" id="{79AB7A96-923F-454F-8E68-EB69C079DD65}"/>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400" b="0" i="0" cap="all" baseline="0">
                <a:solidFill>
                  <a:schemeClr val="bg1"/>
                </a:solidFill>
                <a:latin typeface="Arial" panose="020B0604020202020204" pitchFamily="34" charset="0"/>
                <a:cs typeface="Arial" panose="020B0604020202020204" pitchFamily="34" charset="0"/>
              </a:defRPr>
            </a:lvl1pPr>
          </a:lstStyle>
          <a:p>
            <a:endParaRPr lang="de-DE"/>
          </a:p>
        </p:txBody>
      </p:sp>
      <p:sp>
        <p:nvSpPr>
          <p:cNvPr id="11" name="Image">
            <a:extLst>
              <a:ext uri="{FF2B5EF4-FFF2-40B4-BE49-F238E27FC236}">
                <a16:creationId xmlns:a16="http://schemas.microsoft.com/office/drawing/2014/main" id="{7DD0039F-DFAE-4FD9-8419-CDD4EE0ECFF2}"/>
              </a:ext>
            </a:extLst>
          </p:cNvPr>
          <p:cNvSpPr>
            <a:spLocks noGrp="1"/>
          </p:cNvSpPr>
          <p:nvPr>
            <p:ph type="pic" sz="quarter" idx="23" hasCustomPrompt="1"/>
          </p:nvPr>
        </p:nvSpPr>
        <p:spPr>
          <a:xfrm>
            <a:off x="4960375" y="10227577"/>
            <a:ext cx="3724585" cy="1158913"/>
          </a:xfrm>
          <a:prstGeom prst="rect">
            <a:avLst/>
          </a:prstGeom>
        </p:spPr>
        <p:txBody>
          <a:bodyPr lIns="91439" tIns="45719" rIns="91439" bIns="45719">
            <a:noAutofit/>
          </a:bodyPr>
          <a:lstStyle>
            <a:lvl1pPr>
              <a:defRPr b="0" i="0">
                <a:solidFill>
                  <a:schemeClr val="bg1"/>
                </a:solidFill>
              </a:defRPr>
            </a:lvl1pPr>
          </a:lstStyle>
          <a:p>
            <a:r>
              <a:rPr lang="de-DE"/>
              <a:t>Add Logo</a:t>
            </a:r>
            <a:endParaRPr/>
          </a:p>
        </p:txBody>
      </p:sp>
      <p:sp>
        <p:nvSpPr>
          <p:cNvPr id="15" name="Image">
            <a:extLst>
              <a:ext uri="{FF2B5EF4-FFF2-40B4-BE49-F238E27FC236}">
                <a16:creationId xmlns:a16="http://schemas.microsoft.com/office/drawing/2014/main" id="{0BB6A642-F7D4-4E24-8B51-D7CA57B12128}"/>
              </a:ext>
            </a:extLst>
          </p:cNvPr>
          <p:cNvSpPr>
            <a:spLocks noGrp="1"/>
          </p:cNvSpPr>
          <p:nvPr>
            <p:ph type="pic" sz="quarter" idx="27" hasCustomPrompt="1"/>
          </p:nvPr>
        </p:nvSpPr>
        <p:spPr>
          <a:xfrm>
            <a:off x="1693928" y="10288537"/>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b="0" i="0">
                <a:solidFill>
                  <a:schemeClr val="bg1"/>
                </a:solidFill>
              </a:defRPr>
            </a:lvl1pPr>
          </a:lstStyle>
          <a:p>
            <a:r>
              <a:rPr lang="de-DE"/>
              <a:t> </a:t>
            </a:r>
            <a:endParaRPr/>
          </a:p>
        </p:txBody>
      </p:sp>
      <p:sp>
        <p:nvSpPr>
          <p:cNvPr id="3" name="Footer Placeholder 8">
            <a:extLst>
              <a:ext uri="{FF2B5EF4-FFF2-40B4-BE49-F238E27FC236}">
                <a16:creationId xmlns:a16="http://schemas.microsoft.com/office/drawing/2014/main" id="{5A3C1EAC-42E2-F5E9-2D78-1D59684472F0}"/>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b="0" i="0" spc="48">
                <a:solidFill>
                  <a:schemeClr val="bg1">
                    <a:lumMod val="65000"/>
                  </a:schemeClr>
                </a:solidFill>
                <a:latin typeface="Arial" panose="020B0604020202020204" pitchFamily="34" charset="0"/>
                <a:cs typeface="Arial" panose="020B0604020202020204" pitchFamily="34" charset="0"/>
              </a:defRPr>
            </a:lvl1pPr>
          </a:lstStyle>
          <a:p>
            <a:r>
              <a:rPr lang="en-US"/>
              <a:t>AI Genies | Claire the Car Repair Assessment Agent</a:t>
            </a:r>
            <a:endParaRPr lang="de-DE"/>
          </a:p>
        </p:txBody>
      </p:sp>
    </p:spTree>
    <p:extLst>
      <p:ext uri="{BB962C8B-B14F-4D97-AF65-F5344CB8AC3E}">
        <p14:creationId xmlns:p14="http://schemas.microsoft.com/office/powerpoint/2010/main" val="1818581654"/>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tro Opening #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1"/>
            <a:ext cx="7474206" cy="2991588"/>
          </a:xfrm>
        </p:spPr>
        <p:txBody>
          <a:bodyPr anchor="t">
            <a:noAutofit/>
          </a:bodyPr>
          <a:lstStyle>
            <a:lvl1pPr>
              <a:defRPr sz="7200">
                <a:solidFill>
                  <a:schemeClr val="bg1"/>
                </a:solidFill>
              </a:defRPr>
            </a:lvl1pPr>
          </a:lstStyle>
          <a:p>
            <a:r>
              <a:rPr lang="en-US"/>
              <a:t>Introduction</a:t>
            </a:r>
            <a:br>
              <a:rPr lang="en-US"/>
            </a:br>
            <a:r>
              <a:rPr lang="en-US"/>
              <a:t>statement that goes on three lines</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936463"/>
            <a:ext cx="7474206" cy="3241040"/>
          </a:xfrm>
        </p:spPr>
        <p:txBody>
          <a:bodyPr>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0173894" y="3020019"/>
            <a:ext cx="14210106" cy="8714781"/>
          </a:xfrm>
          <a:prstGeom prst="rect">
            <a:avLst/>
          </a:prstGeom>
          <a:pattFill prst="pct90">
            <a:fgClr>
              <a:schemeClr val="tx1"/>
            </a:fgClr>
            <a:bgClr>
              <a:schemeClr val="accent5"/>
            </a:bgClr>
          </a:pattFill>
        </p:spPr>
        <p:txBody>
          <a:bodyPr lIns="91439" tIns="45719" rIns="91439" bIns="45719">
            <a:noAutofit/>
          </a:bodyPr>
          <a:lstStyle>
            <a:lvl1pPr algn="ctr">
              <a:defRPr b="0" i="0"/>
            </a:lvl1pPr>
          </a:lstStyle>
          <a:p>
            <a:endParaRPr/>
          </a:p>
        </p:txBody>
      </p:sp>
      <p:grpSp>
        <p:nvGrpSpPr>
          <p:cNvPr id="10" name="Group">
            <a:extLst>
              <a:ext uri="{FF2B5EF4-FFF2-40B4-BE49-F238E27FC236}">
                <a16:creationId xmlns:a16="http://schemas.microsoft.com/office/drawing/2014/main" id="{A1D2DF15-8C15-42CF-AEEC-9EF48C7B2AE5}"/>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EE7B9E7C-FA48-4D22-86C6-A7A48D5A3189}"/>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FC45FEA6-329A-4868-B9AE-3D4E9E23B66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511802700"/>
      </p:ext>
    </p:extLst>
  </p:cSld>
  <p:clrMapOvr>
    <a:masterClrMapping/>
  </p:clrMapOvr>
  <p:transition spd="med"/>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2 col + text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82434"/>
            <a:ext cx="9972752" cy="2957092"/>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7582434"/>
            <a:ext cx="9972752" cy="2957092"/>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Tree>
    <p:extLst>
      <p:ext uri="{BB962C8B-B14F-4D97-AF65-F5344CB8AC3E}">
        <p14:creationId xmlns:p14="http://schemas.microsoft.com/office/powerpoint/2010/main" val="4160777180"/>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2 col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solidFill>
                  <a:schemeClr val="bg1"/>
                </a:solidFill>
              </a:defRPr>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82434"/>
            <a:ext cx="9972752" cy="2957092"/>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7582434"/>
            <a:ext cx="9972752" cy="2957092"/>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grpSp>
        <p:nvGrpSpPr>
          <p:cNvPr id="10" name="Group">
            <a:extLst>
              <a:ext uri="{FF2B5EF4-FFF2-40B4-BE49-F238E27FC236}">
                <a16:creationId xmlns:a16="http://schemas.microsoft.com/office/drawing/2014/main" id="{D52FCA4E-3997-4C89-9243-E23A9BD34C33}"/>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4D9428ED-DC6A-4CBA-B76E-55B5233C706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2E0FF6D3-8C6F-4E46-886C-6D0A78BEF96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121970083"/>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2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9972752" cy="3136367"/>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8598432"/>
            <a:ext cx="9972752" cy="3136367"/>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9972752" cy="923330"/>
          </a:xfrm>
        </p:spPr>
        <p:txBody>
          <a:bodyPr wrap="square" anchor="b">
            <a:noAutofit/>
          </a:bodyPr>
          <a:lstStyle>
            <a:lvl1pPr>
              <a:defRPr sz="4800" b="0" i="0">
                <a:latin typeface="Times New Roman" panose="02020603050405020304" pitchFamily="18" charset="0"/>
              </a:defRPr>
            </a:lvl1pPr>
          </a:lstStyle>
          <a:p>
            <a:pPr lvl="0"/>
            <a:r>
              <a:rPr lang="en-US"/>
              <a:t>Sub-title</a:t>
            </a:r>
            <a:endParaRPr lang="de-DE"/>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7115772"/>
            <a:ext cx="9972752" cy="923330"/>
          </a:xfrm>
        </p:spPr>
        <p:txBody>
          <a:bodyPr wrap="square" anchor="b">
            <a:noAutofit/>
          </a:bodyPr>
          <a:lstStyle>
            <a:lvl1pPr>
              <a:defRPr sz="4800" b="0" i="0">
                <a:latin typeface="Times New Roman" panose="02020603050405020304" pitchFamily="18" charset="0"/>
              </a:defRPr>
            </a:lvl1pPr>
          </a:lstStyle>
          <a:p>
            <a:pPr lvl="0"/>
            <a:r>
              <a:rPr lang="en-US"/>
              <a:t>Sub-title</a:t>
            </a:r>
            <a:endParaRPr lang="de-DE"/>
          </a:p>
        </p:txBody>
      </p:sp>
    </p:spTree>
    <p:extLst>
      <p:ext uri="{BB962C8B-B14F-4D97-AF65-F5344CB8AC3E}">
        <p14:creationId xmlns:p14="http://schemas.microsoft.com/office/powerpoint/2010/main" val="1501589179"/>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2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solidFill>
                  <a:schemeClr val="bg1"/>
                </a:solidFill>
              </a:defRPr>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9972752" cy="3136367"/>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8598432"/>
            <a:ext cx="9972752" cy="3136367"/>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9972752" cy="923330"/>
          </a:xfrm>
        </p:spPr>
        <p:txBody>
          <a:bodyPr wrap="square" anchor="b">
            <a:noAutofit/>
          </a:bodyPr>
          <a:lstStyle>
            <a:lvl1pPr>
              <a:defRPr sz="4800" b="0" i="0">
                <a:solidFill>
                  <a:schemeClr val="bg1"/>
                </a:solidFill>
                <a:latin typeface="Times New Roman" panose="02020603050405020304" pitchFamily="18" charset="0"/>
              </a:defRPr>
            </a:lvl1pPr>
          </a:lstStyle>
          <a:p>
            <a:pPr lvl="0"/>
            <a:r>
              <a:rPr lang="en-US"/>
              <a:t>Sub-title</a:t>
            </a:r>
            <a:endParaRPr lang="de-DE"/>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7115772"/>
            <a:ext cx="9972752" cy="923330"/>
          </a:xfrm>
        </p:spPr>
        <p:txBody>
          <a:bodyPr wrap="square" anchor="b">
            <a:noAutofit/>
          </a:bodyPr>
          <a:lstStyle>
            <a:lvl1pPr>
              <a:defRPr sz="4800" b="0" i="0">
                <a:solidFill>
                  <a:schemeClr val="bg1"/>
                </a:solidFill>
                <a:latin typeface="Times New Roman" panose="02020603050405020304" pitchFamily="18" charset="0"/>
              </a:defRPr>
            </a:lvl1pPr>
          </a:lstStyle>
          <a:p>
            <a:pPr lvl="0"/>
            <a:r>
              <a:rPr lang="en-US"/>
              <a:t>Sub-title</a:t>
            </a:r>
            <a:endParaRPr lang="de-DE"/>
          </a:p>
        </p:txBody>
      </p:sp>
      <p:grpSp>
        <p:nvGrpSpPr>
          <p:cNvPr id="12" name="Group">
            <a:extLst>
              <a:ext uri="{FF2B5EF4-FFF2-40B4-BE49-F238E27FC236}">
                <a16:creationId xmlns:a16="http://schemas.microsoft.com/office/drawing/2014/main" id="{5DE69BEF-841E-40E4-806C-3A72AFABDA38}"/>
              </a:ext>
            </a:extLst>
          </p:cNvPr>
          <p:cNvGrpSpPr/>
          <p:nvPr userDrawn="1"/>
        </p:nvGrpSpPr>
        <p:grpSpPr>
          <a:xfrm>
            <a:off x="885450" y="12829819"/>
            <a:ext cx="885653" cy="885653"/>
            <a:chOff x="0" y="0"/>
            <a:chExt cx="885651" cy="885651"/>
          </a:xfrm>
        </p:grpSpPr>
        <p:sp>
          <p:nvSpPr>
            <p:cNvPr id="13" name="Square">
              <a:extLst>
                <a:ext uri="{FF2B5EF4-FFF2-40B4-BE49-F238E27FC236}">
                  <a16:creationId xmlns:a16="http://schemas.microsoft.com/office/drawing/2014/main" id="{61D25255-C151-4FB1-84DE-776BB2D7DCD0}"/>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5" name="Image">
              <a:extLst>
                <a:ext uri="{FF2B5EF4-FFF2-40B4-BE49-F238E27FC236}">
                  <a16:creationId xmlns:a16="http://schemas.microsoft.com/office/drawing/2014/main" id="{72AB56A5-5CF8-40A4-B2CC-19701E643DC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493650036"/>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3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6468500" cy="3136367"/>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6468500" cy="923330"/>
          </a:xfrm>
        </p:spPr>
        <p:txBody>
          <a:bodyPr wrap="square" anchor="b">
            <a:noAutofit/>
          </a:bodyPr>
          <a:lstStyle>
            <a:lvl1pPr>
              <a:defRPr sz="4800" b="0" i="0">
                <a:latin typeface="Times New Roman" panose="02020603050405020304" pitchFamily="18" charset="0"/>
              </a:defRPr>
            </a:lvl1pPr>
          </a:lstStyle>
          <a:p>
            <a:pPr lvl="0"/>
            <a:r>
              <a:rPr lang="en-US"/>
              <a:t>Sub-title</a:t>
            </a:r>
            <a:endParaRPr lang="de-DE"/>
          </a:p>
        </p:txBody>
      </p:sp>
      <p:sp>
        <p:nvSpPr>
          <p:cNvPr id="15" name="Text Placeholder 8">
            <a:extLst>
              <a:ext uri="{FF2B5EF4-FFF2-40B4-BE49-F238E27FC236}">
                <a16:creationId xmlns:a16="http://schemas.microsoft.com/office/drawing/2014/main" id="{F2176AE9-52E7-4E28-94B7-F64A7BECFD45}"/>
              </a:ext>
            </a:extLst>
          </p:cNvPr>
          <p:cNvSpPr>
            <a:spLocks noGrp="1"/>
          </p:cNvSpPr>
          <p:nvPr>
            <p:ph type="body" sz="quarter" idx="30" hasCustomPrompt="1"/>
          </p:nvPr>
        </p:nvSpPr>
        <p:spPr>
          <a:xfrm>
            <a:off x="8952173" y="8598432"/>
            <a:ext cx="6468500" cy="3136367"/>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6" name="Text Placeholder 8">
            <a:extLst>
              <a:ext uri="{FF2B5EF4-FFF2-40B4-BE49-F238E27FC236}">
                <a16:creationId xmlns:a16="http://schemas.microsoft.com/office/drawing/2014/main" id="{542DB5E2-8DB3-4ADD-A06E-5FC0AEA079D5}"/>
              </a:ext>
            </a:extLst>
          </p:cNvPr>
          <p:cNvSpPr>
            <a:spLocks noGrp="1"/>
          </p:cNvSpPr>
          <p:nvPr>
            <p:ph type="body" sz="quarter" idx="31" hasCustomPrompt="1"/>
          </p:nvPr>
        </p:nvSpPr>
        <p:spPr>
          <a:xfrm>
            <a:off x="16140674" y="8598432"/>
            <a:ext cx="6468500" cy="3136367"/>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7" name="Text Placeholder 8">
            <a:extLst>
              <a:ext uri="{FF2B5EF4-FFF2-40B4-BE49-F238E27FC236}">
                <a16:creationId xmlns:a16="http://schemas.microsoft.com/office/drawing/2014/main" id="{63507CEF-D9DA-4A05-9C95-490E25EA7876}"/>
              </a:ext>
            </a:extLst>
          </p:cNvPr>
          <p:cNvSpPr>
            <a:spLocks noGrp="1"/>
          </p:cNvSpPr>
          <p:nvPr>
            <p:ph type="body" sz="quarter" idx="32" hasCustomPrompt="1"/>
          </p:nvPr>
        </p:nvSpPr>
        <p:spPr>
          <a:xfrm>
            <a:off x="8952173" y="7115772"/>
            <a:ext cx="6468500" cy="923330"/>
          </a:xfrm>
        </p:spPr>
        <p:txBody>
          <a:bodyPr wrap="square" anchor="b">
            <a:noAutofit/>
          </a:bodyPr>
          <a:lstStyle>
            <a:lvl1pPr>
              <a:defRPr sz="4800" b="0" i="0">
                <a:latin typeface="Times New Roman" panose="02020603050405020304" pitchFamily="18" charset="0"/>
              </a:defRPr>
            </a:lvl1pPr>
          </a:lstStyle>
          <a:p>
            <a:pPr lvl="0"/>
            <a:r>
              <a:rPr lang="en-US"/>
              <a:t>Sub-title</a:t>
            </a:r>
            <a:endParaRPr lang="de-DE"/>
          </a:p>
        </p:txBody>
      </p:sp>
      <p:sp>
        <p:nvSpPr>
          <p:cNvPr id="18" name="Text Placeholder 8">
            <a:extLst>
              <a:ext uri="{FF2B5EF4-FFF2-40B4-BE49-F238E27FC236}">
                <a16:creationId xmlns:a16="http://schemas.microsoft.com/office/drawing/2014/main" id="{0C37091A-AD98-4990-86F1-4B0F659A4933}"/>
              </a:ext>
            </a:extLst>
          </p:cNvPr>
          <p:cNvSpPr>
            <a:spLocks noGrp="1"/>
          </p:cNvSpPr>
          <p:nvPr>
            <p:ph type="body" sz="quarter" idx="33" hasCustomPrompt="1"/>
          </p:nvPr>
        </p:nvSpPr>
        <p:spPr>
          <a:xfrm>
            <a:off x="16140674" y="7115772"/>
            <a:ext cx="6468500" cy="923330"/>
          </a:xfrm>
        </p:spPr>
        <p:txBody>
          <a:bodyPr wrap="square" anchor="b">
            <a:noAutofit/>
          </a:bodyPr>
          <a:lstStyle>
            <a:lvl1pPr>
              <a:defRPr sz="4800" b="0" i="0">
                <a:latin typeface="Times New Roman" panose="02020603050405020304" pitchFamily="18" charset="0"/>
              </a:defRPr>
            </a:lvl1pPr>
          </a:lstStyle>
          <a:p>
            <a:pPr lvl="0"/>
            <a:r>
              <a:rPr lang="en-US"/>
              <a:t>Sub-title</a:t>
            </a:r>
            <a:endParaRPr lang="de-DE"/>
          </a:p>
        </p:txBody>
      </p:sp>
    </p:spTree>
    <p:extLst>
      <p:ext uri="{BB962C8B-B14F-4D97-AF65-F5344CB8AC3E}">
        <p14:creationId xmlns:p14="http://schemas.microsoft.com/office/powerpoint/2010/main" val="3620939897"/>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3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solidFill>
                  <a:schemeClr val="bg1"/>
                </a:solidFill>
              </a:defRPr>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6468500" cy="3136367"/>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6468500" cy="923330"/>
          </a:xfrm>
        </p:spPr>
        <p:txBody>
          <a:bodyPr wrap="square" anchor="b">
            <a:noAutofit/>
          </a:bodyPr>
          <a:lstStyle>
            <a:lvl1pPr>
              <a:defRPr sz="4800" b="0" i="0">
                <a:solidFill>
                  <a:schemeClr val="bg1"/>
                </a:solidFill>
                <a:latin typeface="Times New Roman" panose="02020603050405020304" pitchFamily="18" charset="0"/>
              </a:defRPr>
            </a:lvl1pPr>
          </a:lstStyle>
          <a:p>
            <a:pPr lvl="0"/>
            <a:r>
              <a:rPr lang="en-US"/>
              <a:t>Sub-title</a:t>
            </a:r>
            <a:endParaRPr lang="de-DE"/>
          </a:p>
        </p:txBody>
      </p:sp>
      <p:sp>
        <p:nvSpPr>
          <p:cNvPr id="15" name="Text Placeholder 8">
            <a:extLst>
              <a:ext uri="{FF2B5EF4-FFF2-40B4-BE49-F238E27FC236}">
                <a16:creationId xmlns:a16="http://schemas.microsoft.com/office/drawing/2014/main" id="{F2176AE9-52E7-4E28-94B7-F64A7BECFD45}"/>
              </a:ext>
            </a:extLst>
          </p:cNvPr>
          <p:cNvSpPr>
            <a:spLocks noGrp="1"/>
          </p:cNvSpPr>
          <p:nvPr>
            <p:ph type="body" sz="quarter" idx="30" hasCustomPrompt="1"/>
          </p:nvPr>
        </p:nvSpPr>
        <p:spPr>
          <a:xfrm>
            <a:off x="8952173" y="8598432"/>
            <a:ext cx="6468500" cy="3136367"/>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6" name="Text Placeholder 8">
            <a:extLst>
              <a:ext uri="{FF2B5EF4-FFF2-40B4-BE49-F238E27FC236}">
                <a16:creationId xmlns:a16="http://schemas.microsoft.com/office/drawing/2014/main" id="{542DB5E2-8DB3-4ADD-A06E-5FC0AEA079D5}"/>
              </a:ext>
            </a:extLst>
          </p:cNvPr>
          <p:cNvSpPr>
            <a:spLocks noGrp="1"/>
          </p:cNvSpPr>
          <p:nvPr>
            <p:ph type="body" sz="quarter" idx="31" hasCustomPrompt="1"/>
          </p:nvPr>
        </p:nvSpPr>
        <p:spPr>
          <a:xfrm>
            <a:off x="16140674" y="8598432"/>
            <a:ext cx="6468500" cy="3136367"/>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7" name="Text Placeholder 8">
            <a:extLst>
              <a:ext uri="{FF2B5EF4-FFF2-40B4-BE49-F238E27FC236}">
                <a16:creationId xmlns:a16="http://schemas.microsoft.com/office/drawing/2014/main" id="{63507CEF-D9DA-4A05-9C95-490E25EA7876}"/>
              </a:ext>
            </a:extLst>
          </p:cNvPr>
          <p:cNvSpPr>
            <a:spLocks noGrp="1"/>
          </p:cNvSpPr>
          <p:nvPr>
            <p:ph type="body" sz="quarter" idx="32" hasCustomPrompt="1"/>
          </p:nvPr>
        </p:nvSpPr>
        <p:spPr>
          <a:xfrm>
            <a:off x="8952173" y="7115772"/>
            <a:ext cx="6468500" cy="923330"/>
          </a:xfrm>
        </p:spPr>
        <p:txBody>
          <a:bodyPr wrap="square" anchor="b">
            <a:noAutofit/>
          </a:bodyPr>
          <a:lstStyle>
            <a:lvl1pPr>
              <a:defRPr sz="4800" b="0" i="0">
                <a:solidFill>
                  <a:schemeClr val="bg1"/>
                </a:solidFill>
                <a:latin typeface="Times New Roman" panose="02020603050405020304" pitchFamily="18" charset="0"/>
              </a:defRPr>
            </a:lvl1pPr>
          </a:lstStyle>
          <a:p>
            <a:pPr lvl="0"/>
            <a:r>
              <a:rPr lang="en-US"/>
              <a:t>Sub-title</a:t>
            </a:r>
            <a:endParaRPr lang="de-DE"/>
          </a:p>
        </p:txBody>
      </p:sp>
      <p:sp>
        <p:nvSpPr>
          <p:cNvPr id="18" name="Text Placeholder 8">
            <a:extLst>
              <a:ext uri="{FF2B5EF4-FFF2-40B4-BE49-F238E27FC236}">
                <a16:creationId xmlns:a16="http://schemas.microsoft.com/office/drawing/2014/main" id="{0C37091A-AD98-4990-86F1-4B0F659A4933}"/>
              </a:ext>
            </a:extLst>
          </p:cNvPr>
          <p:cNvSpPr>
            <a:spLocks noGrp="1"/>
          </p:cNvSpPr>
          <p:nvPr>
            <p:ph type="body" sz="quarter" idx="33" hasCustomPrompt="1"/>
          </p:nvPr>
        </p:nvSpPr>
        <p:spPr>
          <a:xfrm>
            <a:off x="16140674" y="7115772"/>
            <a:ext cx="6468500" cy="923330"/>
          </a:xfrm>
        </p:spPr>
        <p:txBody>
          <a:bodyPr wrap="square" anchor="b">
            <a:noAutofit/>
          </a:bodyPr>
          <a:lstStyle>
            <a:lvl1pPr>
              <a:defRPr sz="4800" b="0" i="0">
                <a:solidFill>
                  <a:schemeClr val="bg1"/>
                </a:solidFill>
                <a:latin typeface="Times New Roman" panose="02020603050405020304" pitchFamily="18" charset="0"/>
              </a:defRPr>
            </a:lvl1pPr>
          </a:lstStyle>
          <a:p>
            <a:pPr lvl="0"/>
            <a:r>
              <a:rPr lang="en-US"/>
              <a:t>Sub-title</a:t>
            </a:r>
            <a:endParaRPr lang="de-DE"/>
          </a:p>
        </p:txBody>
      </p:sp>
      <p:grpSp>
        <p:nvGrpSpPr>
          <p:cNvPr id="14" name="Group">
            <a:extLst>
              <a:ext uri="{FF2B5EF4-FFF2-40B4-BE49-F238E27FC236}">
                <a16:creationId xmlns:a16="http://schemas.microsoft.com/office/drawing/2014/main" id="{3A0BAB6F-D204-40BB-B73B-2870C390F217}"/>
              </a:ext>
            </a:extLst>
          </p:cNvPr>
          <p:cNvGrpSpPr/>
          <p:nvPr userDrawn="1"/>
        </p:nvGrpSpPr>
        <p:grpSpPr>
          <a:xfrm>
            <a:off x="885450" y="12829819"/>
            <a:ext cx="885653" cy="885653"/>
            <a:chOff x="0" y="0"/>
            <a:chExt cx="885651" cy="885651"/>
          </a:xfrm>
        </p:grpSpPr>
        <p:sp>
          <p:nvSpPr>
            <p:cNvPr id="19" name="Square">
              <a:extLst>
                <a:ext uri="{FF2B5EF4-FFF2-40B4-BE49-F238E27FC236}">
                  <a16:creationId xmlns:a16="http://schemas.microsoft.com/office/drawing/2014/main" id="{EE90B52E-DC04-4812-A715-6697DD43742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20" name="Image">
              <a:extLst>
                <a:ext uri="{FF2B5EF4-FFF2-40B4-BE49-F238E27FC236}">
                  <a16:creationId xmlns:a16="http://schemas.microsoft.com/office/drawing/2014/main" id="{03A707E5-4E67-4432-BBBB-9FC8666C894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50115630"/>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4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4" y="8598432"/>
            <a:ext cx="4806375" cy="3136367"/>
          </a:xfrm>
        </p:spPr>
        <p:txBody>
          <a:bodyPr wrap="square">
            <a:noAutofit/>
          </a:bodyPr>
          <a:lstStyle>
            <a:lvl1pPr>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231189"/>
            <a:ext cx="4806375" cy="807913"/>
          </a:xfrm>
        </p:spPr>
        <p:txBody>
          <a:bodyPr wrap="square" anchor="b">
            <a:noAutofit/>
          </a:bodyPr>
          <a:lstStyle>
            <a:lvl1pPr>
              <a:defRPr sz="4200" b="0" i="0">
                <a:latin typeface="Times New Roman" panose="02020603050405020304" pitchFamily="18" charset="0"/>
              </a:defRPr>
            </a:lvl1pPr>
          </a:lstStyle>
          <a:p>
            <a:pPr lvl="0"/>
            <a:r>
              <a:rPr lang="en-US"/>
              <a:t>Sub-title</a:t>
            </a:r>
            <a:endParaRPr lang="de-DE"/>
          </a:p>
        </p:txBody>
      </p:sp>
      <p:sp>
        <p:nvSpPr>
          <p:cNvPr id="14" name="Text Placeholder 8">
            <a:extLst>
              <a:ext uri="{FF2B5EF4-FFF2-40B4-BE49-F238E27FC236}">
                <a16:creationId xmlns:a16="http://schemas.microsoft.com/office/drawing/2014/main" id="{AAAB7B75-104E-4C7D-963C-3DCAD563CEC8}"/>
              </a:ext>
            </a:extLst>
          </p:cNvPr>
          <p:cNvSpPr>
            <a:spLocks noGrp="1"/>
          </p:cNvSpPr>
          <p:nvPr>
            <p:ph type="body" sz="quarter" idx="30" hasCustomPrompt="1"/>
          </p:nvPr>
        </p:nvSpPr>
        <p:spPr>
          <a:xfrm>
            <a:off x="7110049" y="7231189"/>
            <a:ext cx="4806375" cy="807913"/>
          </a:xfrm>
        </p:spPr>
        <p:txBody>
          <a:bodyPr wrap="square" anchor="b">
            <a:noAutofit/>
          </a:bodyPr>
          <a:lstStyle>
            <a:lvl1pPr>
              <a:defRPr sz="4200" b="0" i="0">
                <a:latin typeface="Times New Roman" panose="02020603050405020304" pitchFamily="18" charset="0"/>
              </a:defRPr>
            </a:lvl1pPr>
          </a:lstStyle>
          <a:p>
            <a:pPr lvl="0"/>
            <a:r>
              <a:rPr lang="en-US"/>
              <a:t>Sub-title</a:t>
            </a:r>
            <a:endParaRPr lang="de-DE"/>
          </a:p>
        </p:txBody>
      </p:sp>
      <p:sp>
        <p:nvSpPr>
          <p:cNvPr id="19" name="Text Placeholder 8">
            <a:extLst>
              <a:ext uri="{FF2B5EF4-FFF2-40B4-BE49-F238E27FC236}">
                <a16:creationId xmlns:a16="http://schemas.microsoft.com/office/drawing/2014/main" id="{AEB1DBD6-2C40-4E87-847F-2830B558524C}"/>
              </a:ext>
            </a:extLst>
          </p:cNvPr>
          <p:cNvSpPr>
            <a:spLocks noGrp="1"/>
          </p:cNvSpPr>
          <p:nvPr>
            <p:ph type="body" sz="quarter" idx="31" hasCustomPrompt="1"/>
          </p:nvPr>
        </p:nvSpPr>
        <p:spPr>
          <a:xfrm>
            <a:off x="12456424" y="7231189"/>
            <a:ext cx="4806375" cy="807913"/>
          </a:xfrm>
        </p:spPr>
        <p:txBody>
          <a:bodyPr wrap="square" anchor="b">
            <a:noAutofit/>
          </a:bodyPr>
          <a:lstStyle>
            <a:lvl1pPr>
              <a:defRPr sz="4200" b="0" i="0">
                <a:latin typeface="Times New Roman" panose="02020603050405020304" pitchFamily="18" charset="0"/>
              </a:defRPr>
            </a:lvl1pPr>
          </a:lstStyle>
          <a:p>
            <a:pPr lvl="0"/>
            <a:r>
              <a:rPr lang="en-US"/>
              <a:t>Sub-title</a:t>
            </a:r>
            <a:endParaRPr lang="de-DE"/>
          </a:p>
        </p:txBody>
      </p:sp>
      <p:sp>
        <p:nvSpPr>
          <p:cNvPr id="20" name="Text Placeholder 8">
            <a:extLst>
              <a:ext uri="{FF2B5EF4-FFF2-40B4-BE49-F238E27FC236}">
                <a16:creationId xmlns:a16="http://schemas.microsoft.com/office/drawing/2014/main" id="{FDF5CA61-C0EC-4FDF-8C94-9405DD65BBEB}"/>
              </a:ext>
            </a:extLst>
          </p:cNvPr>
          <p:cNvSpPr>
            <a:spLocks noGrp="1"/>
          </p:cNvSpPr>
          <p:nvPr>
            <p:ph type="body" sz="quarter" idx="32" hasCustomPrompt="1"/>
          </p:nvPr>
        </p:nvSpPr>
        <p:spPr>
          <a:xfrm>
            <a:off x="17802799" y="7231189"/>
            <a:ext cx="4806375" cy="807913"/>
          </a:xfrm>
        </p:spPr>
        <p:txBody>
          <a:bodyPr wrap="square" anchor="b">
            <a:noAutofit/>
          </a:bodyPr>
          <a:lstStyle>
            <a:lvl1pPr>
              <a:defRPr sz="4200" b="0" i="0">
                <a:latin typeface="Times New Roman" panose="02020603050405020304" pitchFamily="18" charset="0"/>
              </a:defRPr>
            </a:lvl1pPr>
          </a:lstStyle>
          <a:p>
            <a:pPr lvl="0"/>
            <a:r>
              <a:rPr lang="en-US"/>
              <a:t>Sub-title</a:t>
            </a:r>
            <a:endParaRPr lang="de-DE"/>
          </a:p>
        </p:txBody>
      </p:sp>
      <p:sp>
        <p:nvSpPr>
          <p:cNvPr id="21" name="Text Placeholder 8">
            <a:extLst>
              <a:ext uri="{FF2B5EF4-FFF2-40B4-BE49-F238E27FC236}">
                <a16:creationId xmlns:a16="http://schemas.microsoft.com/office/drawing/2014/main" id="{121ADF09-3C36-47C1-9295-1DDDB4A22AD8}"/>
              </a:ext>
            </a:extLst>
          </p:cNvPr>
          <p:cNvSpPr>
            <a:spLocks noGrp="1"/>
          </p:cNvSpPr>
          <p:nvPr>
            <p:ph type="body" sz="quarter" idx="33" hasCustomPrompt="1"/>
          </p:nvPr>
        </p:nvSpPr>
        <p:spPr>
          <a:xfrm>
            <a:off x="7110049" y="8598432"/>
            <a:ext cx="4806375" cy="3136367"/>
          </a:xfrm>
        </p:spPr>
        <p:txBody>
          <a:bodyPr wrap="square">
            <a:noAutofit/>
          </a:bodyPr>
          <a:lstStyle>
            <a:lvl1pPr>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22" name="Text Placeholder 8">
            <a:extLst>
              <a:ext uri="{FF2B5EF4-FFF2-40B4-BE49-F238E27FC236}">
                <a16:creationId xmlns:a16="http://schemas.microsoft.com/office/drawing/2014/main" id="{00F0D3CF-8378-4FC5-8B32-D2D669385461}"/>
              </a:ext>
            </a:extLst>
          </p:cNvPr>
          <p:cNvSpPr>
            <a:spLocks noGrp="1"/>
          </p:cNvSpPr>
          <p:nvPr>
            <p:ph type="body" sz="quarter" idx="34" hasCustomPrompt="1"/>
          </p:nvPr>
        </p:nvSpPr>
        <p:spPr>
          <a:xfrm>
            <a:off x="12456424" y="8598432"/>
            <a:ext cx="4806375" cy="3136367"/>
          </a:xfrm>
        </p:spPr>
        <p:txBody>
          <a:bodyPr wrap="square">
            <a:noAutofit/>
          </a:bodyPr>
          <a:lstStyle>
            <a:lvl1pPr>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23" name="Text Placeholder 8">
            <a:extLst>
              <a:ext uri="{FF2B5EF4-FFF2-40B4-BE49-F238E27FC236}">
                <a16:creationId xmlns:a16="http://schemas.microsoft.com/office/drawing/2014/main" id="{60EDE437-BE65-4241-A350-99EF846DAE13}"/>
              </a:ext>
            </a:extLst>
          </p:cNvPr>
          <p:cNvSpPr>
            <a:spLocks noGrp="1"/>
          </p:cNvSpPr>
          <p:nvPr>
            <p:ph type="body" sz="quarter" idx="35" hasCustomPrompt="1"/>
          </p:nvPr>
        </p:nvSpPr>
        <p:spPr>
          <a:xfrm>
            <a:off x="17802799" y="8598432"/>
            <a:ext cx="4806375" cy="3136367"/>
          </a:xfrm>
        </p:spPr>
        <p:txBody>
          <a:bodyPr wrap="square">
            <a:noAutofit/>
          </a:bodyPr>
          <a:lstStyle>
            <a:lvl1pPr>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Tree>
    <p:extLst>
      <p:ext uri="{BB962C8B-B14F-4D97-AF65-F5344CB8AC3E}">
        <p14:creationId xmlns:p14="http://schemas.microsoft.com/office/powerpoint/2010/main" val="1871880572"/>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4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solidFill>
                  <a:schemeClr val="bg1"/>
                </a:solidFill>
              </a:defRPr>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4" y="8598432"/>
            <a:ext cx="4806375" cy="3136367"/>
          </a:xfrm>
        </p:spPr>
        <p:txBody>
          <a:bodyPr wrap="square">
            <a:noAutofit/>
          </a:bodyPr>
          <a:lstStyle>
            <a:lvl1pPr>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231189"/>
            <a:ext cx="4806375" cy="807913"/>
          </a:xfrm>
        </p:spPr>
        <p:txBody>
          <a:bodyPr wrap="square" anchor="b">
            <a:spAutoFit/>
          </a:bodyPr>
          <a:lstStyle>
            <a:lvl1pPr>
              <a:defRPr sz="4200" b="0" i="0">
                <a:solidFill>
                  <a:schemeClr val="bg1"/>
                </a:solidFill>
                <a:latin typeface="Times New Roman" panose="02020603050405020304" pitchFamily="18" charset="0"/>
              </a:defRPr>
            </a:lvl1pPr>
          </a:lstStyle>
          <a:p>
            <a:pPr lvl="0"/>
            <a:r>
              <a:rPr lang="en-US"/>
              <a:t>Sub-title</a:t>
            </a:r>
            <a:endParaRPr lang="de-DE"/>
          </a:p>
        </p:txBody>
      </p:sp>
      <p:sp>
        <p:nvSpPr>
          <p:cNvPr id="14" name="Text Placeholder 8">
            <a:extLst>
              <a:ext uri="{FF2B5EF4-FFF2-40B4-BE49-F238E27FC236}">
                <a16:creationId xmlns:a16="http://schemas.microsoft.com/office/drawing/2014/main" id="{AAAB7B75-104E-4C7D-963C-3DCAD563CEC8}"/>
              </a:ext>
            </a:extLst>
          </p:cNvPr>
          <p:cNvSpPr>
            <a:spLocks noGrp="1"/>
          </p:cNvSpPr>
          <p:nvPr>
            <p:ph type="body" sz="quarter" idx="30" hasCustomPrompt="1"/>
          </p:nvPr>
        </p:nvSpPr>
        <p:spPr>
          <a:xfrm>
            <a:off x="7110049" y="7231189"/>
            <a:ext cx="4806375" cy="807913"/>
          </a:xfrm>
        </p:spPr>
        <p:txBody>
          <a:bodyPr wrap="square" anchor="b">
            <a:spAutoFit/>
          </a:bodyPr>
          <a:lstStyle>
            <a:lvl1pPr>
              <a:defRPr sz="4200" b="0" i="0">
                <a:solidFill>
                  <a:schemeClr val="bg1"/>
                </a:solidFill>
                <a:latin typeface="Times New Roman" panose="02020603050405020304" pitchFamily="18" charset="0"/>
              </a:defRPr>
            </a:lvl1pPr>
          </a:lstStyle>
          <a:p>
            <a:pPr lvl="0"/>
            <a:r>
              <a:rPr lang="en-US"/>
              <a:t>Sub-title</a:t>
            </a:r>
            <a:endParaRPr lang="de-DE"/>
          </a:p>
        </p:txBody>
      </p:sp>
      <p:sp>
        <p:nvSpPr>
          <p:cNvPr id="19" name="Text Placeholder 8">
            <a:extLst>
              <a:ext uri="{FF2B5EF4-FFF2-40B4-BE49-F238E27FC236}">
                <a16:creationId xmlns:a16="http://schemas.microsoft.com/office/drawing/2014/main" id="{AEB1DBD6-2C40-4E87-847F-2830B558524C}"/>
              </a:ext>
            </a:extLst>
          </p:cNvPr>
          <p:cNvSpPr>
            <a:spLocks noGrp="1"/>
          </p:cNvSpPr>
          <p:nvPr>
            <p:ph type="body" sz="quarter" idx="31" hasCustomPrompt="1"/>
          </p:nvPr>
        </p:nvSpPr>
        <p:spPr>
          <a:xfrm>
            <a:off x="12456424" y="7231189"/>
            <a:ext cx="4806375" cy="807913"/>
          </a:xfrm>
        </p:spPr>
        <p:txBody>
          <a:bodyPr wrap="square" anchor="b">
            <a:spAutoFit/>
          </a:bodyPr>
          <a:lstStyle>
            <a:lvl1pPr>
              <a:defRPr sz="4200" b="0" i="0">
                <a:solidFill>
                  <a:schemeClr val="bg1"/>
                </a:solidFill>
                <a:latin typeface="Times New Roman" panose="02020603050405020304" pitchFamily="18" charset="0"/>
              </a:defRPr>
            </a:lvl1pPr>
          </a:lstStyle>
          <a:p>
            <a:pPr lvl="0"/>
            <a:r>
              <a:rPr lang="en-US"/>
              <a:t>Sub-title</a:t>
            </a:r>
            <a:endParaRPr lang="de-DE"/>
          </a:p>
        </p:txBody>
      </p:sp>
      <p:sp>
        <p:nvSpPr>
          <p:cNvPr id="20" name="Text Placeholder 8">
            <a:extLst>
              <a:ext uri="{FF2B5EF4-FFF2-40B4-BE49-F238E27FC236}">
                <a16:creationId xmlns:a16="http://schemas.microsoft.com/office/drawing/2014/main" id="{FDF5CA61-C0EC-4FDF-8C94-9405DD65BBEB}"/>
              </a:ext>
            </a:extLst>
          </p:cNvPr>
          <p:cNvSpPr>
            <a:spLocks noGrp="1"/>
          </p:cNvSpPr>
          <p:nvPr>
            <p:ph type="body" sz="quarter" idx="32" hasCustomPrompt="1"/>
          </p:nvPr>
        </p:nvSpPr>
        <p:spPr>
          <a:xfrm>
            <a:off x="17802799" y="7231189"/>
            <a:ext cx="4806375" cy="807913"/>
          </a:xfrm>
        </p:spPr>
        <p:txBody>
          <a:bodyPr wrap="square" anchor="b">
            <a:spAutoFit/>
          </a:bodyPr>
          <a:lstStyle>
            <a:lvl1pPr>
              <a:defRPr sz="4200" b="0" i="0">
                <a:solidFill>
                  <a:schemeClr val="bg1"/>
                </a:solidFill>
                <a:latin typeface="Times New Roman" panose="02020603050405020304" pitchFamily="18" charset="0"/>
              </a:defRPr>
            </a:lvl1pPr>
          </a:lstStyle>
          <a:p>
            <a:pPr lvl="0"/>
            <a:r>
              <a:rPr lang="en-US"/>
              <a:t>Sub-title</a:t>
            </a:r>
            <a:endParaRPr lang="de-DE"/>
          </a:p>
        </p:txBody>
      </p:sp>
      <p:sp>
        <p:nvSpPr>
          <p:cNvPr id="21" name="Text Placeholder 8">
            <a:extLst>
              <a:ext uri="{FF2B5EF4-FFF2-40B4-BE49-F238E27FC236}">
                <a16:creationId xmlns:a16="http://schemas.microsoft.com/office/drawing/2014/main" id="{121ADF09-3C36-47C1-9295-1DDDB4A22AD8}"/>
              </a:ext>
            </a:extLst>
          </p:cNvPr>
          <p:cNvSpPr>
            <a:spLocks noGrp="1"/>
          </p:cNvSpPr>
          <p:nvPr>
            <p:ph type="body" sz="quarter" idx="33" hasCustomPrompt="1"/>
          </p:nvPr>
        </p:nvSpPr>
        <p:spPr>
          <a:xfrm>
            <a:off x="7110049" y="8598432"/>
            <a:ext cx="4806375" cy="3136367"/>
          </a:xfrm>
        </p:spPr>
        <p:txBody>
          <a:bodyPr wrap="square">
            <a:noAutofit/>
          </a:bodyPr>
          <a:lstStyle>
            <a:lvl1pPr>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22" name="Text Placeholder 8">
            <a:extLst>
              <a:ext uri="{FF2B5EF4-FFF2-40B4-BE49-F238E27FC236}">
                <a16:creationId xmlns:a16="http://schemas.microsoft.com/office/drawing/2014/main" id="{00F0D3CF-8378-4FC5-8B32-D2D669385461}"/>
              </a:ext>
            </a:extLst>
          </p:cNvPr>
          <p:cNvSpPr>
            <a:spLocks noGrp="1"/>
          </p:cNvSpPr>
          <p:nvPr>
            <p:ph type="body" sz="quarter" idx="34" hasCustomPrompt="1"/>
          </p:nvPr>
        </p:nvSpPr>
        <p:spPr>
          <a:xfrm>
            <a:off x="12456424" y="8598432"/>
            <a:ext cx="4806375" cy="3136367"/>
          </a:xfrm>
        </p:spPr>
        <p:txBody>
          <a:bodyPr wrap="square">
            <a:noAutofit/>
          </a:bodyPr>
          <a:lstStyle>
            <a:lvl1pPr>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23" name="Text Placeholder 8">
            <a:extLst>
              <a:ext uri="{FF2B5EF4-FFF2-40B4-BE49-F238E27FC236}">
                <a16:creationId xmlns:a16="http://schemas.microsoft.com/office/drawing/2014/main" id="{60EDE437-BE65-4241-A350-99EF846DAE13}"/>
              </a:ext>
            </a:extLst>
          </p:cNvPr>
          <p:cNvSpPr>
            <a:spLocks noGrp="1"/>
          </p:cNvSpPr>
          <p:nvPr>
            <p:ph type="body" sz="quarter" idx="35" hasCustomPrompt="1"/>
          </p:nvPr>
        </p:nvSpPr>
        <p:spPr>
          <a:xfrm>
            <a:off x="17802799" y="8598432"/>
            <a:ext cx="4806375" cy="3136367"/>
          </a:xfrm>
        </p:spPr>
        <p:txBody>
          <a:bodyPr wrap="square">
            <a:noAutofit/>
          </a:bodyPr>
          <a:lstStyle>
            <a:lvl1pPr>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grpSp>
        <p:nvGrpSpPr>
          <p:cNvPr id="16" name="Group">
            <a:extLst>
              <a:ext uri="{FF2B5EF4-FFF2-40B4-BE49-F238E27FC236}">
                <a16:creationId xmlns:a16="http://schemas.microsoft.com/office/drawing/2014/main" id="{A8AA9885-FFA2-478B-B3A7-6A89129B91B9}"/>
              </a:ext>
            </a:extLst>
          </p:cNvPr>
          <p:cNvGrpSpPr/>
          <p:nvPr userDrawn="1"/>
        </p:nvGrpSpPr>
        <p:grpSpPr>
          <a:xfrm>
            <a:off x="885450" y="12829819"/>
            <a:ext cx="885653" cy="885653"/>
            <a:chOff x="0" y="0"/>
            <a:chExt cx="885651" cy="885651"/>
          </a:xfrm>
        </p:grpSpPr>
        <p:sp>
          <p:nvSpPr>
            <p:cNvPr id="17" name="Square">
              <a:extLst>
                <a:ext uri="{FF2B5EF4-FFF2-40B4-BE49-F238E27FC236}">
                  <a16:creationId xmlns:a16="http://schemas.microsoft.com/office/drawing/2014/main" id="{A50F55EF-4266-47FB-932F-90F3C45AD44C}"/>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8" name="Image">
              <a:extLst>
                <a:ext uri="{FF2B5EF4-FFF2-40B4-BE49-F238E27FC236}">
                  <a16:creationId xmlns:a16="http://schemas.microsoft.com/office/drawing/2014/main" id="{5BBE6C3A-B58E-4250-91E5-72D73F94643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30773926"/>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2 col + image (W)">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970033"/>
            <a:ext cx="9972752" cy="1764765"/>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9970033"/>
            <a:ext cx="9972752" cy="1764765"/>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8674100"/>
            <a:ext cx="9972752" cy="923330"/>
          </a:xfrm>
        </p:spPr>
        <p:txBody>
          <a:bodyPr wrap="square" anchor="t">
            <a:noAutofit/>
          </a:bodyPr>
          <a:lstStyle>
            <a:lvl1pPr>
              <a:lnSpc>
                <a:spcPct val="80000"/>
              </a:lnSpc>
              <a:defRPr sz="4800" b="0" i="0">
                <a:latin typeface="Times New Roman" panose="02020603050405020304" pitchFamily="18" charset="0"/>
              </a:defRPr>
            </a:lvl1pPr>
          </a:lstStyle>
          <a:p>
            <a:pPr lvl="0"/>
            <a:r>
              <a:rPr lang="en-US"/>
              <a:t>Sub-title</a:t>
            </a:r>
            <a:endParaRPr lang="de-DE"/>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8674100"/>
            <a:ext cx="9972752" cy="923330"/>
          </a:xfrm>
        </p:spPr>
        <p:txBody>
          <a:bodyPr wrap="square" anchor="t">
            <a:noAutofit/>
          </a:bodyPr>
          <a:lstStyle>
            <a:lvl1pPr>
              <a:lnSpc>
                <a:spcPct val="80000"/>
              </a:lnSpc>
              <a:defRPr sz="4800" b="0" i="0">
                <a:latin typeface="Times New Roman" panose="02020603050405020304" pitchFamily="18" charset="0"/>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1"/>
            <a:ext cx="9972752" cy="5003276"/>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8" name="Image">
            <a:extLst>
              <a:ext uri="{FF2B5EF4-FFF2-40B4-BE49-F238E27FC236}">
                <a16:creationId xmlns:a16="http://schemas.microsoft.com/office/drawing/2014/main" id="{3A8DEE91-3CD9-4C9D-AE21-356F46059732}"/>
              </a:ext>
            </a:extLst>
          </p:cNvPr>
          <p:cNvSpPr>
            <a:spLocks noGrp="1"/>
          </p:cNvSpPr>
          <p:nvPr>
            <p:ph type="pic" idx="32"/>
          </p:nvPr>
        </p:nvSpPr>
        <p:spPr>
          <a:xfrm>
            <a:off x="12636422" y="2927071"/>
            <a:ext cx="9972752" cy="5003276"/>
          </a:xfrm>
          <a:prstGeom prst="rect">
            <a:avLst/>
          </a:prstGeom>
          <a:solidFill>
            <a:schemeClr val="accent6"/>
          </a:solidFill>
        </p:spPr>
        <p:txBody>
          <a:bodyPr lIns="91439" tIns="45719" rIns="91439" bIns="45719">
            <a:noAutofit/>
          </a:bodyPr>
          <a:lstStyle>
            <a:lvl1pPr algn="ctr">
              <a:defRPr b="0" i="0"/>
            </a:lvl1pPr>
          </a:lstStyle>
          <a:p>
            <a:endParaRPr/>
          </a:p>
        </p:txBody>
      </p:sp>
    </p:spTree>
    <p:extLst>
      <p:ext uri="{BB962C8B-B14F-4D97-AF65-F5344CB8AC3E}">
        <p14:creationId xmlns:p14="http://schemas.microsoft.com/office/powerpoint/2010/main" val="177699215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2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i="0">
                <a:solidFill>
                  <a:schemeClr val="tx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b="0" i="0" cap="all" baseline="0">
                <a:solidFill>
                  <a:schemeClr val="tx1"/>
                </a:solidFill>
                <a:latin typeface="Arial" panose="020B0604020202020204" pitchFamily="34" charset="0"/>
                <a:cs typeface="Arial" panose="020B0604020202020204" pitchFamily="34" charset="0"/>
              </a:defRPr>
            </a:lvl1pPr>
          </a:lstStyle>
          <a:p>
            <a:endParaRPr lang="de-DE"/>
          </a:p>
        </p:txBody>
      </p:sp>
      <p:sp>
        <p:nvSpPr>
          <p:cNvPr id="9" name="Image">
            <a:extLst>
              <a:ext uri="{FF2B5EF4-FFF2-40B4-BE49-F238E27FC236}">
                <a16:creationId xmlns:a16="http://schemas.microsoft.com/office/drawing/2014/main" id="{EC01438F-B399-46F0-951A-1F4C816D721B}"/>
              </a:ext>
            </a:extLst>
          </p:cNvPr>
          <p:cNvSpPr>
            <a:spLocks noGrp="1"/>
          </p:cNvSpPr>
          <p:nvPr>
            <p:ph type="pic" sz="quarter" idx="27" hasCustomPrompt="1"/>
          </p:nvPr>
        </p:nvSpPr>
        <p:spPr>
          <a:xfrm>
            <a:off x="9882093" y="10722106"/>
            <a:ext cx="4619816" cy="1178622"/>
          </a:xfrm>
          <a:prstGeom prst="rect">
            <a:avLst/>
          </a:prstGeom>
          <a:blipFill>
            <a:blip r:embed="rId2"/>
            <a:stretch>
              <a:fillRect/>
            </a:stretch>
          </a:blipFill>
        </p:spPr>
        <p:txBody>
          <a:bodyPr lIns="91439" tIns="45719" rIns="91439" bIns="45719">
            <a:noAutofit/>
          </a:bodyPr>
          <a:lstStyle>
            <a:lvl1pPr>
              <a:defRPr b="0" i="0">
                <a:solidFill>
                  <a:schemeClr val="bg1"/>
                </a:solidFill>
              </a:defRPr>
            </a:lvl1pPr>
          </a:lstStyle>
          <a:p>
            <a:r>
              <a:rPr lang="de-DE"/>
              <a:t> </a:t>
            </a:r>
            <a:endParaRPr/>
          </a:p>
        </p:txBody>
      </p:sp>
      <p:sp>
        <p:nvSpPr>
          <p:cNvPr id="15" name="Title 2">
            <a:extLst>
              <a:ext uri="{FF2B5EF4-FFF2-40B4-BE49-F238E27FC236}">
                <a16:creationId xmlns:a16="http://schemas.microsoft.com/office/drawing/2014/main" id="{E0A62B25-C662-4383-B4A8-1BD46CB2A8D8}"/>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tx1"/>
                </a:solidFill>
              </a:defRPr>
            </a:lvl1pPr>
          </a:lstStyle>
          <a:p>
            <a:r>
              <a:rPr lang="de-DE"/>
              <a:t>Presentation title</a:t>
            </a:r>
          </a:p>
        </p:txBody>
      </p:sp>
      <p:sp>
        <p:nvSpPr>
          <p:cNvPr id="3" name="Footer Placeholder 8">
            <a:extLst>
              <a:ext uri="{FF2B5EF4-FFF2-40B4-BE49-F238E27FC236}">
                <a16:creationId xmlns:a16="http://schemas.microsoft.com/office/drawing/2014/main" id="{1B469169-9748-8665-4384-87C7FF30DB05}"/>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b="0" i="0" spc="48">
                <a:solidFill>
                  <a:schemeClr val="bg1">
                    <a:lumMod val="65000"/>
                  </a:schemeClr>
                </a:solidFill>
                <a:latin typeface="Arial" panose="020B0604020202020204" pitchFamily="34" charset="0"/>
                <a:cs typeface="Arial" panose="020B0604020202020204" pitchFamily="34" charset="0"/>
              </a:defRPr>
            </a:lvl1pPr>
          </a:lstStyle>
          <a:p>
            <a:r>
              <a:rPr lang="en-US"/>
              <a:t>AI Genies | Claire the Car Repair Assessment Agent</a:t>
            </a:r>
            <a:endParaRPr lang="de-DE"/>
          </a:p>
        </p:txBody>
      </p:sp>
    </p:spTree>
    <p:extLst>
      <p:ext uri="{BB962C8B-B14F-4D97-AF65-F5344CB8AC3E}">
        <p14:creationId xmlns:p14="http://schemas.microsoft.com/office/powerpoint/2010/main" val="2067699355"/>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2 col + image (B)">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970033"/>
            <a:ext cx="9972752" cy="1764765"/>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9970033"/>
            <a:ext cx="9972752" cy="1764765"/>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8674100"/>
            <a:ext cx="9972752" cy="923330"/>
          </a:xfrm>
        </p:spPr>
        <p:txBody>
          <a:bodyPr wrap="square" anchor="t">
            <a:noAutofit/>
          </a:bodyPr>
          <a:lstStyle>
            <a:lvl1pPr>
              <a:lnSpc>
                <a:spcPct val="80000"/>
              </a:lnSpc>
              <a:defRPr sz="4800" b="0" i="0">
                <a:solidFill>
                  <a:schemeClr val="bg1"/>
                </a:solidFill>
                <a:latin typeface="Times New Roman" panose="02020603050405020304" pitchFamily="18" charset="0"/>
              </a:defRPr>
            </a:lvl1pPr>
          </a:lstStyle>
          <a:p>
            <a:pPr lvl="0"/>
            <a:r>
              <a:rPr lang="en-US"/>
              <a:t>Sub-title</a:t>
            </a:r>
            <a:endParaRPr lang="de-DE"/>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8674100"/>
            <a:ext cx="9972752" cy="923330"/>
          </a:xfrm>
        </p:spPr>
        <p:txBody>
          <a:bodyPr wrap="square" anchor="t">
            <a:noAutofit/>
          </a:bodyPr>
          <a:lstStyle>
            <a:lvl1pPr>
              <a:lnSpc>
                <a:spcPct val="80000"/>
              </a:lnSpc>
              <a:defRPr sz="4800" b="0" i="0">
                <a:solidFill>
                  <a:schemeClr val="bg1"/>
                </a:solidFill>
                <a:latin typeface="Times New Roman" panose="02020603050405020304" pitchFamily="18" charset="0"/>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1"/>
            <a:ext cx="9972752" cy="5003276"/>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8" name="Image">
            <a:extLst>
              <a:ext uri="{FF2B5EF4-FFF2-40B4-BE49-F238E27FC236}">
                <a16:creationId xmlns:a16="http://schemas.microsoft.com/office/drawing/2014/main" id="{3A8DEE91-3CD9-4C9D-AE21-356F46059732}"/>
              </a:ext>
            </a:extLst>
          </p:cNvPr>
          <p:cNvSpPr>
            <a:spLocks noGrp="1"/>
          </p:cNvSpPr>
          <p:nvPr>
            <p:ph type="pic" idx="32"/>
          </p:nvPr>
        </p:nvSpPr>
        <p:spPr>
          <a:xfrm>
            <a:off x="12636422" y="2927071"/>
            <a:ext cx="9972752" cy="5003276"/>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grpSp>
        <p:nvGrpSpPr>
          <p:cNvPr id="13" name="Group">
            <a:extLst>
              <a:ext uri="{FF2B5EF4-FFF2-40B4-BE49-F238E27FC236}">
                <a16:creationId xmlns:a16="http://schemas.microsoft.com/office/drawing/2014/main" id="{B121C0F8-D94F-4D54-AE27-A1D5D34A040F}"/>
              </a:ext>
            </a:extLst>
          </p:cNvPr>
          <p:cNvGrpSpPr/>
          <p:nvPr userDrawn="1"/>
        </p:nvGrpSpPr>
        <p:grpSpPr>
          <a:xfrm>
            <a:off x="885450" y="12829819"/>
            <a:ext cx="885653" cy="885653"/>
            <a:chOff x="0" y="0"/>
            <a:chExt cx="885651" cy="885651"/>
          </a:xfrm>
        </p:grpSpPr>
        <p:sp>
          <p:nvSpPr>
            <p:cNvPr id="15" name="Square">
              <a:extLst>
                <a:ext uri="{FF2B5EF4-FFF2-40B4-BE49-F238E27FC236}">
                  <a16:creationId xmlns:a16="http://schemas.microsoft.com/office/drawing/2014/main" id="{A059693D-7BC1-4EE6-A332-DF9689DF82B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6" name="Image">
              <a:extLst>
                <a:ext uri="{FF2B5EF4-FFF2-40B4-BE49-F238E27FC236}">
                  <a16:creationId xmlns:a16="http://schemas.microsoft.com/office/drawing/2014/main" id="{821654F4-FBBD-4FED-B51C-D1247EE6B5A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13370148"/>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3 col + image (W)">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2" y="8598432"/>
            <a:ext cx="6468500" cy="2190496"/>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391400"/>
            <a:ext cx="6468500" cy="923330"/>
          </a:xfrm>
        </p:spPr>
        <p:txBody>
          <a:bodyPr wrap="square" anchor="t">
            <a:noAutofit/>
          </a:bodyPr>
          <a:lstStyle>
            <a:lvl1pPr>
              <a:lnSpc>
                <a:spcPct val="80000"/>
              </a:lnSpc>
              <a:defRPr sz="4800" b="0" i="0">
                <a:latin typeface="Times New Roman" panose="02020603050405020304" pitchFamily="18" charset="0"/>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2"/>
            <a:ext cx="6468500" cy="3532107"/>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3" name="Text Placeholder 8">
            <a:extLst>
              <a:ext uri="{FF2B5EF4-FFF2-40B4-BE49-F238E27FC236}">
                <a16:creationId xmlns:a16="http://schemas.microsoft.com/office/drawing/2014/main" id="{DB3FFDC5-90B2-4B07-A404-CC1772F0EACD}"/>
              </a:ext>
            </a:extLst>
          </p:cNvPr>
          <p:cNvSpPr>
            <a:spLocks noGrp="1"/>
          </p:cNvSpPr>
          <p:nvPr>
            <p:ph type="body" sz="quarter" idx="33" hasCustomPrompt="1"/>
          </p:nvPr>
        </p:nvSpPr>
        <p:spPr>
          <a:xfrm>
            <a:off x="8960132" y="8598432"/>
            <a:ext cx="6468500" cy="2190496"/>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5" name="Text Placeholder 8">
            <a:extLst>
              <a:ext uri="{FF2B5EF4-FFF2-40B4-BE49-F238E27FC236}">
                <a16:creationId xmlns:a16="http://schemas.microsoft.com/office/drawing/2014/main" id="{A540274D-6B4F-4D8C-B0BD-18CE02B3A933}"/>
              </a:ext>
            </a:extLst>
          </p:cNvPr>
          <p:cNvSpPr>
            <a:spLocks noGrp="1"/>
          </p:cNvSpPr>
          <p:nvPr>
            <p:ph type="body" sz="quarter" idx="34" hasCustomPrompt="1"/>
          </p:nvPr>
        </p:nvSpPr>
        <p:spPr>
          <a:xfrm>
            <a:off x="16148633" y="8598432"/>
            <a:ext cx="6468500" cy="2190496"/>
          </a:xfrm>
        </p:spPr>
        <p:txBody>
          <a:bodyPr wrap="square">
            <a:noAutofit/>
          </a:bodyPr>
          <a:lstStyle>
            <a:lvl1pPr>
              <a:defRPr sz="28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6" name="Text Placeholder 8">
            <a:extLst>
              <a:ext uri="{FF2B5EF4-FFF2-40B4-BE49-F238E27FC236}">
                <a16:creationId xmlns:a16="http://schemas.microsoft.com/office/drawing/2014/main" id="{8C2F5790-A8A2-4232-B19A-49202480D5FA}"/>
              </a:ext>
            </a:extLst>
          </p:cNvPr>
          <p:cNvSpPr>
            <a:spLocks noGrp="1"/>
          </p:cNvSpPr>
          <p:nvPr>
            <p:ph type="body" sz="quarter" idx="35" hasCustomPrompt="1"/>
          </p:nvPr>
        </p:nvSpPr>
        <p:spPr>
          <a:xfrm>
            <a:off x="8952173" y="7391400"/>
            <a:ext cx="6468500" cy="923330"/>
          </a:xfrm>
        </p:spPr>
        <p:txBody>
          <a:bodyPr wrap="square" anchor="t">
            <a:noAutofit/>
          </a:bodyPr>
          <a:lstStyle>
            <a:lvl1pPr>
              <a:lnSpc>
                <a:spcPct val="80000"/>
              </a:lnSpc>
              <a:defRPr sz="4800" b="0" i="0">
                <a:latin typeface="Times New Roman" panose="02020603050405020304" pitchFamily="18" charset="0"/>
              </a:defRPr>
            </a:lvl1pPr>
          </a:lstStyle>
          <a:p>
            <a:pPr lvl="0"/>
            <a:r>
              <a:rPr lang="en-US"/>
              <a:t>Sub-title</a:t>
            </a:r>
            <a:endParaRPr lang="de-DE"/>
          </a:p>
        </p:txBody>
      </p:sp>
      <p:sp>
        <p:nvSpPr>
          <p:cNvPr id="19" name="Text Placeholder 8">
            <a:extLst>
              <a:ext uri="{FF2B5EF4-FFF2-40B4-BE49-F238E27FC236}">
                <a16:creationId xmlns:a16="http://schemas.microsoft.com/office/drawing/2014/main" id="{9D9763CD-23B2-4C9A-AD0B-03CC4946D3F1}"/>
              </a:ext>
            </a:extLst>
          </p:cNvPr>
          <p:cNvSpPr>
            <a:spLocks noGrp="1"/>
          </p:cNvSpPr>
          <p:nvPr>
            <p:ph type="body" sz="quarter" idx="36" hasCustomPrompt="1"/>
          </p:nvPr>
        </p:nvSpPr>
        <p:spPr>
          <a:xfrm>
            <a:off x="16140674" y="7391400"/>
            <a:ext cx="6468500" cy="923330"/>
          </a:xfrm>
        </p:spPr>
        <p:txBody>
          <a:bodyPr wrap="square" anchor="t">
            <a:noAutofit/>
          </a:bodyPr>
          <a:lstStyle>
            <a:lvl1pPr>
              <a:lnSpc>
                <a:spcPct val="80000"/>
              </a:lnSpc>
              <a:defRPr sz="4800" b="0" i="0">
                <a:latin typeface="Times New Roman" panose="02020603050405020304" pitchFamily="18" charset="0"/>
              </a:defRPr>
            </a:lvl1pPr>
          </a:lstStyle>
          <a:p>
            <a:pPr lvl="0"/>
            <a:r>
              <a:rPr lang="en-US"/>
              <a:t>Sub-title</a:t>
            </a:r>
            <a:endParaRPr lang="de-DE"/>
          </a:p>
        </p:txBody>
      </p:sp>
      <p:sp>
        <p:nvSpPr>
          <p:cNvPr id="20" name="Image">
            <a:extLst>
              <a:ext uri="{FF2B5EF4-FFF2-40B4-BE49-F238E27FC236}">
                <a16:creationId xmlns:a16="http://schemas.microsoft.com/office/drawing/2014/main" id="{BC8ADA7B-FA54-412B-AF8F-C567B7F3A9AE}"/>
              </a:ext>
            </a:extLst>
          </p:cNvPr>
          <p:cNvSpPr>
            <a:spLocks noGrp="1"/>
          </p:cNvSpPr>
          <p:nvPr>
            <p:ph type="pic" idx="37"/>
          </p:nvPr>
        </p:nvSpPr>
        <p:spPr>
          <a:xfrm>
            <a:off x="8952173" y="2927072"/>
            <a:ext cx="6468500" cy="3532107"/>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1" name="Image">
            <a:extLst>
              <a:ext uri="{FF2B5EF4-FFF2-40B4-BE49-F238E27FC236}">
                <a16:creationId xmlns:a16="http://schemas.microsoft.com/office/drawing/2014/main" id="{00773F95-8B6C-457B-B970-AD0AB161B63A}"/>
              </a:ext>
            </a:extLst>
          </p:cNvPr>
          <p:cNvSpPr>
            <a:spLocks noGrp="1"/>
          </p:cNvSpPr>
          <p:nvPr>
            <p:ph type="pic" idx="38"/>
          </p:nvPr>
        </p:nvSpPr>
        <p:spPr>
          <a:xfrm>
            <a:off x="16140674" y="2927072"/>
            <a:ext cx="6468500" cy="3532107"/>
          </a:xfrm>
          <a:prstGeom prst="rect">
            <a:avLst/>
          </a:prstGeom>
          <a:solidFill>
            <a:schemeClr val="accent6"/>
          </a:solidFill>
        </p:spPr>
        <p:txBody>
          <a:bodyPr lIns="91439" tIns="45719" rIns="91439" bIns="45719">
            <a:noAutofit/>
          </a:bodyPr>
          <a:lstStyle>
            <a:lvl1pPr algn="ctr">
              <a:defRPr b="0" i="0"/>
            </a:lvl1pPr>
          </a:lstStyle>
          <a:p>
            <a:endParaRPr/>
          </a:p>
        </p:txBody>
      </p:sp>
    </p:spTree>
    <p:extLst>
      <p:ext uri="{BB962C8B-B14F-4D97-AF65-F5344CB8AC3E}">
        <p14:creationId xmlns:p14="http://schemas.microsoft.com/office/powerpoint/2010/main" val="4238723454"/>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3 col + image (B)">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2" y="8598432"/>
            <a:ext cx="6468500" cy="2190496"/>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391400"/>
            <a:ext cx="6468500" cy="923330"/>
          </a:xfrm>
        </p:spPr>
        <p:txBody>
          <a:bodyPr wrap="square" anchor="t">
            <a:noAutofit/>
          </a:bodyPr>
          <a:lstStyle>
            <a:lvl1pPr>
              <a:lnSpc>
                <a:spcPct val="80000"/>
              </a:lnSpc>
              <a:defRPr sz="4800" b="0" i="0">
                <a:solidFill>
                  <a:schemeClr val="bg1"/>
                </a:solidFill>
                <a:latin typeface="Times New Roman" panose="02020603050405020304" pitchFamily="18" charset="0"/>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3" name="Text Placeholder 8">
            <a:extLst>
              <a:ext uri="{FF2B5EF4-FFF2-40B4-BE49-F238E27FC236}">
                <a16:creationId xmlns:a16="http://schemas.microsoft.com/office/drawing/2014/main" id="{DB3FFDC5-90B2-4B07-A404-CC1772F0EACD}"/>
              </a:ext>
            </a:extLst>
          </p:cNvPr>
          <p:cNvSpPr>
            <a:spLocks noGrp="1"/>
          </p:cNvSpPr>
          <p:nvPr>
            <p:ph type="body" sz="quarter" idx="33" hasCustomPrompt="1"/>
          </p:nvPr>
        </p:nvSpPr>
        <p:spPr>
          <a:xfrm>
            <a:off x="8960132" y="8598432"/>
            <a:ext cx="6468500" cy="2190496"/>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5" name="Text Placeholder 8">
            <a:extLst>
              <a:ext uri="{FF2B5EF4-FFF2-40B4-BE49-F238E27FC236}">
                <a16:creationId xmlns:a16="http://schemas.microsoft.com/office/drawing/2014/main" id="{A540274D-6B4F-4D8C-B0BD-18CE02B3A933}"/>
              </a:ext>
            </a:extLst>
          </p:cNvPr>
          <p:cNvSpPr>
            <a:spLocks noGrp="1"/>
          </p:cNvSpPr>
          <p:nvPr>
            <p:ph type="body" sz="quarter" idx="34" hasCustomPrompt="1"/>
          </p:nvPr>
        </p:nvSpPr>
        <p:spPr>
          <a:xfrm>
            <a:off x="16148633" y="8598432"/>
            <a:ext cx="6468500" cy="2190496"/>
          </a:xfrm>
        </p:spPr>
        <p:txBody>
          <a:bodyPr wrap="square">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6" name="Text Placeholder 8">
            <a:extLst>
              <a:ext uri="{FF2B5EF4-FFF2-40B4-BE49-F238E27FC236}">
                <a16:creationId xmlns:a16="http://schemas.microsoft.com/office/drawing/2014/main" id="{8C2F5790-A8A2-4232-B19A-49202480D5FA}"/>
              </a:ext>
            </a:extLst>
          </p:cNvPr>
          <p:cNvSpPr>
            <a:spLocks noGrp="1"/>
          </p:cNvSpPr>
          <p:nvPr>
            <p:ph type="body" sz="quarter" idx="35" hasCustomPrompt="1"/>
          </p:nvPr>
        </p:nvSpPr>
        <p:spPr>
          <a:xfrm>
            <a:off x="8952173" y="7391400"/>
            <a:ext cx="6468500" cy="923330"/>
          </a:xfrm>
        </p:spPr>
        <p:txBody>
          <a:bodyPr wrap="square" anchor="t">
            <a:noAutofit/>
          </a:bodyPr>
          <a:lstStyle>
            <a:lvl1pPr>
              <a:lnSpc>
                <a:spcPct val="80000"/>
              </a:lnSpc>
              <a:defRPr sz="4800" b="0" i="0">
                <a:solidFill>
                  <a:schemeClr val="bg1"/>
                </a:solidFill>
                <a:latin typeface="Times New Roman" panose="02020603050405020304" pitchFamily="18" charset="0"/>
              </a:defRPr>
            </a:lvl1pPr>
          </a:lstStyle>
          <a:p>
            <a:pPr lvl="0"/>
            <a:r>
              <a:rPr lang="en-US"/>
              <a:t>Sub-title</a:t>
            </a:r>
            <a:endParaRPr lang="de-DE"/>
          </a:p>
        </p:txBody>
      </p:sp>
      <p:sp>
        <p:nvSpPr>
          <p:cNvPr id="19" name="Text Placeholder 8">
            <a:extLst>
              <a:ext uri="{FF2B5EF4-FFF2-40B4-BE49-F238E27FC236}">
                <a16:creationId xmlns:a16="http://schemas.microsoft.com/office/drawing/2014/main" id="{9D9763CD-23B2-4C9A-AD0B-03CC4946D3F1}"/>
              </a:ext>
            </a:extLst>
          </p:cNvPr>
          <p:cNvSpPr>
            <a:spLocks noGrp="1"/>
          </p:cNvSpPr>
          <p:nvPr>
            <p:ph type="body" sz="quarter" idx="36" hasCustomPrompt="1"/>
          </p:nvPr>
        </p:nvSpPr>
        <p:spPr>
          <a:xfrm>
            <a:off x="16140674" y="7391400"/>
            <a:ext cx="6468500" cy="923330"/>
          </a:xfrm>
        </p:spPr>
        <p:txBody>
          <a:bodyPr wrap="square" anchor="t">
            <a:noAutofit/>
          </a:bodyPr>
          <a:lstStyle>
            <a:lvl1pPr>
              <a:lnSpc>
                <a:spcPct val="80000"/>
              </a:lnSpc>
              <a:defRPr sz="4800" b="0" i="0">
                <a:solidFill>
                  <a:schemeClr val="bg1"/>
                </a:solidFill>
                <a:latin typeface="Times New Roman" panose="02020603050405020304" pitchFamily="18" charset="0"/>
              </a:defRPr>
            </a:lvl1pPr>
          </a:lstStyle>
          <a:p>
            <a:pPr lvl="0"/>
            <a:r>
              <a:rPr lang="en-US"/>
              <a:t>Sub-title</a:t>
            </a:r>
            <a:endParaRPr lang="de-DE"/>
          </a:p>
        </p:txBody>
      </p:sp>
      <p:sp>
        <p:nvSpPr>
          <p:cNvPr id="20" name="Image">
            <a:extLst>
              <a:ext uri="{FF2B5EF4-FFF2-40B4-BE49-F238E27FC236}">
                <a16:creationId xmlns:a16="http://schemas.microsoft.com/office/drawing/2014/main" id="{BC8ADA7B-FA54-412B-AF8F-C567B7F3A9AE}"/>
              </a:ext>
            </a:extLst>
          </p:cNvPr>
          <p:cNvSpPr>
            <a:spLocks noGrp="1"/>
          </p:cNvSpPr>
          <p:nvPr>
            <p:ph type="pic" idx="37"/>
          </p:nvPr>
        </p:nvSpPr>
        <p:spPr>
          <a:xfrm>
            <a:off x="8952173"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1" name="Image">
            <a:extLst>
              <a:ext uri="{FF2B5EF4-FFF2-40B4-BE49-F238E27FC236}">
                <a16:creationId xmlns:a16="http://schemas.microsoft.com/office/drawing/2014/main" id="{00773F95-8B6C-457B-B970-AD0AB161B63A}"/>
              </a:ext>
            </a:extLst>
          </p:cNvPr>
          <p:cNvSpPr>
            <a:spLocks noGrp="1"/>
          </p:cNvSpPr>
          <p:nvPr>
            <p:ph type="pic" idx="38"/>
          </p:nvPr>
        </p:nvSpPr>
        <p:spPr>
          <a:xfrm>
            <a:off x="16140674"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grpSp>
        <p:nvGrpSpPr>
          <p:cNvPr id="18" name="Group">
            <a:extLst>
              <a:ext uri="{FF2B5EF4-FFF2-40B4-BE49-F238E27FC236}">
                <a16:creationId xmlns:a16="http://schemas.microsoft.com/office/drawing/2014/main" id="{11633851-19CF-4E60-A8D7-6AD5C68472FE}"/>
              </a:ext>
            </a:extLst>
          </p:cNvPr>
          <p:cNvGrpSpPr/>
          <p:nvPr userDrawn="1"/>
        </p:nvGrpSpPr>
        <p:grpSpPr>
          <a:xfrm>
            <a:off x="885450" y="12829819"/>
            <a:ext cx="885653" cy="885653"/>
            <a:chOff x="0" y="0"/>
            <a:chExt cx="885651" cy="885651"/>
          </a:xfrm>
        </p:grpSpPr>
        <p:sp>
          <p:nvSpPr>
            <p:cNvPr id="22" name="Square">
              <a:extLst>
                <a:ext uri="{FF2B5EF4-FFF2-40B4-BE49-F238E27FC236}">
                  <a16:creationId xmlns:a16="http://schemas.microsoft.com/office/drawing/2014/main" id="{C17EE433-0D49-4A29-AE7D-B0EDB012FB37}"/>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23" name="Image">
              <a:extLst>
                <a:ext uri="{FF2B5EF4-FFF2-40B4-BE49-F238E27FC236}">
                  <a16:creationId xmlns:a16="http://schemas.microsoft.com/office/drawing/2014/main" id="{D26E45BE-C070-4AA4-8907-C4B2017168F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810703395"/>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4 col + image (W)">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8598432"/>
            <a:ext cx="4806375" cy="2190496"/>
          </a:xfrm>
        </p:spPr>
        <p:txBody>
          <a:bodyPr wrap="square">
            <a:noAutofit/>
          </a:bodyPr>
          <a:lstStyle>
            <a:lvl1pPr>
              <a:lnSpc>
                <a:spcPct val="130000"/>
              </a:lnSpc>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923330"/>
          </a:xfrm>
        </p:spPr>
        <p:txBody>
          <a:bodyPr wrap="square" anchor="t">
            <a:noAutofit/>
          </a:bodyPr>
          <a:lstStyle>
            <a:lvl1pPr>
              <a:lnSpc>
                <a:spcPct val="80000"/>
              </a:lnSpc>
              <a:defRPr sz="4200" b="0" i="0">
                <a:latin typeface="Times New Roman" panose="02020603050405020304" pitchFamily="18" charset="0"/>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3493144"/>
            <a:ext cx="4806375" cy="2565785"/>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3493144"/>
            <a:ext cx="4806375" cy="2565785"/>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3493144"/>
            <a:ext cx="4806375" cy="2565785"/>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3493144"/>
            <a:ext cx="4806375" cy="2565785"/>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7110049" y="8598432"/>
            <a:ext cx="4806375" cy="2190496"/>
          </a:xfrm>
        </p:spPr>
        <p:txBody>
          <a:bodyPr wrap="square">
            <a:noAutofit/>
          </a:bodyPr>
          <a:lstStyle>
            <a:lvl1pPr>
              <a:lnSpc>
                <a:spcPct val="130000"/>
              </a:lnSpc>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923330"/>
          </a:xfrm>
        </p:spPr>
        <p:txBody>
          <a:bodyPr wrap="square" anchor="t">
            <a:noAutofit/>
          </a:bodyPr>
          <a:lstStyle>
            <a:lvl1pPr>
              <a:lnSpc>
                <a:spcPct val="80000"/>
              </a:lnSpc>
              <a:defRPr sz="4200" b="0" i="0">
                <a:latin typeface="Times New Roman" panose="02020603050405020304" pitchFamily="18" charset="0"/>
              </a:defRPr>
            </a:lvl1pPr>
          </a:lstStyle>
          <a:p>
            <a:pPr lvl="0"/>
            <a:r>
              <a:rPr lang="en-US"/>
              <a:t>Sub-title</a:t>
            </a:r>
            <a:endParaRPr lang="de-DE"/>
          </a:p>
        </p:txBody>
      </p:sp>
      <p:sp>
        <p:nvSpPr>
          <p:cNvPr id="29" name="Text Placeholder 8">
            <a:extLst>
              <a:ext uri="{FF2B5EF4-FFF2-40B4-BE49-F238E27FC236}">
                <a16:creationId xmlns:a16="http://schemas.microsoft.com/office/drawing/2014/main" id="{145A32ED-D124-4FBA-90F8-6B8FC27E129C}"/>
              </a:ext>
            </a:extLst>
          </p:cNvPr>
          <p:cNvSpPr>
            <a:spLocks noGrp="1"/>
          </p:cNvSpPr>
          <p:nvPr>
            <p:ph type="body" sz="quarter" idx="37" hasCustomPrompt="1"/>
          </p:nvPr>
        </p:nvSpPr>
        <p:spPr>
          <a:xfrm>
            <a:off x="12456424" y="8598432"/>
            <a:ext cx="4806375" cy="2190496"/>
          </a:xfrm>
        </p:spPr>
        <p:txBody>
          <a:bodyPr wrap="square">
            <a:noAutofit/>
          </a:bodyPr>
          <a:lstStyle>
            <a:lvl1pPr>
              <a:lnSpc>
                <a:spcPct val="130000"/>
              </a:lnSpc>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923330"/>
          </a:xfrm>
        </p:spPr>
        <p:txBody>
          <a:bodyPr wrap="square" anchor="t">
            <a:noAutofit/>
          </a:bodyPr>
          <a:lstStyle>
            <a:lvl1pPr>
              <a:lnSpc>
                <a:spcPct val="80000"/>
              </a:lnSpc>
              <a:defRPr sz="4200" b="0" i="0">
                <a:latin typeface="Times New Roman" panose="02020603050405020304" pitchFamily="18" charset="0"/>
              </a:defRPr>
            </a:lvl1pPr>
          </a:lstStyle>
          <a:p>
            <a:pPr lvl="0"/>
            <a:r>
              <a:rPr lang="en-US"/>
              <a:t>Sub-title</a:t>
            </a:r>
            <a:endParaRPr lang="de-DE"/>
          </a:p>
        </p:txBody>
      </p:sp>
      <p:sp>
        <p:nvSpPr>
          <p:cNvPr id="31" name="Text Placeholder 8">
            <a:extLst>
              <a:ext uri="{FF2B5EF4-FFF2-40B4-BE49-F238E27FC236}">
                <a16:creationId xmlns:a16="http://schemas.microsoft.com/office/drawing/2014/main" id="{4FE67BDA-9311-4EDA-967F-9C51A1D0E262}"/>
              </a:ext>
            </a:extLst>
          </p:cNvPr>
          <p:cNvSpPr>
            <a:spLocks noGrp="1"/>
          </p:cNvSpPr>
          <p:nvPr>
            <p:ph type="body" sz="quarter" idx="39" hasCustomPrompt="1"/>
          </p:nvPr>
        </p:nvSpPr>
        <p:spPr>
          <a:xfrm>
            <a:off x="17802802" y="8598432"/>
            <a:ext cx="4806375" cy="2190496"/>
          </a:xfrm>
        </p:spPr>
        <p:txBody>
          <a:bodyPr wrap="square">
            <a:noAutofit/>
          </a:bodyPr>
          <a:lstStyle>
            <a:lvl1pPr>
              <a:lnSpc>
                <a:spcPct val="130000"/>
              </a:lnSpc>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923330"/>
          </a:xfrm>
        </p:spPr>
        <p:txBody>
          <a:bodyPr wrap="square" anchor="t">
            <a:noAutofit/>
          </a:bodyPr>
          <a:lstStyle>
            <a:lvl1pPr>
              <a:lnSpc>
                <a:spcPct val="80000"/>
              </a:lnSpc>
              <a:defRPr sz="4200" b="0" i="0">
                <a:latin typeface="Times New Roman" panose="02020603050405020304" pitchFamily="18" charset="0"/>
              </a:defRPr>
            </a:lvl1pPr>
          </a:lstStyle>
          <a:p>
            <a:pPr lvl="0"/>
            <a:r>
              <a:rPr lang="en-US"/>
              <a:t>Sub-title</a:t>
            </a:r>
            <a:endParaRPr lang="de-DE"/>
          </a:p>
        </p:txBody>
      </p:sp>
    </p:spTree>
    <p:extLst>
      <p:ext uri="{BB962C8B-B14F-4D97-AF65-F5344CB8AC3E}">
        <p14:creationId xmlns:p14="http://schemas.microsoft.com/office/powerpoint/2010/main" val="458655618"/>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4 col + image (B)">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8598432"/>
            <a:ext cx="4806375" cy="2190496"/>
          </a:xfrm>
        </p:spPr>
        <p:txBody>
          <a:bodyPr wrap="square">
            <a:noAutofit/>
          </a:bodyPr>
          <a:lstStyle>
            <a:lvl1pP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923330"/>
          </a:xfrm>
        </p:spPr>
        <p:txBody>
          <a:bodyPr wrap="square" anchor="t">
            <a:noAutofit/>
          </a:bodyPr>
          <a:lstStyle>
            <a:lvl1pPr>
              <a:lnSpc>
                <a:spcPct val="80000"/>
              </a:lnSpc>
              <a:defRPr sz="4200" b="0" i="0">
                <a:solidFill>
                  <a:schemeClr val="bg1"/>
                </a:solidFill>
                <a:latin typeface="Times New Roman" panose="02020603050405020304" pitchFamily="18" charset="0"/>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7110049" y="8598432"/>
            <a:ext cx="4806375" cy="2190496"/>
          </a:xfrm>
        </p:spPr>
        <p:txBody>
          <a:bodyPr wrap="square">
            <a:noAutofit/>
          </a:bodyPr>
          <a:lstStyle>
            <a:lvl1pP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923330"/>
          </a:xfrm>
        </p:spPr>
        <p:txBody>
          <a:bodyPr wrap="square" anchor="t">
            <a:noAutofit/>
          </a:bodyPr>
          <a:lstStyle>
            <a:lvl1pPr>
              <a:lnSpc>
                <a:spcPct val="80000"/>
              </a:lnSpc>
              <a:defRPr sz="4200" b="0" i="0">
                <a:solidFill>
                  <a:schemeClr val="bg1"/>
                </a:solidFill>
                <a:latin typeface="Times New Roman" panose="02020603050405020304" pitchFamily="18" charset="0"/>
              </a:defRPr>
            </a:lvl1pPr>
          </a:lstStyle>
          <a:p>
            <a:pPr lvl="0"/>
            <a:r>
              <a:rPr lang="en-US"/>
              <a:t>Sub-title</a:t>
            </a:r>
            <a:endParaRPr lang="de-DE"/>
          </a:p>
        </p:txBody>
      </p:sp>
      <p:sp>
        <p:nvSpPr>
          <p:cNvPr id="29" name="Text Placeholder 8">
            <a:extLst>
              <a:ext uri="{FF2B5EF4-FFF2-40B4-BE49-F238E27FC236}">
                <a16:creationId xmlns:a16="http://schemas.microsoft.com/office/drawing/2014/main" id="{145A32ED-D124-4FBA-90F8-6B8FC27E129C}"/>
              </a:ext>
            </a:extLst>
          </p:cNvPr>
          <p:cNvSpPr>
            <a:spLocks noGrp="1"/>
          </p:cNvSpPr>
          <p:nvPr>
            <p:ph type="body" sz="quarter" idx="37" hasCustomPrompt="1"/>
          </p:nvPr>
        </p:nvSpPr>
        <p:spPr>
          <a:xfrm>
            <a:off x="12456424" y="8598432"/>
            <a:ext cx="4806375" cy="2190496"/>
          </a:xfrm>
        </p:spPr>
        <p:txBody>
          <a:bodyPr wrap="square">
            <a:noAutofit/>
          </a:bodyPr>
          <a:lstStyle>
            <a:lvl1pP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923330"/>
          </a:xfrm>
        </p:spPr>
        <p:txBody>
          <a:bodyPr wrap="square" anchor="t">
            <a:noAutofit/>
          </a:bodyPr>
          <a:lstStyle>
            <a:lvl1pPr>
              <a:lnSpc>
                <a:spcPct val="80000"/>
              </a:lnSpc>
              <a:defRPr sz="4200" b="0" i="0">
                <a:solidFill>
                  <a:schemeClr val="bg1"/>
                </a:solidFill>
                <a:latin typeface="Times New Roman" panose="02020603050405020304" pitchFamily="18" charset="0"/>
              </a:defRPr>
            </a:lvl1pPr>
          </a:lstStyle>
          <a:p>
            <a:pPr lvl="0"/>
            <a:r>
              <a:rPr lang="en-US"/>
              <a:t>Sub-title</a:t>
            </a:r>
            <a:endParaRPr lang="de-DE"/>
          </a:p>
        </p:txBody>
      </p:sp>
      <p:sp>
        <p:nvSpPr>
          <p:cNvPr id="31" name="Text Placeholder 8">
            <a:extLst>
              <a:ext uri="{FF2B5EF4-FFF2-40B4-BE49-F238E27FC236}">
                <a16:creationId xmlns:a16="http://schemas.microsoft.com/office/drawing/2014/main" id="{4FE67BDA-9311-4EDA-967F-9C51A1D0E262}"/>
              </a:ext>
            </a:extLst>
          </p:cNvPr>
          <p:cNvSpPr>
            <a:spLocks noGrp="1"/>
          </p:cNvSpPr>
          <p:nvPr>
            <p:ph type="body" sz="quarter" idx="39" hasCustomPrompt="1"/>
          </p:nvPr>
        </p:nvSpPr>
        <p:spPr>
          <a:xfrm>
            <a:off x="17802802" y="8598432"/>
            <a:ext cx="4806375" cy="2190496"/>
          </a:xfrm>
        </p:spPr>
        <p:txBody>
          <a:bodyPr wrap="square">
            <a:noAutofit/>
          </a:bodyPr>
          <a:lstStyle>
            <a:lvl1pP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923330"/>
          </a:xfrm>
        </p:spPr>
        <p:txBody>
          <a:bodyPr wrap="square" anchor="t">
            <a:noAutofit/>
          </a:bodyPr>
          <a:lstStyle>
            <a:lvl1pPr>
              <a:lnSpc>
                <a:spcPct val="80000"/>
              </a:lnSpc>
              <a:defRPr sz="4200" b="0" i="0">
                <a:solidFill>
                  <a:schemeClr val="bg1"/>
                </a:solidFill>
                <a:latin typeface="Times New Roman" panose="02020603050405020304" pitchFamily="18" charset="0"/>
              </a:defRPr>
            </a:lvl1pPr>
          </a:lstStyle>
          <a:p>
            <a:pPr lvl="0"/>
            <a:r>
              <a:rPr lang="en-US"/>
              <a:t>Sub-title</a:t>
            </a:r>
            <a:endParaRPr lang="de-DE"/>
          </a:p>
        </p:txBody>
      </p:sp>
      <p:grpSp>
        <p:nvGrpSpPr>
          <p:cNvPr id="19" name="Group">
            <a:extLst>
              <a:ext uri="{FF2B5EF4-FFF2-40B4-BE49-F238E27FC236}">
                <a16:creationId xmlns:a16="http://schemas.microsoft.com/office/drawing/2014/main" id="{AA8D0465-FF7C-40C0-A720-FCE9396D1975}"/>
              </a:ext>
            </a:extLst>
          </p:cNvPr>
          <p:cNvGrpSpPr/>
          <p:nvPr userDrawn="1"/>
        </p:nvGrpSpPr>
        <p:grpSpPr>
          <a:xfrm>
            <a:off x="885450" y="12829819"/>
            <a:ext cx="885653" cy="885653"/>
            <a:chOff x="0" y="0"/>
            <a:chExt cx="885651" cy="885651"/>
          </a:xfrm>
        </p:grpSpPr>
        <p:sp>
          <p:nvSpPr>
            <p:cNvPr id="20" name="Square">
              <a:extLst>
                <a:ext uri="{FF2B5EF4-FFF2-40B4-BE49-F238E27FC236}">
                  <a16:creationId xmlns:a16="http://schemas.microsoft.com/office/drawing/2014/main" id="{6048F6EE-F2F7-4490-8075-0F6D37A6DDFC}"/>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21" name="Image">
              <a:extLst>
                <a:ext uri="{FF2B5EF4-FFF2-40B4-BE49-F238E27FC236}">
                  <a16:creationId xmlns:a16="http://schemas.microsoft.com/office/drawing/2014/main" id="{20757D63-AD91-43E8-8457-C3F02DE8FE7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046648152"/>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andscape image 1 + text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lvl1pPr>
          </a:lstStyle>
          <a:p>
            <a:r>
              <a:rPr lang="en-US"/>
              <a:t>Introduction statement</a:t>
            </a:r>
            <a:br>
              <a:rPr lang="en-US"/>
            </a:br>
            <a:r>
              <a:rPr lang="en-US"/>
              <a:t>lorem ipsum dolor sit </a:t>
            </a:r>
            <a:r>
              <a:rPr lang="en-US" err="1"/>
              <a:t>ame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274833"/>
            <a:ext cx="10510624" cy="1459967"/>
          </a:xfrm>
        </p:spPr>
        <p:txBody>
          <a:bodyPr wrap="square">
            <a:noAutofit/>
          </a:bodyPr>
          <a:lstStyle>
            <a:lvl1pPr>
              <a:lnSpc>
                <a:spcPct val="130000"/>
              </a:lnSpc>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24384002" cy="8544521"/>
          </a:xfrm>
          <a:prstGeom prst="rect">
            <a:avLst/>
          </a:prstGeom>
          <a:solidFill>
            <a:schemeClr val="accent6"/>
          </a:solidFill>
        </p:spPr>
        <p:txBody>
          <a:bodyPr lIns="91439" tIns="45719" rIns="91439" bIns="45719">
            <a:noAutofit/>
          </a:bodyPr>
          <a:lstStyle>
            <a:lvl1pPr algn="ctr">
              <a:defRPr b="0" i="0"/>
            </a:lvl1pPr>
          </a:lstStyle>
          <a:p>
            <a:endParaRPr/>
          </a:p>
        </p:txBody>
      </p:sp>
    </p:spTree>
    <p:extLst>
      <p:ext uri="{BB962C8B-B14F-4D97-AF65-F5344CB8AC3E}">
        <p14:creationId xmlns:p14="http://schemas.microsoft.com/office/powerpoint/2010/main" val="2749051871"/>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andscape image 1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solidFill>
                  <a:schemeClr val="bg1"/>
                </a:solidFill>
              </a:defRPr>
            </a:lvl1pPr>
          </a:lstStyle>
          <a:p>
            <a:r>
              <a:rPr lang="en-US"/>
              <a:t>Introduction statement</a:t>
            </a:r>
            <a:br>
              <a:rPr lang="en-US"/>
            </a:br>
            <a:r>
              <a:rPr lang="en-US"/>
              <a:t>lorem ipsum dolor sit </a:t>
            </a:r>
            <a:r>
              <a:rPr lang="en-US" err="1"/>
              <a:t>ame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274833"/>
            <a:ext cx="10510624" cy="1459967"/>
          </a:xfrm>
        </p:spPr>
        <p:txBody>
          <a:bodyPr wrap="square">
            <a:noAutofit/>
          </a:bodyPr>
          <a:lstStyle>
            <a:lvl1pP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24384002" cy="8544521"/>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grpSp>
        <p:nvGrpSpPr>
          <p:cNvPr id="10" name="Group">
            <a:extLst>
              <a:ext uri="{FF2B5EF4-FFF2-40B4-BE49-F238E27FC236}">
                <a16:creationId xmlns:a16="http://schemas.microsoft.com/office/drawing/2014/main" id="{CC6126CE-30F1-436F-938D-CC12D3ABFAE2}"/>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E15130E-9000-422D-854C-FEBCB8B0566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7F13688E-0F2F-4A9F-AF5A-7BD71CFC56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511530639"/>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andscape image 3 + text (W)">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BEF1837C-7BE7-4DE5-A9F2-EABBABAFD4A5}"/>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b="0" i="0"/>
            </a:lvl1pPr>
          </a:lstStyle>
          <a:p>
            <a:endParaRPr/>
          </a:p>
        </p:txBody>
      </p:sp>
      <p:sp>
        <p:nvSpPr>
          <p:cNvPr id="12" name="Text Placeholder 3">
            <a:extLst>
              <a:ext uri="{FF2B5EF4-FFF2-40B4-BE49-F238E27FC236}">
                <a16:creationId xmlns:a16="http://schemas.microsoft.com/office/drawing/2014/main" id="{7F2F9B28-61DD-4B63-815D-6E5100D794FC}"/>
              </a:ext>
            </a:extLst>
          </p:cNvPr>
          <p:cNvSpPr>
            <a:spLocks noGrp="1"/>
          </p:cNvSpPr>
          <p:nvPr>
            <p:ph type="body" sz="quarter" idx="28" hasCustomPrompt="1"/>
          </p:nvPr>
        </p:nvSpPr>
        <p:spPr>
          <a:xfrm>
            <a:off x="1771632" y="9074646"/>
            <a:ext cx="20837541" cy="4641354"/>
          </a:xfrm>
          <a:solidFill>
            <a:schemeClr val="bg1"/>
          </a:solidFill>
        </p:spPr>
        <p:txBody>
          <a:bodyPr/>
          <a:lstStyle>
            <a:lvl1pPr>
              <a:defRPr b="0" i="0"/>
            </a:lvl1pPr>
          </a:lstStyle>
          <a:p>
            <a:pPr lvl="0"/>
            <a:r>
              <a:rPr lang="en-US"/>
              <a:t> </a:t>
            </a:r>
            <a:endParaRPr lang="de-DE"/>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3154929" y="9910251"/>
            <a:ext cx="6989720" cy="2489201"/>
          </a:xfrm>
        </p:spPr>
        <p:txBody>
          <a:bodyPr anchor="t">
            <a:noAutofit/>
          </a:bodyPr>
          <a:lstStyle>
            <a:lvl1pPr>
              <a:defRPr sz="5800"/>
            </a:lvl1pPr>
          </a:lstStyle>
          <a:p>
            <a:r>
              <a:rPr lang="en-US"/>
              <a:t>Introduction statement</a:t>
            </a:r>
            <a:br>
              <a:rPr lang="en-US"/>
            </a:br>
            <a:r>
              <a:rPr lang="en-US"/>
              <a:t>lorem ipsum dolor sit </a:t>
            </a:r>
            <a:r>
              <a:rPr lang="en-US" err="1"/>
              <a:t>amet</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2" y="10107228"/>
            <a:ext cx="9452135" cy="1790447"/>
          </a:xfrm>
        </p:spPr>
        <p:txBody>
          <a:bodyPr wrap="square">
            <a:noAutofit/>
          </a:bodyPr>
          <a:lstStyle>
            <a:lvl1pPr>
              <a:lnSpc>
                <a:spcPct val="130000"/>
              </a:lnSpc>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Tree>
    <p:extLst>
      <p:ext uri="{BB962C8B-B14F-4D97-AF65-F5344CB8AC3E}">
        <p14:creationId xmlns:p14="http://schemas.microsoft.com/office/powerpoint/2010/main" val="743073651"/>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andscape image 3 + text (B)">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8466F27-8820-4EB4-9757-6FD78A5FE092}"/>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b="0" i="0">
                <a:solidFill>
                  <a:schemeClr val="bg1"/>
                </a:solidFill>
              </a:defRPr>
            </a:lvl1pPr>
          </a:lstStyle>
          <a:p>
            <a:endParaRPr/>
          </a:p>
        </p:txBody>
      </p:sp>
      <p:sp>
        <p:nvSpPr>
          <p:cNvPr id="12" name="Text Placeholder 3">
            <a:extLst>
              <a:ext uri="{FF2B5EF4-FFF2-40B4-BE49-F238E27FC236}">
                <a16:creationId xmlns:a16="http://schemas.microsoft.com/office/drawing/2014/main" id="{7F2F9B28-61DD-4B63-815D-6E5100D794FC}"/>
              </a:ext>
            </a:extLst>
          </p:cNvPr>
          <p:cNvSpPr>
            <a:spLocks noGrp="1"/>
          </p:cNvSpPr>
          <p:nvPr>
            <p:ph type="body" sz="quarter" idx="28" hasCustomPrompt="1"/>
          </p:nvPr>
        </p:nvSpPr>
        <p:spPr>
          <a:xfrm>
            <a:off x="1771632" y="9074646"/>
            <a:ext cx="20837541" cy="4641354"/>
          </a:xfrm>
          <a:solidFill>
            <a:schemeClr val="tx1"/>
          </a:solidFill>
        </p:spPr>
        <p:txBody>
          <a:bodyPr/>
          <a:lstStyle>
            <a:lvl1pPr>
              <a:defRPr b="0" i="0"/>
            </a:lvl1pPr>
          </a:lstStyle>
          <a:p>
            <a:pPr lvl="0"/>
            <a:r>
              <a:rPr lang="en-US"/>
              <a:t> </a:t>
            </a:r>
            <a:endParaRPr lang="de-DE"/>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3154929" y="9910251"/>
            <a:ext cx="6989720" cy="2489201"/>
          </a:xfrm>
        </p:spPr>
        <p:txBody>
          <a:bodyPr anchor="t">
            <a:noAutofit/>
          </a:bodyPr>
          <a:lstStyle>
            <a:lvl1pPr>
              <a:defRPr sz="5800">
                <a:solidFill>
                  <a:schemeClr val="bg1"/>
                </a:solidFill>
              </a:defRPr>
            </a:lvl1pPr>
          </a:lstStyle>
          <a:p>
            <a:r>
              <a:rPr lang="en-US"/>
              <a:t>Introduction statement</a:t>
            </a:r>
            <a:br>
              <a:rPr lang="en-US"/>
            </a:br>
            <a:r>
              <a:rPr lang="en-US"/>
              <a:t>lorem ipsum dolor sit </a:t>
            </a:r>
            <a:r>
              <a:rPr lang="en-US" err="1"/>
              <a:t>amet</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2" y="10107228"/>
            <a:ext cx="9452135" cy="1790447"/>
          </a:xfrm>
        </p:spPr>
        <p:txBody>
          <a:bodyPr wrap="square">
            <a:noAutofit/>
          </a:bodyPr>
          <a:lstStyle>
            <a:lvl1pP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Tree>
    <p:extLst>
      <p:ext uri="{BB962C8B-B14F-4D97-AF65-F5344CB8AC3E}">
        <p14:creationId xmlns:p14="http://schemas.microsoft.com/office/powerpoint/2010/main" val="1928184173"/>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arge text + image (W)">
    <p:bg>
      <p:bgPr>
        <a:solidFill>
          <a:schemeClr val="bg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spAutoFit/>
          </a:bodyPr>
          <a:lstStyle>
            <a:lvl1pPr>
              <a:defRPr sz="7200">
                <a:solidFill>
                  <a:schemeClr val="tx1"/>
                </a:solidFill>
              </a:defRPr>
            </a:lvl1pPr>
          </a:lstStyle>
          <a:p>
            <a:r>
              <a:rPr lang="en-US"/>
              <a:t>Introduction statement that goes on three lines if needed</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tx1"/>
                </a:solidFill>
                <a:latin typeface="Arial" panose="020B0604020202020204" pitchFamily="34" charset="0"/>
              </a:defRPr>
            </a:lvl1pPr>
          </a:lstStyle>
          <a:p>
            <a:pPr lvl="0"/>
            <a:r>
              <a:rPr lang="en-US"/>
              <a:t>Section</a:t>
            </a:r>
            <a:endParaRPr lang="de-DE"/>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b="0" i="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Tree>
    <p:extLst>
      <p:ext uri="{BB962C8B-B14F-4D97-AF65-F5344CB8AC3E}">
        <p14:creationId xmlns:p14="http://schemas.microsoft.com/office/powerpoint/2010/main" val="920374429"/>
      </p:ext>
    </p:extLst>
  </p:cSld>
  <p:clrMapOvr>
    <a:masterClrMapping/>
  </p:clrMapOvr>
  <p:transition spd="med"/>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2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i="0">
                <a:solidFill>
                  <a:schemeClr val="tx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b="0" i="0" cap="all" baseline="0">
                <a:solidFill>
                  <a:schemeClr val="tx1"/>
                </a:solidFill>
                <a:latin typeface="Arial" panose="020B0604020202020204" pitchFamily="34" charset="0"/>
                <a:cs typeface="Arial" panose="020B0604020202020204" pitchFamily="34" charset="0"/>
              </a:defRPr>
            </a:lvl1pPr>
          </a:lstStyle>
          <a:p>
            <a:endParaRPr lang="de-DE"/>
          </a:p>
        </p:txBody>
      </p:sp>
      <p:sp>
        <p:nvSpPr>
          <p:cNvPr id="7" name="Image">
            <a:extLst>
              <a:ext uri="{FF2B5EF4-FFF2-40B4-BE49-F238E27FC236}">
                <a16:creationId xmlns:a16="http://schemas.microsoft.com/office/drawing/2014/main" id="{46CA2E6F-BB2D-45F3-BE1E-B86A866AF429}"/>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b="0" i="0">
                <a:solidFill>
                  <a:schemeClr val="bg1"/>
                </a:solidFill>
              </a:defRPr>
            </a:lvl1pPr>
          </a:lstStyle>
          <a:p>
            <a:r>
              <a:rPr lang="de-DE"/>
              <a:t> </a:t>
            </a:r>
            <a:endParaRPr/>
          </a:p>
        </p:txBody>
      </p:sp>
      <p:sp>
        <p:nvSpPr>
          <p:cNvPr id="8" name="Image">
            <a:extLst>
              <a:ext uri="{FF2B5EF4-FFF2-40B4-BE49-F238E27FC236}">
                <a16:creationId xmlns:a16="http://schemas.microsoft.com/office/drawing/2014/main" id="{58B2D7BB-0F33-4A52-97AC-3786B97C42BD}"/>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b="0" i="0"/>
            </a:lvl1pPr>
          </a:lstStyle>
          <a:p>
            <a:r>
              <a:rPr lang="de-DE"/>
              <a:t>Add Logo</a:t>
            </a:r>
            <a:endParaRPr/>
          </a:p>
        </p:txBody>
      </p:sp>
      <p:sp>
        <p:nvSpPr>
          <p:cNvPr id="10" name="Title 2">
            <a:extLst>
              <a:ext uri="{FF2B5EF4-FFF2-40B4-BE49-F238E27FC236}">
                <a16:creationId xmlns:a16="http://schemas.microsoft.com/office/drawing/2014/main" id="{EBAC711D-7AEF-4DB8-BEB4-999CD461546B}"/>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tx1"/>
                </a:solidFill>
              </a:defRPr>
            </a:lvl1pPr>
          </a:lstStyle>
          <a:p>
            <a:r>
              <a:rPr lang="de-DE"/>
              <a:t>Presentation title</a:t>
            </a:r>
          </a:p>
        </p:txBody>
      </p:sp>
      <p:sp>
        <p:nvSpPr>
          <p:cNvPr id="3" name="Footer Placeholder 8">
            <a:extLst>
              <a:ext uri="{FF2B5EF4-FFF2-40B4-BE49-F238E27FC236}">
                <a16:creationId xmlns:a16="http://schemas.microsoft.com/office/drawing/2014/main" id="{563F2A4D-8B86-85AC-BDDA-6653F1637BF5}"/>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b="0" i="0" spc="48">
                <a:solidFill>
                  <a:schemeClr val="bg1">
                    <a:lumMod val="65000"/>
                  </a:schemeClr>
                </a:solidFill>
                <a:latin typeface="Arial" panose="020B0604020202020204" pitchFamily="34" charset="0"/>
                <a:cs typeface="Arial" panose="020B0604020202020204" pitchFamily="34" charset="0"/>
              </a:defRPr>
            </a:lvl1pPr>
          </a:lstStyle>
          <a:p>
            <a:r>
              <a:rPr lang="en-US"/>
              <a:t>AI Genies | Claire the Car Repair Assessment Agent</a:t>
            </a:r>
            <a:endParaRPr lang="de-DE"/>
          </a:p>
        </p:txBody>
      </p:sp>
    </p:spTree>
    <p:extLst>
      <p:ext uri="{BB962C8B-B14F-4D97-AF65-F5344CB8AC3E}">
        <p14:creationId xmlns:p14="http://schemas.microsoft.com/office/powerpoint/2010/main" val="1633537759"/>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arge text + image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13716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noAutofit/>
          </a:bodyPr>
          <a:lstStyle>
            <a:lvl1pPr>
              <a:defRPr sz="7200">
                <a:solidFill>
                  <a:schemeClr val="bg1"/>
                </a:solidFill>
              </a:defRPr>
            </a:lvl1pPr>
          </a:lstStyle>
          <a:p>
            <a:r>
              <a:rPr lang="en-US"/>
              <a:t>Introduction statement that goes on three lines if needed</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noAutofit/>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noAutofit/>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noAutofit/>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grpSp>
        <p:nvGrpSpPr>
          <p:cNvPr id="10" name="Group">
            <a:extLst>
              <a:ext uri="{FF2B5EF4-FFF2-40B4-BE49-F238E27FC236}">
                <a16:creationId xmlns:a16="http://schemas.microsoft.com/office/drawing/2014/main" id="{04FDF5FD-4C7F-4C0B-ACA0-C3E86212A6DC}"/>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BFD03780-5B86-4D22-9ABE-C7FF52957B1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B7C1CD4F-7251-4D14-8213-2BA5A85A90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982581330"/>
      </p:ext>
    </p:extLst>
  </p:cSld>
  <p:clrMapOvr>
    <a:masterClrMapping/>
  </p:clrMapOvr>
  <p:transition spd="med"/>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 text + 2 images (W)">
    <p:bg>
      <p:bgPr>
        <a:solidFill>
          <a:schemeClr val="bg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676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2" name="Image">
            <a:extLst>
              <a:ext uri="{FF2B5EF4-FFF2-40B4-BE49-F238E27FC236}">
                <a16:creationId xmlns:a16="http://schemas.microsoft.com/office/drawing/2014/main" id="{F9A55B27-4C80-4CC9-A35E-8EF6475FE574}"/>
              </a:ext>
            </a:extLst>
          </p:cNvPr>
          <p:cNvSpPr>
            <a:spLocks noGrp="1"/>
          </p:cNvSpPr>
          <p:nvPr>
            <p:ph type="pic" idx="28"/>
          </p:nvPr>
        </p:nvSpPr>
        <p:spPr>
          <a:xfrm>
            <a:off x="12192000" y="6948000"/>
            <a:ext cx="12192000" cy="676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noAutofit/>
          </a:bodyPr>
          <a:lstStyle>
            <a:lvl1pPr>
              <a:defRPr sz="7200">
                <a:solidFill>
                  <a:schemeClr val="tx1"/>
                </a:solidFill>
              </a:defRPr>
            </a:lvl1pPr>
          </a:lstStyle>
          <a:p>
            <a:r>
              <a:rPr lang="en-US"/>
              <a:t>Introduction statement that goes on three lines if needed</a:t>
            </a:r>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tx1"/>
                </a:solidFill>
                <a:latin typeface="Arial" panose="020B0604020202020204" pitchFamily="34" charset="0"/>
              </a:defRPr>
            </a:lvl1pPr>
          </a:lstStyle>
          <a:p>
            <a:pPr lvl="0"/>
            <a:r>
              <a:rPr lang="en-US"/>
              <a:t>Section</a:t>
            </a:r>
            <a:endParaRPr lang="de-DE"/>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b="0" i="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
        <p:nvSpPr>
          <p:cNvPr id="7" name="Date Placeholder 6">
            <a:extLst>
              <a:ext uri="{FF2B5EF4-FFF2-40B4-BE49-F238E27FC236}">
                <a16:creationId xmlns:a16="http://schemas.microsoft.com/office/drawing/2014/main" id="{A5BFD55E-463D-4BCA-8704-6CBA92C34950}"/>
              </a:ext>
            </a:extLst>
          </p:cNvPr>
          <p:cNvSpPr>
            <a:spLocks noGrp="1"/>
          </p:cNvSpPr>
          <p:nvPr>
            <p:ph type="dt" sz="half" idx="29"/>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8" name="Footer Placeholder 7">
            <a:extLst>
              <a:ext uri="{FF2B5EF4-FFF2-40B4-BE49-F238E27FC236}">
                <a16:creationId xmlns:a16="http://schemas.microsoft.com/office/drawing/2014/main" id="{948BF00C-1E73-4DE6-A7DF-DD52FE99FB7C}"/>
              </a:ext>
            </a:extLst>
          </p:cNvPr>
          <p:cNvSpPr>
            <a:spLocks noGrp="1"/>
          </p:cNvSpPr>
          <p:nvPr>
            <p:ph type="ftr" sz="quarter" idx="30"/>
          </p:nvPr>
        </p:nvSpPr>
        <p:spPr/>
        <p:txBody>
          <a:bodyPr/>
          <a:lstStyle>
            <a:lvl1pPr>
              <a:defRPr b="0" i="0"/>
            </a:lvl1pPr>
          </a:lstStyle>
          <a:p>
            <a:r>
              <a:rPr lang="en-US"/>
              <a:t>AI Genies | Claire the Car Repair Assessment Agent</a:t>
            </a:r>
            <a:endParaRPr lang="de-DE"/>
          </a:p>
        </p:txBody>
      </p:sp>
      <p:sp>
        <p:nvSpPr>
          <p:cNvPr id="10" name="Slide Number Placeholder 9">
            <a:extLst>
              <a:ext uri="{FF2B5EF4-FFF2-40B4-BE49-F238E27FC236}">
                <a16:creationId xmlns:a16="http://schemas.microsoft.com/office/drawing/2014/main" id="{E9434B8F-C506-42B9-BEA4-1EA4A77C484B}"/>
              </a:ext>
            </a:extLst>
          </p:cNvPr>
          <p:cNvSpPr>
            <a:spLocks noGrp="1"/>
          </p:cNvSpPr>
          <p:nvPr>
            <p:ph type="sldNum" sz="quarter" idx="31"/>
          </p:nvPr>
        </p:nvSpPr>
        <p:spPr/>
        <p:txBody>
          <a:bodyPr/>
          <a:lstStyle>
            <a:lvl1pPr>
              <a:defRPr b="0" i="0"/>
            </a:lvl1pPr>
          </a:lstStyle>
          <a:p>
            <a:fld id="{F4562D32-726A-4413-ACA3-4E6BD640C7C8}" type="slidenum">
              <a:rPr lang="de-DE" smtClean="0"/>
              <a:pPr/>
              <a:t>‹#›</a:t>
            </a:fld>
            <a:endParaRPr lang="de-DE"/>
          </a:p>
        </p:txBody>
      </p:sp>
    </p:spTree>
    <p:extLst>
      <p:ext uri="{BB962C8B-B14F-4D97-AF65-F5344CB8AC3E}">
        <p14:creationId xmlns:p14="http://schemas.microsoft.com/office/powerpoint/2010/main" val="1038330062"/>
      </p:ext>
    </p:extLst>
  </p:cSld>
  <p:clrMapOvr>
    <a:masterClrMapping/>
  </p:clrMapOvr>
  <p:transition spd="med"/>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text + 2 images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6768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2" name="Image">
            <a:extLst>
              <a:ext uri="{FF2B5EF4-FFF2-40B4-BE49-F238E27FC236}">
                <a16:creationId xmlns:a16="http://schemas.microsoft.com/office/drawing/2014/main" id="{F9A55B27-4C80-4CC9-A35E-8EF6475FE574}"/>
              </a:ext>
            </a:extLst>
          </p:cNvPr>
          <p:cNvSpPr>
            <a:spLocks noGrp="1"/>
          </p:cNvSpPr>
          <p:nvPr>
            <p:ph type="pic" idx="28"/>
          </p:nvPr>
        </p:nvSpPr>
        <p:spPr>
          <a:xfrm>
            <a:off x="12192000" y="6948000"/>
            <a:ext cx="12192000" cy="6768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spAutoFit/>
          </a:bodyPr>
          <a:lstStyle>
            <a:lvl1pPr>
              <a:defRPr sz="7200">
                <a:solidFill>
                  <a:schemeClr val="bg1"/>
                </a:solidFill>
              </a:defRPr>
            </a:lvl1pPr>
          </a:lstStyle>
          <a:p>
            <a:r>
              <a:rPr lang="en-US"/>
              <a:t>Introduction statement that goes on three lines if needed</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grpSp>
        <p:nvGrpSpPr>
          <p:cNvPr id="11" name="Group">
            <a:extLst>
              <a:ext uri="{FF2B5EF4-FFF2-40B4-BE49-F238E27FC236}">
                <a16:creationId xmlns:a16="http://schemas.microsoft.com/office/drawing/2014/main" id="{5DBAE501-E859-41C2-A5E1-E88718F7797A}"/>
              </a:ext>
            </a:extLst>
          </p:cNvPr>
          <p:cNvGrpSpPr/>
          <p:nvPr userDrawn="1"/>
        </p:nvGrpSpPr>
        <p:grpSpPr>
          <a:xfrm>
            <a:off x="885450" y="12829819"/>
            <a:ext cx="885653" cy="885653"/>
            <a:chOff x="0" y="0"/>
            <a:chExt cx="885651" cy="885651"/>
          </a:xfrm>
        </p:grpSpPr>
        <p:sp>
          <p:nvSpPr>
            <p:cNvPr id="14" name="Square">
              <a:extLst>
                <a:ext uri="{FF2B5EF4-FFF2-40B4-BE49-F238E27FC236}">
                  <a16:creationId xmlns:a16="http://schemas.microsoft.com/office/drawing/2014/main" id="{3DC35E41-9461-4DD9-A14D-9705123B449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6" name="Image">
              <a:extLst>
                <a:ext uri="{FF2B5EF4-FFF2-40B4-BE49-F238E27FC236}">
                  <a16:creationId xmlns:a16="http://schemas.microsoft.com/office/drawing/2014/main" id="{5EF504FE-4F56-4A56-857B-13E52F091C4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79957446"/>
      </p:ext>
    </p:extLst>
  </p:cSld>
  <p:clrMapOvr>
    <a:masterClrMapping/>
  </p:clrMapOvr>
  <p:transition spd="med"/>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grid (W)">
    <p:spTree>
      <p:nvGrpSpPr>
        <p:cNvPr id="1" name=""/>
        <p:cNvGrpSpPr/>
        <p:nvPr/>
      </p:nvGrpSpPr>
      <p:grpSpPr>
        <a:xfrm>
          <a:off x="0" y="0"/>
          <a:ext cx="0" cy="0"/>
          <a:chOff x="0" y="0"/>
          <a:chExt cx="0" cy="0"/>
        </a:xfrm>
      </p:grpSpPr>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6096000" cy="4272261"/>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2" name="Image">
            <a:extLst>
              <a:ext uri="{FF2B5EF4-FFF2-40B4-BE49-F238E27FC236}">
                <a16:creationId xmlns:a16="http://schemas.microsoft.com/office/drawing/2014/main" id="{F950AC6C-4206-4713-AB16-26F88FF2B3FF}"/>
              </a:ext>
            </a:extLst>
          </p:cNvPr>
          <p:cNvSpPr>
            <a:spLocks noGrp="1"/>
          </p:cNvSpPr>
          <p:nvPr>
            <p:ph type="pic" idx="32"/>
          </p:nvPr>
        </p:nvSpPr>
        <p:spPr>
          <a:xfrm>
            <a:off x="6096000" y="0"/>
            <a:ext cx="6096000" cy="4272261"/>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3" name="Image">
            <a:extLst>
              <a:ext uri="{FF2B5EF4-FFF2-40B4-BE49-F238E27FC236}">
                <a16:creationId xmlns:a16="http://schemas.microsoft.com/office/drawing/2014/main" id="{F02F08E5-B019-45B9-894C-F3CB4D24F4AA}"/>
              </a:ext>
            </a:extLst>
          </p:cNvPr>
          <p:cNvSpPr>
            <a:spLocks noGrp="1"/>
          </p:cNvSpPr>
          <p:nvPr>
            <p:ph type="pic" idx="33"/>
          </p:nvPr>
        </p:nvSpPr>
        <p:spPr>
          <a:xfrm>
            <a:off x="12192001" y="0"/>
            <a:ext cx="6096000" cy="4272261"/>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4" name="Image">
            <a:extLst>
              <a:ext uri="{FF2B5EF4-FFF2-40B4-BE49-F238E27FC236}">
                <a16:creationId xmlns:a16="http://schemas.microsoft.com/office/drawing/2014/main" id="{D35BC582-FDB6-4674-B083-CBBF815AEEC6}"/>
              </a:ext>
            </a:extLst>
          </p:cNvPr>
          <p:cNvSpPr>
            <a:spLocks noGrp="1"/>
          </p:cNvSpPr>
          <p:nvPr>
            <p:ph type="pic" idx="34"/>
          </p:nvPr>
        </p:nvSpPr>
        <p:spPr>
          <a:xfrm>
            <a:off x="18288002" y="0"/>
            <a:ext cx="6096000" cy="4272261"/>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5" name="Image">
            <a:extLst>
              <a:ext uri="{FF2B5EF4-FFF2-40B4-BE49-F238E27FC236}">
                <a16:creationId xmlns:a16="http://schemas.microsoft.com/office/drawing/2014/main" id="{803D8098-89DA-4975-8042-389B9399309B}"/>
              </a:ext>
            </a:extLst>
          </p:cNvPr>
          <p:cNvSpPr>
            <a:spLocks noGrp="1"/>
          </p:cNvSpPr>
          <p:nvPr>
            <p:ph type="pic" idx="35"/>
          </p:nvPr>
        </p:nvSpPr>
        <p:spPr>
          <a:xfrm>
            <a:off x="0" y="4272261"/>
            <a:ext cx="6096000" cy="4272261"/>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7" name="Image">
            <a:extLst>
              <a:ext uri="{FF2B5EF4-FFF2-40B4-BE49-F238E27FC236}">
                <a16:creationId xmlns:a16="http://schemas.microsoft.com/office/drawing/2014/main" id="{92C7ADB0-D96D-4B55-BFBA-8600A24E1902}"/>
              </a:ext>
            </a:extLst>
          </p:cNvPr>
          <p:cNvSpPr>
            <a:spLocks noGrp="1"/>
          </p:cNvSpPr>
          <p:nvPr>
            <p:ph type="pic" idx="36"/>
          </p:nvPr>
        </p:nvSpPr>
        <p:spPr>
          <a:xfrm>
            <a:off x="6096000" y="4272261"/>
            <a:ext cx="6096000" cy="4272261"/>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8" name="Image">
            <a:extLst>
              <a:ext uri="{FF2B5EF4-FFF2-40B4-BE49-F238E27FC236}">
                <a16:creationId xmlns:a16="http://schemas.microsoft.com/office/drawing/2014/main" id="{DA7512C9-3BEC-4B76-B8E4-90A52F2F625C}"/>
              </a:ext>
            </a:extLst>
          </p:cNvPr>
          <p:cNvSpPr>
            <a:spLocks noGrp="1"/>
          </p:cNvSpPr>
          <p:nvPr>
            <p:ph type="pic" idx="37"/>
          </p:nvPr>
        </p:nvSpPr>
        <p:spPr>
          <a:xfrm>
            <a:off x="12192001" y="4272261"/>
            <a:ext cx="6096000" cy="4272261"/>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9" name="Image">
            <a:extLst>
              <a:ext uri="{FF2B5EF4-FFF2-40B4-BE49-F238E27FC236}">
                <a16:creationId xmlns:a16="http://schemas.microsoft.com/office/drawing/2014/main" id="{4250E550-F36E-4D62-A040-CBB7345317C6}"/>
              </a:ext>
            </a:extLst>
          </p:cNvPr>
          <p:cNvSpPr>
            <a:spLocks noGrp="1"/>
          </p:cNvSpPr>
          <p:nvPr>
            <p:ph type="pic" idx="38"/>
          </p:nvPr>
        </p:nvSpPr>
        <p:spPr>
          <a:xfrm>
            <a:off x="18288002" y="4272261"/>
            <a:ext cx="6096000" cy="4272261"/>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lvl1pPr>
          </a:lstStyle>
          <a:p>
            <a:r>
              <a:rPr lang="en-US"/>
              <a:t>Introduction statement</a:t>
            </a:r>
            <a:br>
              <a:rPr lang="en-US"/>
            </a:br>
            <a:r>
              <a:rPr lang="en-US"/>
              <a:t>lorem ipsum dolor sit </a:t>
            </a:r>
            <a:r>
              <a:rPr lang="en-US" err="1"/>
              <a:t>ame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534650"/>
            <a:ext cx="10510624" cy="1927630"/>
          </a:xfrm>
        </p:spPr>
        <p:txBody>
          <a:bodyPr wrap="square">
            <a:noAutofit/>
          </a:bodyPr>
          <a:lstStyle>
            <a:lvl1pPr>
              <a:lnSpc>
                <a:spcPct val="130000"/>
              </a:lnSpc>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Tree>
    <p:extLst>
      <p:ext uri="{BB962C8B-B14F-4D97-AF65-F5344CB8AC3E}">
        <p14:creationId xmlns:p14="http://schemas.microsoft.com/office/powerpoint/2010/main" val="3264360405"/>
      </p:ext>
    </p:extLst>
  </p:cSld>
  <p:clrMapOvr>
    <a:masterClrMapping/>
  </p:clrMapOvr>
  <p:transition spd="med"/>
  <p:extLst>
    <p:ext uri="{DCECCB84-F9BA-43D5-87BE-67443E8EF086}">
      <p15:sldGuideLst xmlns:p15="http://schemas.microsoft.com/office/powerpoint/2012/main">
        <p15:guide id="1" orient="horz" pos="6862"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grid (B)">
    <p:bg>
      <p:bgPr>
        <a:solidFill>
          <a:schemeClr val="tx1"/>
        </a:solidFill>
        <a:effectLst/>
      </p:bgPr>
    </p:bg>
    <p:spTree>
      <p:nvGrpSpPr>
        <p:cNvPr id="1" name=""/>
        <p:cNvGrpSpPr/>
        <p:nvPr/>
      </p:nvGrpSpPr>
      <p:grpSpPr>
        <a:xfrm>
          <a:off x="0" y="0"/>
          <a:ext cx="0" cy="0"/>
          <a:chOff x="0" y="0"/>
          <a:chExt cx="0" cy="0"/>
        </a:xfrm>
      </p:grpSpPr>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2" name="Image">
            <a:extLst>
              <a:ext uri="{FF2B5EF4-FFF2-40B4-BE49-F238E27FC236}">
                <a16:creationId xmlns:a16="http://schemas.microsoft.com/office/drawing/2014/main" id="{F950AC6C-4206-4713-AB16-26F88FF2B3FF}"/>
              </a:ext>
            </a:extLst>
          </p:cNvPr>
          <p:cNvSpPr>
            <a:spLocks noGrp="1"/>
          </p:cNvSpPr>
          <p:nvPr>
            <p:ph type="pic" idx="32"/>
          </p:nvPr>
        </p:nvSpPr>
        <p:spPr>
          <a:xfrm>
            <a:off x="6096000"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3" name="Image">
            <a:extLst>
              <a:ext uri="{FF2B5EF4-FFF2-40B4-BE49-F238E27FC236}">
                <a16:creationId xmlns:a16="http://schemas.microsoft.com/office/drawing/2014/main" id="{F02F08E5-B019-45B9-894C-F3CB4D24F4AA}"/>
              </a:ext>
            </a:extLst>
          </p:cNvPr>
          <p:cNvSpPr>
            <a:spLocks noGrp="1"/>
          </p:cNvSpPr>
          <p:nvPr>
            <p:ph type="pic" idx="33"/>
          </p:nvPr>
        </p:nvSpPr>
        <p:spPr>
          <a:xfrm>
            <a:off x="12192001"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4" name="Image">
            <a:extLst>
              <a:ext uri="{FF2B5EF4-FFF2-40B4-BE49-F238E27FC236}">
                <a16:creationId xmlns:a16="http://schemas.microsoft.com/office/drawing/2014/main" id="{D35BC582-FDB6-4674-B083-CBBF815AEEC6}"/>
              </a:ext>
            </a:extLst>
          </p:cNvPr>
          <p:cNvSpPr>
            <a:spLocks noGrp="1"/>
          </p:cNvSpPr>
          <p:nvPr>
            <p:ph type="pic" idx="34"/>
          </p:nvPr>
        </p:nvSpPr>
        <p:spPr>
          <a:xfrm>
            <a:off x="18288002"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5" name="Image">
            <a:extLst>
              <a:ext uri="{FF2B5EF4-FFF2-40B4-BE49-F238E27FC236}">
                <a16:creationId xmlns:a16="http://schemas.microsoft.com/office/drawing/2014/main" id="{803D8098-89DA-4975-8042-389B9399309B}"/>
              </a:ext>
            </a:extLst>
          </p:cNvPr>
          <p:cNvSpPr>
            <a:spLocks noGrp="1"/>
          </p:cNvSpPr>
          <p:nvPr>
            <p:ph type="pic" idx="35"/>
          </p:nvPr>
        </p:nvSpPr>
        <p:spPr>
          <a:xfrm>
            <a:off x="0"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7" name="Image">
            <a:extLst>
              <a:ext uri="{FF2B5EF4-FFF2-40B4-BE49-F238E27FC236}">
                <a16:creationId xmlns:a16="http://schemas.microsoft.com/office/drawing/2014/main" id="{92C7ADB0-D96D-4B55-BFBA-8600A24E1902}"/>
              </a:ext>
            </a:extLst>
          </p:cNvPr>
          <p:cNvSpPr>
            <a:spLocks noGrp="1"/>
          </p:cNvSpPr>
          <p:nvPr>
            <p:ph type="pic" idx="36"/>
          </p:nvPr>
        </p:nvSpPr>
        <p:spPr>
          <a:xfrm>
            <a:off x="6096000"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8" name="Image">
            <a:extLst>
              <a:ext uri="{FF2B5EF4-FFF2-40B4-BE49-F238E27FC236}">
                <a16:creationId xmlns:a16="http://schemas.microsoft.com/office/drawing/2014/main" id="{DA7512C9-3BEC-4B76-B8E4-90A52F2F625C}"/>
              </a:ext>
            </a:extLst>
          </p:cNvPr>
          <p:cNvSpPr>
            <a:spLocks noGrp="1"/>
          </p:cNvSpPr>
          <p:nvPr>
            <p:ph type="pic" idx="37"/>
          </p:nvPr>
        </p:nvSpPr>
        <p:spPr>
          <a:xfrm>
            <a:off x="12192001"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9" name="Image">
            <a:extLst>
              <a:ext uri="{FF2B5EF4-FFF2-40B4-BE49-F238E27FC236}">
                <a16:creationId xmlns:a16="http://schemas.microsoft.com/office/drawing/2014/main" id="{4250E550-F36E-4D62-A040-CBB7345317C6}"/>
              </a:ext>
            </a:extLst>
          </p:cNvPr>
          <p:cNvSpPr>
            <a:spLocks noGrp="1"/>
          </p:cNvSpPr>
          <p:nvPr>
            <p:ph type="pic" idx="38"/>
          </p:nvPr>
        </p:nvSpPr>
        <p:spPr>
          <a:xfrm>
            <a:off x="18288002"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rtl="0">
              <a:defRPr sz="5800">
                <a:solidFill>
                  <a:schemeClr val="bg1"/>
                </a:solidFill>
              </a:defRPr>
            </a:lvl1pPr>
          </a:lstStyle>
          <a:p>
            <a:r>
              <a:rPr lang="en-US"/>
              <a:t>Introduction statement</a:t>
            </a:r>
            <a:br>
              <a:rPr lang="en-US"/>
            </a:br>
            <a:r>
              <a:rPr lang="en-US"/>
              <a:t>lorem ipsum dolor sit </a:t>
            </a:r>
            <a:r>
              <a:rPr lang="en-US" err="1"/>
              <a:t>amet</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534650"/>
            <a:ext cx="10510624" cy="1927630"/>
          </a:xfrm>
        </p:spPr>
        <p:txBody>
          <a:bodyPr wrap="square">
            <a:noAutofit/>
          </a:bodyPr>
          <a:lstStyle>
            <a:lvl1pPr rtl="0">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grpSp>
        <p:nvGrpSpPr>
          <p:cNvPr id="20" name="Group">
            <a:extLst>
              <a:ext uri="{FF2B5EF4-FFF2-40B4-BE49-F238E27FC236}">
                <a16:creationId xmlns:a16="http://schemas.microsoft.com/office/drawing/2014/main" id="{6C902F66-8BA3-4AF4-A8F9-35EBAB7D771F}"/>
              </a:ext>
            </a:extLst>
          </p:cNvPr>
          <p:cNvGrpSpPr/>
          <p:nvPr userDrawn="1"/>
        </p:nvGrpSpPr>
        <p:grpSpPr>
          <a:xfrm>
            <a:off x="885450" y="12829819"/>
            <a:ext cx="885653" cy="885653"/>
            <a:chOff x="0" y="0"/>
            <a:chExt cx="885651" cy="885651"/>
          </a:xfrm>
        </p:grpSpPr>
        <p:sp>
          <p:nvSpPr>
            <p:cNvPr id="21" name="Square">
              <a:extLst>
                <a:ext uri="{FF2B5EF4-FFF2-40B4-BE49-F238E27FC236}">
                  <a16:creationId xmlns:a16="http://schemas.microsoft.com/office/drawing/2014/main" id="{555A5894-122D-4CE3-ADC4-D6DD07098378}"/>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22" name="Image">
              <a:extLst>
                <a:ext uri="{FF2B5EF4-FFF2-40B4-BE49-F238E27FC236}">
                  <a16:creationId xmlns:a16="http://schemas.microsoft.com/office/drawing/2014/main" id="{76E1746A-75B4-4185-9D4E-7F9F3C9A075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568436170"/>
      </p:ext>
    </p:extLst>
  </p:cSld>
  <p:clrMapOvr>
    <a:masterClrMapping/>
  </p:clrMapOvr>
  <p:transition spd="med"/>
  <p:extLst>
    <p:ext uri="{DCECCB84-F9BA-43D5-87BE-67443E8EF086}">
      <p15:sldGuideLst xmlns:p15="http://schemas.microsoft.com/office/powerpoint/2012/main">
        <p15:guide id="1" orient="horz" pos="6862"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grid v.2">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 y="-1"/>
            <a:ext cx="8128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1"/>
            <a:ext cx="8128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8127999" y="6857999"/>
            <a:ext cx="8128000" cy="6858000"/>
          </a:xfrm>
          <a:prstGeom prst="rect">
            <a:avLst/>
          </a:prstGeom>
          <a:solidFill>
            <a:schemeClr val="accent6"/>
          </a:solidFill>
        </p:spPr>
        <p:txBody>
          <a:bodyPr lIns="91439" tIns="45719" rIns="91439" bIns="45719">
            <a:noAutofit/>
          </a:bodyPr>
          <a:lstStyle>
            <a:lvl1pPr algn="ctr">
              <a:defRPr b="0" i="0"/>
            </a:lvl1pPr>
          </a:lstStyle>
          <a:p>
            <a:endParaRPr/>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9917334" y="1363423"/>
            <a:ext cx="4549332" cy="923330"/>
          </a:xfrm>
        </p:spPr>
        <p:txBody>
          <a:bodyPr wrap="square" anchor="t">
            <a:noAutofit/>
          </a:bodyPr>
          <a:lstStyle>
            <a:lvl1pPr algn="ctr">
              <a:lnSpc>
                <a:spcPct val="90000"/>
              </a:lnSpc>
              <a:defRPr sz="7200" b="0" i="0">
                <a:latin typeface="Times New Roman" panose="02020603050405020304" pitchFamily="18" charset="0"/>
              </a:defRPr>
            </a:lvl1pPr>
          </a:lstStyle>
          <a:p>
            <a:pPr lvl="0"/>
            <a:r>
              <a:rPr lang="en-US"/>
              <a:t>Sub-title</a:t>
            </a:r>
            <a:endParaRPr lang="de-DE"/>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9917334" y="3139490"/>
            <a:ext cx="4549331" cy="1879104"/>
          </a:xfrm>
        </p:spPr>
        <p:txBody>
          <a:bodyPr wrap="square">
            <a:noAutofit/>
          </a:bodyPr>
          <a:lstStyle>
            <a:lvl1pPr algn="ctr">
              <a:lnSpc>
                <a:spcPct val="130000"/>
              </a:lnSpc>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8221425"/>
            <a:ext cx="4549332" cy="923330"/>
          </a:xfrm>
        </p:spPr>
        <p:txBody>
          <a:bodyPr wrap="square" anchor="t">
            <a:noAutofit/>
          </a:bodyPr>
          <a:lstStyle>
            <a:lvl1pPr algn="ctr">
              <a:lnSpc>
                <a:spcPct val="90000"/>
              </a:lnSpc>
              <a:defRPr sz="7200" b="0" i="0">
                <a:latin typeface="Times New Roman" panose="02020603050405020304" pitchFamily="18" charset="0"/>
              </a:defRPr>
            </a:lvl1pPr>
          </a:lstStyle>
          <a:p>
            <a:pPr lvl="0"/>
            <a:r>
              <a:rPr lang="en-US"/>
              <a:t>Sub-title</a:t>
            </a:r>
            <a:endParaRPr lang="de-DE"/>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9997492"/>
            <a:ext cx="4549331" cy="1879104"/>
          </a:xfrm>
        </p:spPr>
        <p:txBody>
          <a:bodyPr wrap="square">
            <a:noAutofit/>
          </a:bodyPr>
          <a:lstStyle>
            <a:lvl1pPr algn="ctr">
              <a:lnSpc>
                <a:spcPct val="130000"/>
              </a:lnSpc>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8221425"/>
            <a:ext cx="4549332" cy="923330"/>
          </a:xfrm>
        </p:spPr>
        <p:txBody>
          <a:bodyPr wrap="square" anchor="t">
            <a:noAutofit/>
          </a:bodyPr>
          <a:lstStyle>
            <a:lvl1pPr algn="ctr">
              <a:lnSpc>
                <a:spcPct val="90000"/>
              </a:lnSpc>
              <a:defRPr sz="7200" b="0" i="0">
                <a:latin typeface="Times New Roman" panose="02020603050405020304" pitchFamily="18" charset="0"/>
              </a:defRPr>
            </a:lvl1pPr>
          </a:lstStyle>
          <a:p>
            <a:pPr lvl="0"/>
            <a:r>
              <a:rPr lang="en-US"/>
              <a:t>Sub-title</a:t>
            </a:r>
            <a:endParaRPr lang="de-DE"/>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9997492"/>
            <a:ext cx="4549331" cy="1879104"/>
          </a:xfrm>
        </p:spPr>
        <p:txBody>
          <a:bodyPr wrap="square">
            <a:noAutofit/>
          </a:bodyPr>
          <a:lstStyle>
            <a:lvl1pPr algn="ctr">
              <a:lnSpc>
                <a:spcPct val="130000"/>
              </a:lnSpc>
              <a:defRPr sz="2400" b="0" i="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Tree>
    <p:extLst>
      <p:ext uri="{BB962C8B-B14F-4D97-AF65-F5344CB8AC3E}">
        <p14:creationId xmlns:p14="http://schemas.microsoft.com/office/powerpoint/2010/main" val="1739800346"/>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grid v.2 copy">
    <p:bg>
      <p:bgPr>
        <a:solidFill>
          <a:schemeClr val="tx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8127999" y="6857999"/>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9917334" y="1363423"/>
            <a:ext cx="4549332" cy="923330"/>
          </a:xfrm>
        </p:spPr>
        <p:txBody>
          <a:bodyPr wrap="square" anchor="t">
            <a:noAutofit/>
          </a:bodyPr>
          <a:lstStyle>
            <a:lvl1pPr algn="ctr">
              <a:lnSpc>
                <a:spcPct val="90000"/>
              </a:lnSpc>
              <a:defRPr sz="7200" b="0" i="0">
                <a:solidFill>
                  <a:schemeClr val="bg1"/>
                </a:solidFill>
                <a:latin typeface="Times New Roman" panose="02020603050405020304" pitchFamily="18" charset="0"/>
              </a:defRPr>
            </a:lvl1pPr>
          </a:lstStyle>
          <a:p>
            <a:pPr lvl="0"/>
            <a:r>
              <a:rPr lang="en-US"/>
              <a:t>Sub-title</a:t>
            </a:r>
            <a:endParaRPr lang="de-DE"/>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9917334" y="3139490"/>
            <a:ext cx="4549331" cy="1879104"/>
          </a:xfrm>
        </p:spPr>
        <p:txBody>
          <a:bodyPr wrap="square">
            <a:noAutofit/>
          </a:bodyPr>
          <a:lstStyle>
            <a:lvl1pPr algn="ct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8221425"/>
            <a:ext cx="4549332" cy="923330"/>
          </a:xfrm>
        </p:spPr>
        <p:txBody>
          <a:bodyPr wrap="square" anchor="t">
            <a:noAutofit/>
          </a:bodyPr>
          <a:lstStyle>
            <a:lvl1pPr algn="ctr">
              <a:lnSpc>
                <a:spcPct val="90000"/>
              </a:lnSpc>
              <a:defRPr sz="7200" b="0" i="0">
                <a:solidFill>
                  <a:schemeClr val="bg1"/>
                </a:solidFill>
                <a:latin typeface="Times New Roman" panose="02020603050405020304" pitchFamily="18" charset="0"/>
              </a:defRPr>
            </a:lvl1pPr>
          </a:lstStyle>
          <a:p>
            <a:pPr lvl="0"/>
            <a:r>
              <a:rPr lang="en-US"/>
              <a:t>Sub-title</a:t>
            </a:r>
            <a:endParaRPr lang="de-DE"/>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9997492"/>
            <a:ext cx="4549331" cy="1879104"/>
          </a:xfrm>
        </p:spPr>
        <p:txBody>
          <a:bodyPr wrap="square">
            <a:noAutofit/>
          </a:bodyPr>
          <a:lstStyle>
            <a:lvl1pPr algn="ct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8221425"/>
            <a:ext cx="4549332" cy="923330"/>
          </a:xfrm>
        </p:spPr>
        <p:txBody>
          <a:bodyPr wrap="square" anchor="t">
            <a:noAutofit/>
          </a:bodyPr>
          <a:lstStyle>
            <a:lvl1pPr algn="ctr">
              <a:lnSpc>
                <a:spcPct val="90000"/>
              </a:lnSpc>
              <a:defRPr sz="7200" b="0" i="0">
                <a:solidFill>
                  <a:schemeClr val="bg1"/>
                </a:solidFill>
                <a:latin typeface="Times New Roman" panose="02020603050405020304" pitchFamily="18" charset="0"/>
              </a:defRPr>
            </a:lvl1pPr>
          </a:lstStyle>
          <a:p>
            <a:pPr lvl="0"/>
            <a:r>
              <a:rPr lang="en-US"/>
              <a:t>Sub-title</a:t>
            </a:r>
            <a:endParaRPr lang="de-DE"/>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9997492"/>
            <a:ext cx="4549331" cy="1879104"/>
          </a:xfrm>
        </p:spPr>
        <p:txBody>
          <a:bodyPr wrap="square">
            <a:noAutofit/>
          </a:bodyPr>
          <a:lstStyle>
            <a:lvl1pPr algn="ct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grpSp>
        <p:nvGrpSpPr>
          <p:cNvPr id="12" name="Group">
            <a:extLst>
              <a:ext uri="{FF2B5EF4-FFF2-40B4-BE49-F238E27FC236}">
                <a16:creationId xmlns:a16="http://schemas.microsoft.com/office/drawing/2014/main" id="{9C91FDA8-9605-456F-ABC9-169C0A11F995}"/>
              </a:ext>
            </a:extLst>
          </p:cNvPr>
          <p:cNvGrpSpPr/>
          <p:nvPr userDrawn="1"/>
        </p:nvGrpSpPr>
        <p:grpSpPr>
          <a:xfrm>
            <a:off x="885450" y="12829819"/>
            <a:ext cx="885653" cy="885653"/>
            <a:chOff x="0" y="0"/>
            <a:chExt cx="885651" cy="885651"/>
          </a:xfrm>
        </p:grpSpPr>
        <p:sp>
          <p:nvSpPr>
            <p:cNvPr id="13" name="Square">
              <a:extLst>
                <a:ext uri="{FF2B5EF4-FFF2-40B4-BE49-F238E27FC236}">
                  <a16:creationId xmlns:a16="http://schemas.microsoft.com/office/drawing/2014/main" id="{3855C323-288F-41CC-8946-246D63B1794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4" name="Image">
              <a:extLst>
                <a:ext uri="{FF2B5EF4-FFF2-40B4-BE49-F238E27FC236}">
                  <a16:creationId xmlns:a16="http://schemas.microsoft.com/office/drawing/2014/main" id="{73622A80-8901-42AA-A0D4-C723B8B7E54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930891349"/>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grid v.2 (W)">
    <p:bg>
      <p:bgPr>
        <a:solidFill>
          <a:schemeClr val="bg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127998" y="-1"/>
            <a:ext cx="8128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6857999"/>
            <a:ext cx="8128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3" y="6857999"/>
            <a:ext cx="8128000" cy="6858000"/>
          </a:xfrm>
          <a:prstGeom prst="rect">
            <a:avLst/>
          </a:prstGeom>
          <a:solidFill>
            <a:schemeClr val="accent6"/>
          </a:solidFill>
        </p:spPr>
        <p:txBody>
          <a:bodyPr lIns="91439" tIns="45719" rIns="91439" bIns="45719">
            <a:noAutofit/>
          </a:bodyPr>
          <a:lstStyle>
            <a:lvl1pPr algn="ctr">
              <a:defRPr b="0" i="0"/>
            </a:lvl1pPr>
          </a:lstStyle>
          <a:p>
            <a:endParaRPr/>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1363423"/>
            <a:ext cx="4549332" cy="923330"/>
          </a:xfrm>
        </p:spPr>
        <p:txBody>
          <a:bodyPr wrap="square" anchor="t">
            <a:noAutofit/>
          </a:bodyPr>
          <a:lstStyle>
            <a:lvl1pPr algn="ctr">
              <a:lnSpc>
                <a:spcPct val="90000"/>
              </a:lnSpc>
              <a:defRPr sz="7200" b="0" i="0">
                <a:solidFill>
                  <a:schemeClr val="tx1"/>
                </a:solidFill>
                <a:latin typeface="Times New Roman" panose="02020603050405020304" pitchFamily="18" charset="0"/>
              </a:defRPr>
            </a:lvl1pPr>
          </a:lstStyle>
          <a:p>
            <a:pPr lvl="0"/>
            <a:r>
              <a:rPr lang="en-US"/>
              <a:t>Sub-title</a:t>
            </a:r>
            <a:endParaRPr lang="de-DE"/>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3139490"/>
            <a:ext cx="4549331" cy="1879104"/>
          </a:xfrm>
        </p:spPr>
        <p:txBody>
          <a:bodyPr wrap="square">
            <a:noAutofit/>
          </a:bodyPr>
          <a:lstStyle>
            <a:lvl1pPr algn="ctr">
              <a:lnSpc>
                <a:spcPct val="130000"/>
              </a:lnSpc>
              <a:defRPr sz="2400" b="0" i="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1363423"/>
            <a:ext cx="4549332" cy="923330"/>
          </a:xfrm>
        </p:spPr>
        <p:txBody>
          <a:bodyPr wrap="square" anchor="t">
            <a:noAutofit/>
          </a:bodyPr>
          <a:lstStyle>
            <a:lvl1pPr algn="ctr">
              <a:lnSpc>
                <a:spcPct val="90000"/>
              </a:lnSpc>
              <a:defRPr sz="7200" b="0" i="0">
                <a:solidFill>
                  <a:schemeClr val="tx1"/>
                </a:solidFill>
                <a:latin typeface="Times New Roman" panose="02020603050405020304" pitchFamily="18" charset="0"/>
              </a:defRPr>
            </a:lvl1pPr>
          </a:lstStyle>
          <a:p>
            <a:pPr lvl="0"/>
            <a:r>
              <a:rPr lang="en-US"/>
              <a:t>Sub-title</a:t>
            </a:r>
            <a:endParaRPr lang="de-DE"/>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3139490"/>
            <a:ext cx="4549331" cy="1879104"/>
          </a:xfrm>
        </p:spPr>
        <p:txBody>
          <a:bodyPr wrap="square">
            <a:noAutofit/>
          </a:bodyPr>
          <a:lstStyle>
            <a:lvl1pPr algn="ctr">
              <a:lnSpc>
                <a:spcPct val="130000"/>
              </a:lnSpc>
              <a:defRPr sz="2400" b="0" i="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2" name="Text Placeholder 8">
            <a:extLst>
              <a:ext uri="{FF2B5EF4-FFF2-40B4-BE49-F238E27FC236}">
                <a16:creationId xmlns:a16="http://schemas.microsoft.com/office/drawing/2014/main" id="{088EB73D-C933-43E3-AF9C-4673F045ABAF}"/>
              </a:ext>
            </a:extLst>
          </p:cNvPr>
          <p:cNvSpPr>
            <a:spLocks noGrp="1"/>
          </p:cNvSpPr>
          <p:nvPr>
            <p:ph type="body" sz="quarter" idx="48" hasCustomPrompt="1"/>
          </p:nvPr>
        </p:nvSpPr>
        <p:spPr>
          <a:xfrm>
            <a:off x="9917334" y="8221424"/>
            <a:ext cx="4549332" cy="923330"/>
          </a:xfrm>
        </p:spPr>
        <p:txBody>
          <a:bodyPr wrap="square" anchor="t">
            <a:noAutofit/>
          </a:bodyPr>
          <a:lstStyle>
            <a:lvl1pPr algn="ctr">
              <a:lnSpc>
                <a:spcPct val="90000"/>
              </a:lnSpc>
              <a:defRPr sz="7200" b="0" i="0">
                <a:solidFill>
                  <a:schemeClr val="tx1"/>
                </a:solidFill>
                <a:latin typeface="Times New Roman" panose="02020603050405020304" pitchFamily="18" charset="0"/>
              </a:defRPr>
            </a:lvl1pPr>
          </a:lstStyle>
          <a:p>
            <a:pPr lvl="0"/>
            <a:r>
              <a:rPr lang="en-US"/>
              <a:t>Sub-title</a:t>
            </a:r>
            <a:endParaRPr lang="de-DE"/>
          </a:p>
        </p:txBody>
      </p:sp>
      <p:sp>
        <p:nvSpPr>
          <p:cNvPr id="13" name="Text Placeholder 8">
            <a:extLst>
              <a:ext uri="{FF2B5EF4-FFF2-40B4-BE49-F238E27FC236}">
                <a16:creationId xmlns:a16="http://schemas.microsoft.com/office/drawing/2014/main" id="{DDE4C965-A793-484E-96FA-9DA859F98F6C}"/>
              </a:ext>
            </a:extLst>
          </p:cNvPr>
          <p:cNvSpPr>
            <a:spLocks noGrp="1"/>
          </p:cNvSpPr>
          <p:nvPr>
            <p:ph type="body" sz="quarter" idx="49" hasCustomPrompt="1"/>
          </p:nvPr>
        </p:nvSpPr>
        <p:spPr>
          <a:xfrm>
            <a:off x="9917334" y="9997492"/>
            <a:ext cx="4549331" cy="1879104"/>
          </a:xfrm>
        </p:spPr>
        <p:txBody>
          <a:bodyPr wrap="square">
            <a:noAutofit/>
          </a:bodyPr>
          <a:lstStyle>
            <a:lvl1pPr algn="ctr">
              <a:lnSpc>
                <a:spcPct val="130000"/>
              </a:lnSpc>
              <a:defRPr sz="2400" b="0" i="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Tree>
    <p:extLst>
      <p:ext uri="{BB962C8B-B14F-4D97-AF65-F5344CB8AC3E}">
        <p14:creationId xmlns:p14="http://schemas.microsoft.com/office/powerpoint/2010/main" val="2918176059"/>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grid v.2 (B)">
    <p:bg>
      <p:bgPr>
        <a:solidFill>
          <a:schemeClr val="tx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127998"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6857999"/>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18" name="Picture Placeholder 17">
            <a:extLst>
              <a:ext uri="{FF2B5EF4-FFF2-40B4-BE49-F238E27FC236}">
                <a16:creationId xmlns:a16="http://schemas.microsoft.com/office/drawing/2014/main" id="{EF69341A-5380-40D4-BC6A-53E9E0D9C71B}"/>
              </a:ext>
            </a:extLst>
          </p:cNvPr>
          <p:cNvSpPr>
            <a:spLocks noGrp="1"/>
          </p:cNvSpPr>
          <p:nvPr>
            <p:ph type="pic" idx="42"/>
          </p:nvPr>
        </p:nvSpPr>
        <p:spPr>
          <a:xfrm>
            <a:off x="-3" y="6857999"/>
            <a:ext cx="8128000" cy="6858000"/>
          </a:xfrm>
          <a:custGeom>
            <a:avLst/>
            <a:gdLst>
              <a:gd name="connsiteX0" fmla="*/ 885453 w 8128000"/>
              <a:gd name="connsiteY0" fmla="*/ 5971820 h 6858000"/>
              <a:gd name="connsiteX1" fmla="*/ 885453 w 8128000"/>
              <a:gd name="connsiteY1" fmla="*/ 6857474 h 6858000"/>
              <a:gd name="connsiteX2" fmla="*/ 1771106 w 8128000"/>
              <a:gd name="connsiteY2" fmla="*/ 6857474 h 6858000"/>
              <a:gd name="connsiteX3" fmla="*/ 1771106 w 8128000"/>
              <a:gd name="connsiteY3" fmla="*/ 5971820 h 6858000"/>
              <a:gd name="connsiteX4" fmla="*/ 0 w 8128000"/>
              <a:gd name="connsiteY4" fmla="*/ 0 h 6858000"/>
              <a:gd name="connsiteX5" fmla="*/ 8128000 w 8128000"/>
              <a:gd name="connsiteY5" fmla="*/ 0 h 6858000"/>
              <a:gd name="connsiteX6" fmla="*/ 8128000 w 8128000"/>
              <a:gd name="connsiteY6" fmla="*/ 6858000 h 6858000"/>
              <a:gd name="connsiteX7" fmla="*/ 0 w 8128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6858000">
                <a:moveTo>
                  <a:pt x="885453" y="5971820"/>
                </a:moveTo>
                <a:lnTo>
                  <a:pt x="885453" y="6857474"/>
                </a:lnTo>
                <a:lnTo>
                  <a:pt x="1771106" y="6857474"/>
                </a:lnTo>
                <a:lnTo>
                  <a:pt x="1771106" y="5971820"/>
                </a:lnTo>
                <a:close/>
                <a:moveTo>
                  <a:pt x="0" y="0"/>
                </a:moveTo>
                <a:lnTo>
                  <a:pt x="8128000" y="0"/>
                </a:lnTo>
                <a:lnTo>
                  <a:pt x="8128000" y="6858000"/>
                </a:lnTo>
                <a:lnTo>
                  <a:pt x="0" y="6858000"/>
                </a:lnTo>
                <a:close/>
              </a:path>
            </a:pathLst>
          </a:custGeom>
          <a:pattFill prst="pct90">
            <a:fgClr>
              <a:schemeClr val="tx1"/>
            </a:fgClr>
            <a:bgClr>
              <a:schemeClr val="accent5"/>
            </a:bgClr>
          </a:pattFill>
        </p:spPr>
        <p:txBody>
          <a:bodyPr wrap="square" lIns="91439" tIns="45719" rIns="91439" bIns="45719">
            <a:noAutofit/>
          </a:bodyPr>
          <a:lstStyle>
            <a:lvl1pPr algn="ctr">
              <a:defRPr b="0" i="0">
                <a:solidFill>
                  <a:schemeClr val="bg1"/>
                </a:solidFill>
              </a:defRPr>
            </a:lvl1pPr>
          </a:lstStyle>
          <a:p>
            <a:endParaRPr/>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1363423"/>
            <a:ext cx="4549332" cy="923330"/>
          </a:xfrm>
        </p:spPr>
        <p:txBody>
          <a:bodyPr wrap="square" anchor="t">
            <a:noAutofit/>
          </a:bodyPr>
          <a:lstStyle>
            <a:lvl1pPr algn="ctr">
              <a:lnSpc>
                <a:spcPct val="90000"/>
              </a:lnSpc>
              <a:defRPr sz="7200" b="0" i="0">
                <a:solidFill>
                  <a:schemeClr val="bg1"/>
                </a:solidFill>
                <a:latin typeface="Times New Roman" panose="02020603050405020304" pitchFamily="18" charset="0"/>
              </a:defRPr>
            </a:lvl1pPr>
          </a:lstStyle>
          <a:p>
            <a:pPr lvl="0"/>
            <a:r>
              <a:rPr lang="en-US"/>
              <a:t>Sub-title</a:t>
            </a:r>
            <a:endParaRPr lang="de-DE"/>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3139490"/>
            <a:ext cx="4549331" cy="1879104"/>
          </a:xfrm>
        </p:spPr>
        <p:txBody>
          <a:bodyPr wrap="square">
            <a:noAutofit/>
          </a:bodyPr>
          <a:lstStyle>
            <a:lvl1pPr algn="ct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1363423"/>
            <a:ext cx="4549332" cy="923330"/>
          </a:xfrm>
        </p:spPr>
        <p:txBody>
          <a:bodyPr wrap="square" anchor="t">
            <a:noAutofit/>
          </a:bodyPr>
          <a:lstStyle>
            <a:lvl1pPr algn="ctr">
              <a:lnSpc>
                <a:spcPct val="90000"/>
              </a:lnSpc>
              <a:defRPr sz="7200" b="0" i="0">
                <a:solidFill>
                  <a:schemeClr val="bg1"/>
                </a:solidFill>
                <a:latin typeface="Times New Roman" panose="02020603050405020304" pitchFamily="18" charset="0"/>
              </a:defRPr>
            </a:lvl1pPr>
          </a:lstStyle>
          <a:p>
            <a:pPr lvl="0"/>
            <a:r>
              <a:rPr lang="en-US"/>
              <a:t>Sub-title</a:t>
            </a:r>
            <a:endParaRPr lang="de-DE"/>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3139490"/>
            <a:ext cx="4549331" cy="1879104"/>
          </a:xfrm>
        </p:spPr>
        <p:txBody>
          <a:bodyPr wrap="square">
            <a:noAutofit/>
          </a:bodyPr>
          <a:lstStyle>
            <a:lvl1pPr algn="ct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2" name="Text Placeholder 8">
            <a:extLst>
              <a:ext uri="{FF2B5EF4-FFF2-40B4-BE49-F238E27FC236}">
                <a16:creationId xmlns:a16="http://schemas.microsoft.com/office/drawing/2014/main" id="{088EB73D-C933-43E3-AF9C-4673F045ABAF}"/>
              </a:ext>
            </a:extLst>
          </p:cNvPr>
          <p:cNvSpPr>
            <a:spLocks noGrp="1"/>
          </p:cNvSpPr>
          <p:nvPr>
            <p:ph type="body" sz="quarter" idx="48" hasCustomPrompt="1"/>
          </p:nvPr>
        </p:nvSpPr>
        <p:spPr>
          <a:xfrm>
            <a:off x="9917334" y="8221424"/>
            <a:ext cx="4549332" cy="923330"/>
          </a:xfrm>
        </p:spPr>
        <p:txBody>
          <a:bodyPr wrap="square" anchor="t">
            <a:noAutofit/>
          </a:bodyPr>
          <a:lstStyle>
            <a:lvl1pPr algn="ctr">
              <a:lnSpc>
                <a:spcPct val="90000"/>
              </a:lnSpc>
              <a:defRPr sz="7200" b="0" i="0">
                <a:solidFill>
                  <a:schemeClr val="bg1"/>
                </a:solidFill>
                <a:latin typeface="Times New Roman" panose="02020603050405020304" pitchFamily="18" charset="0"/>
              </a:defRPr>
            </a:lvl1pPr>
          </a:lstStyle>
          <a:p>
            <a:pPr lvl="0"/>
            <a:r>
              <a:rPr lang="en-US"/>
              <a:t>Sub-title</a:t>
            </a:r>
            <a:endParaRPr lang="de-DE"/>
          </a:p>
        </p:txBody>
      </p:sp>
      <p:sp>
        <p:nvSpPr>
          <p:cNvPr id="13" name="Text Placeholder 8">
            <a:extLst>
              <a:ext uri="{FF2B5EF4-FFF2-40B4-BE49-F238E27FC236}">
                <a16:creationId xmlns:a16="http://schemas.microsoft.com/office/drawing/2014/main" id="{DDE4C965-A793-484E-96FA-9DA859F98F6C}"/>
              </a:ext>
            </a:extLst>
          </p:cNvPr>
          <p:cNvSpPr>
            <a:spLocks noGrp="1"/>
          </p:cNvSpPr>
          <p:nvPr>
            <p:ph type="body" sz="quarter" idx="49" hasCustomPrompt="1"/>
          </p:nvPr>
        </p:nvSpPr>
        <p:spPr>
          <a:xfrm>
            <a:off x="9917334" y="9997492"/>
            <a:ext cx="4549331" cy="1879104"/>
          </a:xfrm>
        </p:spPr>
        <p:txBody>
          <a:bodyPr wrap="square">
            <a:noAutofit/>
          </a:bodyPr>
          <a:lstStyle>
            <a:lvl1pPr algn="ctr">
              <a:lnSpc>
                <a:spcPct val="130000"/>
              </a:lnSpc>
              <a:defRPr sz="24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grpSp>
        <p:nvGrpSpPr>
          <p:cNvPr id="14" name="Group">
            <a:extLst>
              <a:ext uri="{FF2B5EF4-FFF2-40B4-BE49-F238E27FC236}">
                <a16:creationId xmlns:a16="http://schemas.microsoft.com/office/drawing/2014/main" id="{016A1DB6-D8CC-4918-BFEC-080ACCD0C1EC}"/>
              </a:ext>
            </a:extLst>
          </p:cNvPr>
          <p:cNvGrpSpPr/>
          <p:nvPr userDrawn="1"/>
        </p:nvGrpSpPr>
        <p:grpSpPr>
          <a:xfrm>
            <a:off x="885450" y="12829819"/>
            <a:ext cx="885653" cy="885653"/>
            <a:chOff x="0" y="0"/>
            <a:chExt cx="885651" cy="885651"/>
          </a:xfrm>
        </p:grpSpPr>
        <p:sp>
          <p:nvSpPr>
            <p:cNvPr id="15" name="Square">
              <a:extLst>
                <a:ext uri="{FF2B5EF4-FFF2-40B4-BE49-F238E27FC236}">
                  <a16:creationId xmlns:a16="http://schemas.microsoft.com/office/drawing/2014/main" id="{574671D6-8E98-4D08-89D4-BE1714519E03}"/>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6" name="Image">
              <a:extLst>
                <a:ext uri="{FF2B5EF4-FFF2-40B4-BE49-F238E27FC236}">
                  <a16:creationId xmlns:a16="http://schemas.microsoft.com/office/drawing/2014/main" id="{581C6293-0327-45E7-B415-085B0FAE64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206081975"/>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mage">
    <p:spTree>
      <p:nvGrpSpPr>
        <p:cNvPr id="1" name=""/>
        <p:cNvGrpSpPr/>
        <p:nvPr/>
      </p:nvGrpSpPr>
      <p:grpSpPr>
        <a:xfrm>
          <a:off x="0" y="0"/>
          <a:ext cx="0" cy="0"/>
          <a:chOff x="0" y="0"/>
          <a:chExt cx="0" cy="0"/>
        </a:xfrm>
      </p:grpSpPr>
      <p:pic>
        <p:nvPicPr>
          <p:cNvPr id="1261"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4" name="Picture Placeholder 13">
            <a:extLst>
              <a:ext uri="{FF2B5EF4-FFF2-40B4-BE49-F238E27FC236}">
                <a16:creationId xmlns:a16="http://schemas.microsoft.com/office/drawing/2014/main" id="{06594828-BD99-4691-9122-B3C2199B1C27}"/>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b="0" i="0"/>
            </a:lvl1pPr>
          </a:lstStyle>
          <a:p>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2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b="0" i="0" cap="all" baseline="0">
                <a:solidFill>
                  <a:schemeClr val="bg1"/>
                </a:solidFill>
                <a:latin typeface="Arial" panose="020B0604020202020204" pitchFamily="34" charset="0"/>
                <a:cs typeface="Arial" panose="020B0604020202020204" pitchFamily="34" charset="0"/>
              </a:defRPr>
            </a:lvl1pPr>
          </a:lstStyle>
          <a:p>
            <a:endParaRPr lang="de-DE"/>
          </a:p>
        </p:txBody>
      </p:sp>
      <p:pic>
        <p:nvPicPr>
          <p:cNvPr id="7" name="frog-Cap-Invent-logo-horizontal-white.png">
            <a:extLst>
              <a:ext uri="{FF2B5EF4-FFF2-40B4-BE49-F238E27FC236}">
                <a16:creationId xmlns:a16="http://schemas.microsoft.com/office/drawing/2014/main" id="{9DA3E2CE-9DC1-47C1-B767-6B8C30D45A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80600" y="10642600"/>
            <a:ext cx="4622800" cy="1253141"/>
          </a:xfrm>
          <a:prstGeom prst="rect">
            <a:avLst/>
          </a:prstGeom>
          <a:ln w="12700">
            <a:miter lim="400000"/>
          </a:ln>
        </p:spPr>
      </p:pic>
      <p:sp>
        <p:nvSpPr>
          <p:cNvPr id="8" name="Title 2">
            <a:extLst>
              <a:ext uri="{FF2B5EF4-FFF2-40B4-BE49-F238E27FC236}">
                <a16:creationId xmlns:a16="http://schemas.microsoft.com/office/drawing/2014/main" id="{CE8547B7-058D-4B5B-8718-89FDF31F9140}"/>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bg1"/>
                </a:solidFill>
              </a:defRPr>
            </a:lvl1pPr>
          </a:lstStyle>
          <a:p>
            <a:r>
              <a:rPr lang="de-DE"/>
              <a:t>Presentation title</a:t>
            </a:r>
          </a:p>
        </p:txBody>
      </p:sp>
      <p:sp>
        <p:nvSpPr>
          <p:cNvPr id="3" name="Footer Placeholder 8">
            <a:extLst>
              <a:ext uri="{FF2B5EF4-FFF2-40B4-BE49-F238E27FC236}">
                <a16:creationId xmlns:a16="http://schemas.microsoft.com/office/drawing/2014/main" id="{FB9D823E-AD13-0578-1A6B-CA9D78E5F276}"/>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b="0" i="0" spc="48">
                <a:solidFill>
                  <a:schemeClr val="bg1">
                    <a:lumMod val="65000"/>
                  </a:schemeClr>
                </a:solidFill>
                <a:latin typeface="Arial" panose="020B0604020202020204" pitchFamily="34" charset="0"/>
                <a:cs typeface="Arial" panose="020B0604020202020204" pitchFamily="34" charset="0"/>
              </a:defRPr>
            </a:lvl1pPr>
          </a:lstStyle>
          <a:p>
            <a:r>
              <a:rPr lang="en-US"/>
              <a:t>AI Genies | Claire the Car Repair Assessment Agent</a:t>
            </a:r>
            <a:endParaRPr lang="de-DE"/>
          </a:p>
        </p:txBody>
      </p:sp>
    </p:spTree>
    <p:extLst>
      <p:ext uri="{BB962C8B-B14F-4D97-AF65-F5344CB8AC3E}">
        <p14:creationId xmlns:p14="http://schemas.microsoft.com/office/powerpoint/2010/main" val="3563903525"/>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 images">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5C72CB-75A5-402A-86B9-DF37F41EC525}"/>
              </a:ext>
            </a:extLst>
          </p:cNvPr>
          <p:cNvSpPr>
            <a:spLocks noGrp="1"/>
          </p:cNvSpPr>
          <p:nvPr>
            <p:ph type="pic" idx="42"/>
          </p:nvPr>
        </p:nvSpPr>
        <p:spPr>
          <a:xfrm>
            <a:off x="0" y="0"/>
            <a:ext cx="12192000" cy="13716000"/>
          </a:xfrm>
          <a:custGeom>
            <a:avLst/>
            <a:gdLst>
              <a:gd name="connsiteX0" fmla="*/ 0 w 12192000"/>
              <a:gd name="connsiteY0" fmla="*/ 0 h 13716000"/>
              <a:gd name="connsiteX1" fmla="*/ 12192000 w 12192000"/>
              <a:gd name="connsiteY1" fmla="*/ 0 h 13716000"/>
              <a:gd name="connsiteX2" fmla="*/ 12192000 w 12192000"/>
              <a:gd name="connsiteY2" fmla="*/ 13716000 h 13716000"/>
              <a:gd name="connsiteX3" fmla="*/ 1771632 w 12192000"/>
              <a:gd name="connsiteY3" fmla="*/ 13716000 h 13716000"/>
              <a:gd name="connsiteX4" fmla="*/ 1771632 w 12192000"/>
              <a:gd name="connsiteY4" fmla="*/ 12829289 h 13716000"/>
              <a:gd name="connsiteX5" fmla="*/ 884921 w 12192000"/>
              <a:gd name="connsiteY5" fmla="*/ 12829289 h 13716000"/>
              <a:gd name="connsiteX6" fmla="*/ 884921 w 12192000"/>
              <a:gd name="connsiteY6" fmla="*/ 13716000 h 13716000"/>
              <a:gd name="connsiteX7" fmla="*/ 0 w 12192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3716000">
                <a:moveTo>
                  <a:pt x="0" y="0"/>
                </a:moveTo>
                <a:lnTo>
                  <a:pt x="12192000" y="0"/>
                </a:lnTo>
                <a:lnTo>
                  <a:pt x="12192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b="0" i="0"/>
            </a:lvl1pPr>
          </a:lstStyle>
          <a:p>
            <a:endParaRPr/>
          </a:p>
        </p:txBody>
      </p:sp>
      <p:pic>
        <p:nvPicPr>
          <p:cNvPr id="1271"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8" name="Image">
            <a:extLst>
              <a:ext uri="{FF2B5EF4-FFF2-40B4-BE49-F238E27FC236}">
                <a16:creationId xmlns:a16="http://schemas.microsoft.com/office/drawing/2014/main" id="{9A493C74-560A-4E79-AC52-9EC29E6C0EFA}"/>
              </a:ext>
            </a:extLst>
          </p:cNvPr>
          <p:cNvSpPr>
            <a:spLocks noGrp="1"/>
          </p:cNvSpPr>
          <p:nvPr>
            <p:ph type="pic" idx="43"/>
          </p:nvPr>
        </p:nvSpPr>
        <p:spPr>
          <a:xfrm>
            <a:off x="12192000" y="0"/>
            <a:ext cx="12192000" cy="13716000"/>
          </a:xfrm>
          <a:prstGeom prst="rect">
            <a:avLst/>
          </a:prstGeom>
          <a:solidFill>
            <a:schemeClr val="accent6"/>
          </a:solidFill>
        </p:spPr>
        <p:txBody>
          <a:bodyPr lIns="91439" tIns="45719" rIns="91439" bIns="45719">
            <a:noAutofit/>
          </a:bodyPr>
          <a:lstStyle>
            <a:lvl1pPr algn="ctr">
              <a:defRPr b="0" i="0"/>
            </a:lvl1pPr>
          </a:lstStyle>
          <a:p>
            <a:endParaRPr/>
          </a:p>
        </p:txBody>
      </p:sp>
    </p:spTree>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 images (space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0B5C23D-4E67-469B-BB4C-F03476A8C3DB}"/>
              </a:ext>
            </a:extLst>
          </p:cNvPr>
          <p:cNvSpPr>
            <a:spLocks noGrp="1"/>
          </p:cNvSpPr>
          <p:nvPr>
            <p:ph type="pic" idx="44"/>
          </p:nvPr>
        </p:nvSpPr>
        <p:spPr>
          <a:xfrm>
            <a:off x="0" y="6858000"/>
            <a:ext cx="24384000" cy="6858000"/>
          </a:xfrm>
          <a:custGeom>
            <a:avLst/>
            <a:gdLst>
              <a:gd name="connsiteX0" fmla="*/ 0 w 24384000"/>
              <a:gd name="connsiteY0" fmla="*/ 0 h 6858000"/>
              <a:gd name="connsiteX1" fmla="*/ 24384000 w 24384000"/>
              <a:gd name="connsiteY1" fmla="*/ 0 h 6858000"/>
              <a:gd name="connsiteX2" fmla="*/ 24384000 w 24384000"/>
              <a:gd name="connsiteY2" fmla="*/ 6858000 h 6858000"/>
              <a:gd name="connsiteX3" fmla="*/ 1771632 w 24384000"/>
              <a:gd name="connsiteY3" fmla="*/ 6858000 h 6858000"/>
              <a:gd name="connsiteX4" fmla="*/ 1771632 w 24384000"/>
              <a:gd name="connsiteY4" fmla="*/ 5971290 h 6858000"/>
              <a:gd name="connsiteX5" fmla="*/ 884921 w 24384000"/>
              <a:gd name="connsiteY5" fmla="*/ 5971290 h 6858000"/>
              <a:gd name="connsiteX6" fmla="*/ 884921 w 24384000"/>
              <a:gd name="connsiteY6" fmla="*/ 6858000 h 6858000"/>
              <a:gd name="connsiteX7" fmla="*/ 0 w 24384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6858000">
                <a:moveTo>
                  <a:pt x="0" y="0"/>
                </a:moveTo>
                <a:lnTo>
                  <a:pt x="24384000" y="0"/>
                </a:lnTo>
                <a:lnTo>
                  <a:pt x="24384000" y="6858000"/>
                </a:lnTo>
                <a:lnTo>
                  <a:pt x="1771632" y="6858000"/>
                </a:lnTo>
                <a:lnTo>
                  <a:pt x="1771632" y="5971290"/>
                </a:lnTo>
                <a:lnTo>
                  <a:pt x="884921" y="5971290"/>
                </a:lnTo>
                <a:lnTo>
                  <a:pt x="884921" y="6858000"/>
                </a:lnTo>
                <a:lnTo>
                  <a:pt x="0" y="6858000"/>
                </a:lnTo>
                <a:close/>
              </a:path>
            </a:pathLst>
          </a:custGeom>
          <a:solidFill>
            <a:schemeClr val="accent6"/>
          </a:solidFill>
        </p:spPr>
        <p:txBody>
          <a:bodyPr wrap="square" lIns="91439" tIns="45719" rIns="91439" bIns="45719">
            <a:noAutofit/>
          </a:bodyPr>
          <a:lstStyle>
            <a:lvl1pPr algn="ctr">
              <a:defRPr b="0" i="0"/>
            </a:lvl1pPr>
          </a:lstStyle>
          <a:p>
            <a:endParaRPr/>
          </a:p>
        </p:txBody>
      </p:sp>
      <p:pic>
        <p:nvPicPr>
          <p:cNvPr id="1281"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5" name="Image">
            <a:extLst>
              <a:ext uri="{FF2B5EF4-FFF2-40B4-BE49-F238E27FC236}">
                <a16:creationId xmlns:a16="http://schemas.microsoft.com/office/drawing/2014/main" id="{DE93B17F-9C7C-4606-A805-1085D0915FE6}"/>
              </a:ext>
            </a:extLst>
          </p:cNvPr>
          <p:cNvSpPr>
            <a:spLocks noGrp="1"/>
          </p:cNvSpPr>
          <p:nvPr>
            <p:ph type="pic" idx="43"/>
          </p:nvPr>
        </p:nvSpPr>
        <p:spPr>
          <a:xfrm>
            <a:off x="0" y="0"/>
            <a:ext cx="24384000" cy="6858000"/>
          </a:xfrm>
          <a:prstGeom prst="rect">
            <a:avLst/>
          </a:prstGeom>
          <a:solidFill>
            <a:schemeClr val="accent6"/>
          </a:solidFill>
        </p:spPr>
        <p:txBody>
          <a:bodyPr lIns="91439" tIns="45719" rIns="91439" bIns="45719">
            <a:noAutofit/>
          </a:bodyPr>
          <a:lstStyle>
            <a:lvl1pPr algn="ctr">
              <a:defRPr b="0" i="0"/>
            </a:lvl1pPr>
          </a:lstStyle>
          <a:p>
            <a:endParaRPr/>
          </a:p>
        </p:txBody>
      </p:sp>
    </p:spTree>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 imag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87A391A-598C-425B-99C3-8EE579FBBECD}"/>
              </a:ext>
            </a:extLst>
          </p:cNvPr>
          <p:cNvSpPr>
            <a:spLocks noGrp="1"/>
          </p:cNvSpPr>
          <p:nvPr>
            <p:ph type="pic" idx="43"/>
          </p:nvPr>
        </p:nvSpPr>
        <p:spPr>
          <a:xfrm>
            <a:off x="0" y="0"/>
            <a:ext cx="8128000" cy="13716000"/>
          </a:xfrm>
          <a:custGeom>
            <a:avLst/>
            <a:gdLst>
              <a:gd name="connsiteX0" fmla="*/ 0 w 8128000"/>
              <a:gd name="connsiteY0" fmla="*/ 0 h 13716000"/>
              <a:gd name="connsiteX1" fmla="*/ 8128000 w 8128000"/>
              <a:gd name="connsiteY1" fmla="*/ 0 h 13716000"/>
              <a:gd name="connsiteX2" fmla="*/ 8128000 w 8128000"/>
              <a:gd name="connsiteY2" fmla="*/ 13716000 h 13716000"/>
              <a:gd name="connsiteX3" fmla="*/ 1771632 w 8128000"/>
              <a:gd name="connsiteY3" fmla="*/ 13716000 h 13716000"/>
              <a:gd name="connsiteX4" fmla="*/ 1771632 w 8128000"/>
              <a:gd name="connsiteY4" fmla="*/ 12829289 h 13716000"/>
              <a:gd name="connsiteX5" fmla="*/ 884921 w 8128000"/>
              <a:gd name="connsiteY5" fmla="*/ 12829289 h 13716000"/>
              <a:gd name="connsiteX6" fmla="*/ 884921 w 8128000"/>
              <a:gd name="connsiteY6" fmla="*/ 13716000 h 13716000"/>
              <a:gd name="connsiteX7" fmla="*/ 0 w 8128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13716000">
                <a:moveTo>
                  <a:pt x="0" y="0"/>
                </a:moveTo>
                <a:lnTo>
                  <a:pt x="8128000" y="0"/>
                </a:lnTo>
                <a:lnTo>
                  <a:pt x="8128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b="0" i="0"/>
            </a:lvl1pPr>
          </a:lstStyle>
          <a:p>
            <a:endParaRPr/>
          </a:p>
        </p:txBody>
      </p:sp>
      <p:pic>
        <p:nvPicPr>
          <p:cNvPr id="1291"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Image">
            <a:extLst>
              <a:ext uri="{FF2B5EF4-FFF2-40B4-BE49-F238E27FC236}">
                <a16:creationId xmlns:a16="http://schemas.microsoft.com/office/drawing/2014/main" id="{C2AA2744-133E-4368-AC11-796BB9C236AE}"/>
              </a:ext>
            </a:extLst>
          </p:cNvPr>
          <p:cNvSpPr>
            <a:spLocks noGrp="1"/>
          </p:cNvSpPr>
          <p:nvPr>
            <p:ph type="pic" idx="44"/>
          </p:nvPr>
        </p:nvSpPr>
        <p:spPr>
          <a:xfrm>
            <a:off x="8128000" y="0"/>
            <a:ext cx="8128000" cy="13716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1" name="Image">
            <a:extLst>
              <a:ext uri="{FF2B5EF4-FFF2-40B4-BE49-F238E27FC236}">
                <a16:creationId xmlns:a16="http://schemas.microsoft.com/office/drawing/2014/main" id="{DEC7FD1D-C2B7-4387-9831-15C2109862C7}"/>
              </a:ext>
            </a:extLst>
          </p:cNvPr>
          <p:cNvSpPr>
            <a:spLocks noGrp="1"/>
          </p:cNvSpPr>
          <p:nvPr>
            <p:ph type="pic" idx="45"/>
          </p:nvPr>
        </p:nvSpPr>
        <p:spPr>
          <a:xfrm>
            <a:off x="16256000" y="0"/>
            <a:ext cx="8128000" cy="13716000"/>
          </a:xfrm>
          <a:prstGeom prst="rect">
            <a:avLst/>
          </a:prstGeom>
          <a:solidFill>
            <a:schemeClr val="accent6"/>
          </a:solidFill>
        </p:spPr>
        <p:txBody>
          <a:bodyPr lIns="91439" tIns="45719" rIns="91439" bIns="45719">
            <a:noAutofit/>
          </a:bodyPr>
          <a:lstStyle>
            <a:lvl1pPr algn="ctr">
              <a:defRPr b="0" i="0"/>
            </a:lvl1pPr>
          </a:lstStyle>
          <a:p>
            <a:endParaRPr/>
          </a:p>
        </p:txBody>
      </p:sp>
    </p:spTree>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3 images (spaced)">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A91F8E26-6944-4322-9D0B-25F2B0F84FE1}"/>
              </a:ext>
            </a:extLst>
          </p:cNvPr>
          <p:cNvSpPr>
            <a:spLocks noGrp="1"/>
          </p:cNvSpPr>
          <p:nvPr>
            <p:ph type="pic" idx="45"/>
          </p:nvPr>
        </p:nvSpPr>
        <p:spPr>
          <a:xfrm>
            <a:off x="0" y="9144000"/>
            <a:ext cx="24384000" cy="4572000"/>
          </a:xfrm>
          <a:custGeom>
            <a:avLst/>
            <a:gdLst>
              <a:gd name="connsiteX0" fmla="*/ 0 w 24384000"/>
              <a:gd name="connsiteY0" fmla="*/ 0 h 4572000"/>
              <a:gd name="connsiteX1" fmla="*/ 24384000 w 24384000"/>
              <a:gd name="connsiteY1" fmla="*/ 0 h 4572000"/>
              <a:gd name="connsiteX2" fmla="*/ 24384000 w 24384000"/>
              <a:gd name="connsiteY2" fmla="*/ 4572000 h 4572000"/>
              <a:gd name="connsiteX3" fmla="*/ 1771632 w 24384000"/>
              <a:gd name="connsiteY3" fmla="*/ 4572000 h 4572000"/>
              <a:gd name="connsiteX4" fmla="*/ 1771632 w 24384000"/>
              <a:gd name="connsiteY4" fmla="*/ 3685289 h 4572000"/>
              <a:gd name="connsiteX5" fmla="*/ 884921 w 24384000"/>
              <a:gd name="connsiteY5" fmla="*/ 3685289 h 4572000"/>
              <a:gd name="connsiteX6" fmla="*/ 884921 w 24384000"/>
              <a:gd name="connsiteY6" fmla="*/ 4572000 h 4572000"/>
              <a:gd name="connsiteX7" fmla="*/ 0 w 24384000"/>
              <a:gd name="connsiteY7"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4572000">
                <a:moveTo>
                  <a:pt x="0" y="0"/>
                </a:moveTo>
                <a:lnTo>
                  <a:pt x="24384000" y="0"/>
                </a:lnTo>
                <a:lnTo>
                  <a:pt x="24384000" y="4572000"/>
                </a:lnTo>
                <a:lnTo>
                  <a:pt x="1771632" y="4572000"/>
                </a:lnTo>
                <a:lnTo>
                  <a:pt x="1771632" y="3685289"/>
                </a:lnTo>
                <a:lnTo>
                  <a:pt x="884921" y="3685289"/>
                </a:lnTo>
                <a:lnTo>
                  <a:pt x="884921" y="4572000"/>
                </a:lnTo>
                <a:lnTo>
                  <a:pt x="0" y="4572000"/>
                </a:lnTo>
                <a:close/>
              </a:path>
            </a:pathLst>
          </a:custGeom>
          <a:solidFill>
            <a:schemeClr val="accent6"/>
          </a:solidFill>
        </p:spPr>
        <p:txBody>
          <a:bodyPr wrap="square" lIns="91439" tIns="45719" rIns="91439" bIns="45719">
            <a:noAutofit/>
          </a:bodyPr>
          <a:lstStyle>
            <a:lvl1pPr algn="ctr">
              <a:defRPr b="0" i="0"/>
            </a:lvl1pPr>
          </a:lstStyle>
          <a:p>
            <a:endParaRPr/>
          </a:p>
        </p:txBody>
      </p:sp>
      <p:pic>
        <p:nvPicPr>
          <p:cNvPr id="1301"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Image">
            <a:extLst>
              <a:ext uri="{FF2B5EF4-FFF2-40B4-BE49-F238E27FC236}">
                <a16:creationId xmlns:a16="http://schemas.microsoft.com/office/drawing/2014/main" id="{F6383850-80EF-40B8-BAE9-81FD6D4825EE}"/>
              </a:ext>
            </a:extLst>
          </p:cNvPr>
          <p:cNvSpPr>
            <a:spLocks noGrp="1"/>
          </p:cNvSpPr>
          <p:nvPr>
            <p:ph type="pic" idx="43"/>
          </p:nvPr>
        </p:nvSpPr>
        <p:spPr>
          <a:xfrm>
            <a:off x="0" y="0"/>
            <a:ext cx="24384000" cy="4572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0" name="Image">
            <a:extLst>
              <a:ext uri="{FF2B5EF4-FFF2-40B4-BE49-F238E27FC236}">
                <a16:creationId xmlns:a16="http://schemas.microsoft.com/office/drawing/2014/main" id="{3829208A-8E0A-45A3-983C-3EDC01D30127}"/>
              </a:ext>
            </a:extLst>
          </p:cNvPr>
          <p:cNvSpPr>
            <a:spLocks noGrp="1"/>
          </p:cNvSpPr>
          <p:nvPr>
            <p:ph type="pic" idx="44"/>
          </p:nvPr>
        </p:nvSpPr>
        <p:spPr>
          <a:xfrm>
            <a:off x="0" y="4572000"/>
            <a:ext cx="24384000" cy="4572000"/>
          </a:xfrm>
          <a:prstGeom prst="rect">
            <a:avLst/>
          </a:prstGeom>
          <a:solidFill>
            <a:schemeClr val="accent6"/>
          </a:solidFill>
        </p:spPr>
        <p:txBody>
          <a:bodyPr lIns="91439" tIns="45719" rIns="91439" bIns="45719">
            <a:noAutofit/>
          </a:bodyPr>
          <a:lstStyle>
            <a:lvl1pPr algn="ctr">
              <a:defRPr b="0" i="0"/>
            </a:lvl1pPr>
          </a:lstStyle>
          <a:p>
            <a:endParaRPr/>
          </a:p>
        </p:txBody>
      </p:sp>
    </p:spTree>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4 imag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E3F080CD-B8F8-4773-9C2E-C61F3BE378D5}"/>
              </a:ext>
            </a:extLst>
          </p:cNvPr>
          <p:cNvSpPr>
            <a:spLocks noGrp="1"/>
          </p:cNvSpPr>
          <p:nvPr>
            <p:ph type="pic" idx="45"/>
          </p:nvPr>
        </p:nvSpPr>
        <p:spPr>
          <a:xfrm>
            <a:off x="0" y="685800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1771632 w 12192000"/>
              <a:gd name="connsiteY3" fmla="*/ 6858000 h 6858000"/>
              <a:gd name="connsiteX4" fmla="*/ 1771632 w 12192000"/>
              <a:gd name="connsiteY4" fmla="*/ 5971289 h 6858000"/>
              <a:gd name="connsiteX5" fmla="*/ 884921 w 12192000"/>
              <a:gd name="connsiteY5" fmla="*/ 5971289 h 6858000"/>
              <a:gd name="connsiteX6" fmla="*/ 884921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b="0" i="0"/>
            </a:lvl1pPr>
          </a:lstStyle>
          <a:p>
            <a:endParaRPr/>
          </a:p>
        </p:txBody>
      </p:sp>
      <p:pic>
        <p:nvPicPr>
          <p:cNvPr id="1313"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7" name="Image">
            <a:extLst>
              <a:ext uri="{FF2B5EF4-FFF2-40B4-BE49-F238E27FC236}">
                <a16:creationId xmlns:a16="http://schemas.microsoft.com/office/drawing/2014/main" id="{32CC2756-A8E3-4E1A-8F09-098CC97F4BFA}"/>
              </a:ext>
            </a:extLst>
          </p:cNvPr>
          <p:cNvSpPr>
            <a:spLocks noGrp="1"/>
          </p:cNvSpPr>
          <p:nvPr>
            <p:ph type="pic" idx="43"/>
          </p:nvPr>
        </p:nvSpPr>
        <p:spPr>
          <a:xfrm>
            <a:off x="0" y="0"/>
            <a:ext cx="12192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8" name="Image">
            <a:extLst>
              <a:ext uri="{FF2B5EF4-FFF2-40B4-BE49-F238E27FC236}">
                <a16:creationId xmlns:a16="http://schemas.microsoft.com/office/drawing/2014/main" id="{54B79ADC-167A-46BA-A8FA-840D0E700747}"/>
              </a:ext>
            </a:extLst>
          </p:cNvPr>
          <p:cNvSpPr>
            <a:spLocks noGrp="1"/>
          </p:cNvSpPr>
          <p:nvPr>
            <p:ph type="pic" idx="44"/>
          </p:nvPr>
        </p:nvSpPr>
        <p:spPr>
          <a:xfrm>
            <a:off x="12192000" y="0"/>
            <a:ext cx="12192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0" name="Image">
            <a:extLst>
              <a:ext uri="{FF2B5EF4-FFF2-40B4-BE49-F238E27FC236}">
                <a16:creationId xmlns:a16="http://schemas.microsoft.com/office/drawing/2014/main" id="{71C9E816-689B-46E1-8ACE-02342821471D}"/>
              </a:ext>
            </a:extLst>
          </p:cNvPr>
          <p:cNvSpPr>
            <a:spLocks noGrp="1"/>
          </p:cNvSpPr>
          <p:nvPr>
            <p:ph type="pic" idx="46"/>
          </p:nvPr>
        </p:nvSpPr>
        <p:spPr>
          <a:xfrm>
            <a:off x="12192000" y="6858000"/>
            <a:ext cx="12192000" cy="6858000"/>
          </a:xfrm>
          <a:prstGeom prst="rect">
            <a:avLst/>
          </a:prstGeom>
          <a:solidFill>
            <a:schemeClr val="accent6"/>
          </a:solidFill>
        </p:spPr>
        <p:txBody>
          <a:bodyPr lIns="91439" tIns="45719" rIns="91439" bIns="45719">
            <a:noAutofit/>
          </a:bodyPr>
          <a:lstStyle>
            <a:lvl1pPr algn="ctr">
              <a:defRPr b="0" i="0"/>
            </a:lvl1pPr>
          </a:lstStyle>
          <a:p>
            <a:endParaRPr/>
          </a:p>
        </p:txBody>
      </p:sp>
    </p:spTree>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6 images">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EA91B32E-860B-4264-AB88-97263131DE08}"/>
              </a:ext>
            </a:extLst>
          </p:cNvPr>
          <p:cNvSpPr>
            <a:spLocks noGrp="1"/>
          </p:cNvSpPr>
          <p:nvPr>
            <p:ph type="pic" idx="47"/>
          </p:nvPr>
        </p:nvSpPr>
        <p:spPr>
          <a:xfrm>
            <a:off x="0" y="6858000"/>
            <a:ext cx="8128000" cy="6858000"/>
          </a:xfrm>
          <a:custGeom>
            <a:avLst/>
            <a:gdLst>
              <a:gd name="connsiteX0" fmla="*/ 884921 w 8128000"/>
              <a:gd name="connsiteY0" fmla="*/ 5971288 h 6858000"/>
              <a:gd name="connsiteX1" fmla="*/ 884921 w 8128000"/>
              <a:gd name="connsiteY1" fmla="*/ 6857999 h 6858000"/>
              <a:gd name="connsiteX2" fmla="*/ 1771632 w 8128000"/>
              <a:gd name="connsiteY2" fmla="*/ 6857999 h 6858000"/>
              <a:gd name="connsiteX3" fmla="*/ 1771632 w 8128000"/>
              <a:gd name="connsiteY3" fmla="*/ 5971288 h 6858000"/>
              <a:gd name="connsiteX4" fmla="*/ 0 w 8128000"/>
              <a:gd name="connsiteY4" fmla="*/ 0 h 6858000"/>
              <a:gd name="connsiteX5" fmla="*/ 8128000 w 8128000"/>
              <a:gd name="connsiteY5" fmla="*/ 0 h 6858000"/>
              <a:gd name="connsiteX6" fmla="*/ 8128000 w 8128000"/>
              <a:gd name="connsiteY6" fmla="*/ 6858000 h 6858000"/>
              <a:gd name="connsiteX7" fmla="*/ 0 w 8128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6858000">
                <a:moveTo>
                  <a:pt x="884921" y="5971288"/>
                </a:moveTo>
                <a:lnTo>
                  <a:pt x="884921" y="6857999"/>
                </a:lnTo>
                <a:lnTo>
                  <a:pt x="1771632" y="6857999"/>
                </a:lnTo>
                <a:lnTo>
                  <a:pt x="1771632" y="5971288"/>
                </a:lnTo>
                <a:close/>
                <a:moveTo>
                  <a:pt x="0" y="0"/>
                </a:moveTo>
                <a:lnTo>
                  <a:pt x="8128000" y="0"/>
                </a:lnTo>
                <a:lnTo>
                  <a:pt x="8128000" y="6858000"/>
                </a:lnTo>
                <a:lnTo>
                  <a:pt x="0" y="6858000"/>
                </a:lnTo>
                <a:close/>
              </a:path>
            </a:pathLst>
          </a:custGeom>
          <a:solidFill>
            <a:schemeClr val="accent6"/>
          </a:solidFill>
        </p:spPr>
        <p:txBody>
          <a:bodyPr wrap="square" lIns="91439" tIns="45719" rIns="91439" bIns="45719">
            <a:noAutofit/>
          </a:bodyPr>
          <a:lstStyle>
            <a:lvl1pPr algn="ctr">
              <a:defRPr b="0" i="0"/>
            </a:lvl1pPr>
          </a:lstStyle>
          <a:p>
            <a:endParaRPr/>
          </a:p>
        </p:txBody>
      </p:sp>
      <p:pic>
        <p:nvPicPr>
          <p:cNvPr id="1283"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84" name="Slide Number"/>
          <p:cNvSpPr txBox="1">
            <a:spLocks noGrp="1"/>
          </p:cNvSpPr>
          <p:nvPr>
            <p:ph type="sldNum" sz="quarter" idx="2"/>
          </p:nvPr>
        </p:nvSpPr>
        <p:spPr>
          <a:xfrm>
            <a:off x="17472449" y="12513311"/>
            <a:ext cx="434847" cy="398779"/>
          </a:xfrm>
          <a:prstGeom prst="rect">
            <a:avLst/>
          </a:prstGeom>
        </p:spPr>
        <p:txBody>
          <a:bodyPr/>
          <a:lstStyle>
            <a:lvl1pPr algn="l" defTabSz="822960">
              <a:lnSpc>
                <a:spcPct val="130000"/>
              </a:lnSpc>
              <a:defRPr sz="2400" b="0" i="0">
                <a:solidFill>
                  <a:schemeClr val="accent1">
                    <a:lumOff val="-57413"/>
                  </a:schemeClr>
                </a:solidFill>
              </a:defRPr>
            </a:lvl1pPr>
          </a:lstStyle>
          <a:p>
            <a:fld id="{86CB4B4D-7CA3-9044-876B-883B54F8677D}" type="slidenum">
              <a:rPr lang="en-DE" smtClean="0"/>
              <a:pPr/>
              <a:t>‹#›</a:t>
            </a:fld>
            <a:endParaRPr lang="en-DE"/>
          </a:p>
        </p:txBody>
      </p:sp>
      <p:sp>
        <p:nvSpPr>
          <p:cNvPr id="10" name="Image">
            <a:extLst>
              <a:ext uri="{FF2B5EF4-FFF2-40B4-BE49-F238E27FC236}">
                <a16:creationId xmlns:a16="http://schemas.microsoft.com/office/drawing/2014/main" id="{4B848CD1-BE9C-41F9-8745-1AB328ADF9AF}"/>
              </a:ext>
            </a:extLst>
          </p:cNvPr>
          <p:cNvSpPr>
            <a:spLocks noGrp="1"/>
          </p:cNvSpPr>
          <p:nvPr>
            <p:ph type="pic" idx="44"/>
          </p:nvPr>
        </p:nvSpPr>
        <p:spPr>
          <a:xfrm>
            <a:off x="0" y="0"/>
            <a:ext cx="8128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6" name="Image">
            <a:extLst>
              <a:ext uri="{FF2B5EF4-FFF2-40B4-BE49-F238E27FC236}">
                <a16:creationId xmlns:a16="http://schemas.microsoft.com/office/drawing/2014/main" id="{4E9CCDBD-5E9C-4E60-9CF9-7018DC9C5B88}"/>
              </a:ext>
            </a:extLst>
          </p:cNvPr>
          <p:cNvSpPr>
            <a:spLocks noGrp="1"/>
          </p:cNvSpPr>
          <p:nvPr>
            <p:ph type="pic" idx="45"/>
          </p:nvPr>
        </p:nvSpPr>
        <p:spPr>
          <a:xfrm>
            <a:off x="8128000" y="0"/>
            <a:ext cx="8128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7" name="Image">
            <a:extLst>
              <a:ext uri="{FF2B5EF4-FFF2-40B4-BE49-F238E27FC236}">
                <a16:creationId xmlns:a16="http://schemas.microsoft.com/office/drawing/2014/main" id="{F85AB4D9-6EF6-4BB1-A384-0991BF7C7A1A}"/>
              </a:ext>
            </a:extLst>
          </p:cNvPr>
          <p:cNvSpPr>
            <a:spLocks noGrp="1"/>
          </p:cNvSpPr>
          <p:nvPr>
            <p:ph type="pic" idx="46"/>
          </p:nvPr>
        </p:nvSpPr>
        <p:spPr>
          <a:xfrm>
            <a:off x="16256000" y="0"/>
            <a:ext cx="8128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9" name="Image">
            <a:extLst>
              <a:ext uri="{FF2B5EF4-FFF2-40B4-BE49-F238E27FC236}">
                <a16:creationId xmlns:a16="http://schemas.microsoft.com/office/drawing/2014/main" id="{302AB09B-2000-42F5-A39F-B0AAA8C6A05A}"/>
              </a:ext>
            </a:extLst>
          </p:cNvPr>
          <p:cNvSpPr>
            <a:spLocks noGrp="1"/>
          </p:cNvSpPr>
          <p:nvPr>
            <p:ph type="pic" idx="48"/>
          </p:nvPr>
        </p:nvSpPr>
        <p:spPr>
          <a:xfrm>
            <a:off x="8128000" y="6858000"/>
            <a:ext cx="8128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0" name="Image">
            <a:extLst>
              <a:ext uri="{FF2B5EF4-FFF2-40B4-BE49-F238E27FC236}">
                <a16:creationId xmlns:a16="http://schemas.microsoft.com/office/drawing/2014/main" id="{8CA0A397-2712-4534-845B-08106BC8B75F}"/>
              </a:ext>
            </a:extLst>
          </p:cNvPr>
          <p:cNvSpPr>
            <a:spLocks noGrp="1"/>
          </p:cNvSpPr>
          <p:nvPr>
            <p:ph type="pic" idx="49"/>
          </p:nvPr>
        </p:nvSpPr>
        <p:spPr>
          <a:xfrm>
            <a:off x="16256000" y="6858000"/>
            <a:ext cx="8128000" cy="6858000"/>
          </a:xfrm>
          <a:prstGeom prst="rect">
            <a:avLst/>
          </a:prstGeom>
          <a:solidFill>
            <a:schemeClr val="accent6"/>
          </a:solidFill>
        </p:spPr>
        <p:txBody>
          <a:bodyPr lIns="91439" tIns="45719" rIns="91439" bIns="45719">
            <a:noAutofit/>
          </a:bodyPr>
          <a:lstStyle>
            <a:lvl1pPr algn="ctr">
              <a:defRPr b="0" i="0"/>
            </a:lvl1pPr>
          </a:lstStyle>
          <a:p>
            <a:endParaRPr/>
          </a:p>
        </p:txBody>
      </p:sp>
    </p:spTree>
    <p:extLst>
      <p:ext uri="{BB962C8B-B14F-4D97-AF65-F5344CB8AC3E}">
        <p14:creationId xmlns:p14="http://schemas.microsoft.com/office/powerpoint/2010/main" val="3417449176"/>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8 images (spaced)">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AD4D7521-3C1D-4E84-8B27-F41A085468B7}"/>
              </a:ext>
            </a:extLst>
          </p:cNvPr>
          <p:cNvSpPr>
            <a:spLocks noGrp="1"/>
          </p:cNvSpPr>
          <p:nvPr>
            <p:ph type="pic" idx="50"/>
          </p:nvPr>
        </p:nvSpPr>
        <p:spPr>
          <a:xfrm>
            <a:off x="0" y="6858000"/>
            <a:ext cx="6096000" cy="6858000"/>
          </a:xfrm>
          <a:custGeom>
            <a:avLst/>
            <a:gdLst>
              <a:gd name="connsiteX0" fmla="*/ 884921 w 6096000"/>
              <a:gd name="connsiteY0" fmla="*/ 5971288 h 6858000"/>
              <a:gd name="connsiteX1" fmla="*/ 884921 w 6096000"/>
              <a:gd name="connsiteY1" fmla="*/ 6857999 h 6858000"/>
              <a:gd name="connsiteX2" fmla="*/ 1771632 w 6096000"/>
              <a:gd name="connsiteY2" fmla="*/ 6857999 h 6858000"/>
              <a:gd name="connsiteX3" fmla="*/ 1771632 w 6096000"/>
              <a:gd name="connsiteY3" fmla="*/ 5971288 h 6858000"/>
              <a:gd name="connsiteX4" fmla="*/ 0 w 6096000"/>
              <a:gd name="connsiteY4" fmla="*/ 0 h 6858000"/>
              <a:gd name="connsiteX5" fmla="*/ 6096000 w 6096000"/>
              <a:gd name="connsiteY5" fmla="*/ 0 h 6858000"/>
              <a:gd name="connsiteX6" fmla="*/ 6096000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884921" y="5971288"/>
                </a:moveTo>
                <a:lnTo>
                  <a:pt x="884921" y="6857999"/>
                </a:lnTo>
                <a:lnTo>
                  <a:pt x="1771632" y="6857999"/>
                </a:lnTo>
                <a:lnTo>
                  <a:pt x="1771632" y="5971288"/>
                </a:lnTo>
                <a:close/>
                <a:moveTo>
                  <a:pt x="0" y="0"/>
                </a:moveTo>
                <a:lnTo>
                  <a:pt x="6096000" y="0"/>
                </a:lnTo>
                <a:lnTo>
                  <a:pt x="6096000" y="6858000"/>
                </a:lnTo>
                <a:lnTo>
                  <a:pt x="0" y="6858000"/>
                </a:lnTo>
                <a:close/>
              </a:path>
            </a:pathLst>
          </a:custGeom>
          <a:solidFill>
            <a:schemeClr val="accent6"/>
          </a:solidFill>
        </p:spPr>
        <p:txBody>
          <a:bodyPr wrap="square" lIns="91439" tIns="45719" rIns="91439" bIns="45719">
            <a:noAutofit/>
          </a:bodyPr>
          <a:lstStyle>
            <a:lvl1pPr algn="ctr">
              <a:defRPr b="0" i="0"/>
            </a:lvl1pPr>
          </a:lstStyle>
          <a:p>
            <a:endParaRPr/>
          </a:p>
        </p:txBody>
      </p:sp>
      <p:sp>
        <p:nvSpPr>
          <p:cNvPr id="1298" name="Slide Number"/>
          <p:cNvSpPr txBox="1">
            <a:spLocks noGrp="1"/>
          </p:cNvSpPr>
          <p:nvPr>
            <p:ph type="sldNum" sz="quarter" idx="2"/>
          </p:nvPr>
        </p:nvSpPr>
        <p:spPr>
          <a:xfrm>
            <a:off x="17472449" y="12513311"/>
            <a:ext cx="434847" cy="398779"/>
          </a:xfrm>
          <a:prstGeom prst="rect">
            <a:avLst/>
          </a:prstGeom>
        </p:spPr>
        <p:txBody>
          <a:bodyPr/>
          <a:lstStyle>
            <a:lvl1pPr algn="l" defTabSz="822960">
              <a:lnSpc>
                <a:spcPct val="130000"/>
              </a:lnSpc>
              <a:defRPr sz="2400" b="0" i="0">
                <a:solidFill>
                  <a:schemeClr val="accent1">
                    <a:lumOff val="-57413"/>
                  </a:schemeClr>
                </a:solidFill>
              </a:defRPr>
            </a:lvl1pPr>
          </a:lstStyle>
          <a:p>
            <a:fld id="{86CB4B4D-7CA3-9044-876B-883B54F8677D}" type="slidenum">
              <a:rPr lang="en-DE" smtClean="0"/>
              <a:pPr/>
              <a:t>‹#›</a:t>
            </a:fld>
            <a:endParaRPr lang="en-DE"/>
          </a:p>
        </p:txBody>
      </p:sp>
      <p:pic>
        <p:nvPicPr>
          <p:cNvPr id="1297"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8" name="Image">
            <a:extLst>
              <a:ext uri="{FF2B5EF4-FFF2-40B4-BE49-F238E27FC236}">
                <a16:creationId xmlns:a16="http://schemas.microsoft.com/office/drawing/2014/main" id="{4525ABB3-881C-40DA-82CA-FB8C789DFF3F}"/>
              </a:ext>
            </a:extLst>
          </p:cNvPr>
          <p:cNvSpPr>
            <a:spLocks noGrp="1"/>
          </p:cNvSpPr>
          <p:nvPr>
            <p:ph type="pic" idx="46"/>
          </p:nvPr>
        </p:nvSpPr>
        <p:spPr>
          <a:xfrm>
            <a:off x="0" y="0"/>
            <a:ext cx="6096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9" name="Image">
            <a:extLst>
              <a:ext uri="{FF2B5EF4-FFF2-40B4-BE49-F238E27FC236}">
                <a16:creationId xmlns:a16="http://schemas.microsoft.com/office/drawing/2014/main" id="{C5B7488D-2A9D-4883-81AA-96806B797F60}"/>
              </a:ext>
            </a:extLst>
          </p:cNvPr>
          <p:cNvSpPr>
            <a:spLocks noGrp="1"/>
          </p:cNvSpPr>
          <p:nvPr>
            <p:ph type="pic" idx="47"/>
          </p:nvPr>
        </p:nvSpPr>
        <p:spPr>
          <a:xfrm>
            <a:off x="6096000" y="0"/>
            <a:ext cx="6096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0" name="Image">
            <a:extLst>
              <a:ext uri="{FF2B5EF4-FFF2-40B4-BE49-F238E27FC236}">
                <a16:creationId xmlns:a16="http://schemas.microsoft.com/office/drawing/2014/main" id="{77E83968-6CC8-49BE-826A-7373AAE7E3AC}"/>
              </a:ext>
            </a:extLst>
          </p:cNvPr>
          <p:cNvSpPr>
            <a:spLocks noGrp="1"/>
          </p:cNvSpPr>
          <p:nvPr>
            <p:ph type="pic" idx="48"/>
          </p:nvPr>
        </p:nvSpPr>
        <p:spPr>
          <a:xfrm>
            <a:off x="12192000" y="0"/>
            <a:ext cx="6096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1" name="Image">
            <a:extLst>
              <a:ext uri="{FF2B5EF4-FFF2-40B4-BE49-F238E27FC236}">
                <a16:creationId xmlns:a16="http://schemas.microsoft.com/office/drawing/2014/main" id="{51558AD7-91E5-4770-837D-ABCE4AA9F454}"/>
              </a:ext>
            </a:extLst>
          </p:cNvPr>
          <p:cNvSpPr>
            <a:spLocks noGrp="1"/>
          </p:cNvSpPr>
          <p:nvPr>
            <p:ph type="pic" idx="49"/>
          </p:nvPr>
        </p:nvSpPr>
        <p:spPr>
          <a:xfrm>
            <a:off x="18288000" y="0"/>
            <a:ext cx="6096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3" name="Image">
            <a:extLst>
              <a:ext uri="{FF2B5EF4-FFF2-40B4-BE49-F238E27FC236}">
                <a16:creationId xmlns:a16="http://schemas.microsoft.com/office/drawing/2014/main" id="{C007ADF5-9FA4-4DD2-B499-B996FEB53897}"/>
              </a:ext>
            </a:extLst>
          </p:cNvPr>
          <p:cNvSpPr>
            <a:spLocks noGrp="1"/>
          </p:cNvSpPr>
          <p:nvPr>
            <p:ph type="pic" idx="51"/>
          </p:nvPr>
        </p:nvSpPr>
        <p:spPr>
          <a:xfrm>
            <a:off x="6096000" y="6858000"/>
            <a:ext cx="6096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4" name="Image">
            <a:extLst>
              <a:ext uri="{FF2B5EF4-FFF2-40B4-BE49-F238E27FC236}">
                <a16:creationId xmlns:a16="http://schemas.microsoft.com/office/drawing/2014/main" id="{9C712040-3E13-4DCB-9FCD-861D5D35D892}"/>
              </a:ext>
            </a:extLst>
          </p:cNvPr>
          <p:cNvSpPr>
            <a:spLocks noGrp="1"/>
          </p:cNvSpPr>
          <p:nvPr>
            <p:ph type="pic" idx="52"/>
          </p:nvPr>
        </p:nvSpPr>
        <p:spPr>
          <a:xfrm>
            <a:off x="12192000" y="6858000"/>
            <a:ext cx="609600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5" name="Image">
            <a:extLst>
              <a:ext uri="{FF2B5EF4-FFF2-40B4-BE49-F238E27FC236}">
                <a16:creationId xmlns:a16="http://schemas.microsoft.com/office/drawing/2014/main" id="{3A878A3D-2F8F-4D4E-B9F5-4C90A1A07DFE}"/>
              </a:ext>
            </a:extLst>
          </p:cNvPr>
          <p:cNvSpPr>
            <a:spLocks noGrp="1"/>
          </p:cNvSpPr>
          <p:nvPr>
            <p:ph type="pic" idx="53"/>
          </p:nvPr>
        </p:nvSpPr>
        <p:spPr>
          <a:xfrm>
            <a:off x="18288000" y="6858000"/>
            <a:ext cx="6096000" cy="6858000"/>
          </a:xfrm>
          <a:prstGeom prst="rect">
            <a:avLst/>
          </a:prstGeom>
          <a:solidFill>
            <a:schemeClr val="accent6"/>
          </a:solidFill>
        </p:spPr>
        <p:txBody>
          <a:bodyPr lIns="91439" tIns="45719" rIns="91439" bIns="45719">
            <a:noAutofit/>
          </a:bodyPr>
          <a:lstStyle>
            <a:lvl1pPr algn="ctr">
              <a:defRPr b="0" i="0"/>
            </a:lvl1pPr>
          </a:lstStyle>
          <a:p>
            <a:endParaRPr/>
          </a:p>
        </p:txBody>
      </p:sp>
    </p:spTree>
    <p:extLst>
      <p:ext uri="{BB962C8B-B14F-4D97-AF65-F5344CB8AC3E}">
        <p14:creationId xmlns:p14="http://schemas.microsoft.com/office/powerpoint/2010/main" val="713604552"/>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ase study 1 image">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AF1018F8-F18E-4EC6-8ACE-9C0E9B96F9B2}"/>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b="0" i="0"/>
            </a:lvl1pPr>
          </a:lstStyle>
          <a:p>
            <a:endParaRPr/>
          </a:p>
        </p:txBody>
      </p:sp>
      <p:sp>
        <p:nvSpPr>
          <p:cNvPr id="1362" name="Rectangle"/>
          <p:cNvSpPr>
            <a:spLocks noGrp="1"/>
          </p:cNvSpPr>
          <p:nvPr>
            <p:ph type="body" sz="quarter" idx="22"/>
          </p:nvPr>
        </p:nvSpPr>
        <p:spPr>
          <a:xfrm>
            <a:off x="0" y="0"/>
            <a:ext cx="697561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i="0">
                <a:solidFill>
                  <a:schemeClr val="accent1">
                    <a:lumOff val="-57413"/>
                  </a:schemeClr>
                </a:solidFill>
              </a:defRPr>
            </a:lvl1pPr>
          </a:lstStyle>
          <a:p>
            <a:r>
              <a:t> </a:t>
            </a: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1" i="0" cap="all" spc="170">
                <a:solidFill>
                  <a:schemeClr val="accent1">
                    <a:lumOff val="-57413"/>
                  </a:schemeClr>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sticker</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675524"/>
            <a:ext cx="5189137" cy="307777"/>
          </a:xfrm>
        </p:spPr>
        <p:txBody>
          <a:bodyPr>
            <a:sp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Frog + [client name]</a:t>
            </a:r>
            <a:endParaRPr lang="de-DE"/>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423957"/>
            <a:ext cx="5189137" cy="1765548"/>
          </a:xfrm>
        </p:spPr>
        <p:txBody>
          <a:bodyPr wrap="square">
            <a:spAutoFit/>
          </a:bodyPr>
          <a:lstStyle>
            <a:lvl1pPr algn="l">
              <a:lnSpc>
                <a:spcPct val="140000"/>
              </a:lnSpc>
              <a:defRPr sz="2100" b="0" i="0">
                <a:solidFill>
                  <a:schemeClr val="bg1"/>
                </a:solidFill>
              </a:defRPr>
            </a:lvl1pPr>
          </a:lstStyle>
          <a:p>
            <a:pPr lvl="0"/>
            <a:r>
              <a:rPr lang="en-US"/>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1359774"/>
            <a:ext cx="5189137" cy="1711673"/>
          </a:xfrm>
        </p:spPr>
        <p:txBody>
          <a:bodyPr anchor="t"/>
          <a:lstStyle>
            <a:lvl1pPr>
              <a:defRPr sz="5800">
                <a:solidFill>
                  <a:schemeClr val="bg1"/>
                </a:solidFill>
              </a:defRPr>
            </a:lvl1pPr>
          </a:lstStyle>
          <a:p>
            <a:r>
              <a:rPr lang="en-US"/>
              <a:t>Program title on two lines</a:t>
            </a:r>
          </a:p>
        </p:txBody>
      </p:sp>
      <p:sp>
        <p:nvSpPr>
          <p:cNvPr id="9" name="Text Placeholder 14">
            <a:extLst>
              <a:ext uri="{FF2B5EF4-FFF2-40B4-BE49-F238E27FC236}">
                <a16:creationId xmlns:a16="http://schemas.microsoft.com/office/drawing/2014/main" id="{933EA18D-6198-594B-A7A5-FA07C8D6C4B6}"/>
              </a:ext>
            </a:extLst>
          </p:cNvPr>
          <p:cNvSpPr>
            <a:spLocks noGrp="1"/>
          </p:cNvSpPr>
          <p:nvPr>
            <p:ph type="body" sz="quarter" idx="48" hasCustomPrompt="1"/>
          </p:nvPr>
        </p:nvSpPr>
        <p:spPr>
          <a:xfrm>
            <a:off x="896491" y="5986076"/>
            <a:ext cx="5189137" cy="307777"/>
          </a:xfrm>
        </p:spPr>
        <p:txBody>
          <a:bodyPr>
            <a:sp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year]</a:t>
            </a:r>
            <a:endParaRPr lang="de-DE"/>
          </a:p>
        </p:txBody>
      </p:sp>
      <p:sp>
        <p:nvSpPr>
          <p:cNvPr id="2" name="TextBox 1">
            <a:extLst>
              <a:ext uri="{FF2B5EF4-FFF2-40B4-BE49-F238E27FC236}">
                <a16:creationId xmlns:a16="http://schemas.microsoft.com/office/drawing/2014/main" id="{035417C8-ED60-E743-83B5-7459B8151097}"/>
              </a:ext>
            </a:extLst>
          </p:cNvPr>
          <p:cNvSpPr txBox="1"/>
          <p:nvPr userDrawn="1"/>
        </p:nvSpPr>
        <p:spPr>
          <a:xfrm>
            <a:off x="2547257" y="-1698171"/>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US" sz="2800" b="0" i="0" u="none" strike="noStrike" cap="none" spc="0" normalizeH="0" baseline="0">
              <a:ln>
                <a:noFill/>
              </a:ln>
              <a:solidFill>
                <a:schemeClr val="accent1">
                  <a:lumOff val="-57413"/>
                </a:schemeClr>
              </a:solidFill>
              <a:effectLst/>
              <a:uFill>
                <a:solidFill>
                  <a:schemeClr val="accent1">
                    <a:lumOff val="-57413"/>
                  </a:schemeClr>
                </a:solidFill>
              </a:uFill>
              <a:latin typeface="Arial" panose="020B0604020202020204" pitchFamily="34" charset="0"/>
              <a:ea typeface="+mn-ea"/>
              <a:cs typeface="Arial" panose="020B0604020202020204" pitchFamily="34" charset="0"/>
              <a:sym typeface="BentonSansF Book"/>
            </a:endParaRPr>
          </a:p>
        </p:txBody>
      </p:sp>
    </p:spTree>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ase study grid">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2992029" y="0"/>
            <a:ext cx="11391971"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6" name="Image">
            <a:extLst>
              <a:ext uri="{FF2B5EF4-FFF2-40B4-BE49-F238E27FC236}">
                <a16:creationId xmlns:a16="http://schemas.microsoft.com/office/drawing/2014/main" id="{819256E1-B9B3-45AA-9F93-49F3CF8851D9}"/>
              </a:ext>
            </a:extLst>
          </p:cNvPr>
          <p:cNvSpPr>
            <a:spLocks noGrp="1"/>
          </p:cNvSpPr>
          <p:nvPr>
            <p:ph type="pic" idx="50"/>
          </p:nvPr>
        </p:nvSpPr>
        <p:spPr>
          <a:xfrm>
            <a:off x="6975611" y="0"/>
            <a:ext cx="6016419"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7" name="Image">
            <a:extLst>
              <a:ext uri="{FF2B5EF4-FFF2-40B4-BE49-F238E27FC236}">
                <a16:creationId xmlns:a16="http://schemas.microsoft.com/office/drawing/2014/main" id="{AA31D3B4-8DB6-4ABB-A684-918F256A9C08}"/>
              </a:ext>
            </a:extLst>
          </p:cNvPr>
          <p:cNvSpPr>
            <a:spLocks noGrp="1"/>
          </p:cNvSpPr>
          <p:nvPr>
            <p:ph type="pic" idx="51"/>
          </p:nvPr>
        </p:nvSpPr>
        <p:spPr>
          <a:xfrm>
            <a:off x="14810804" y="6858000"/>
            <a:ext cx="9573196"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9" name="Image">
            <a:extLst>
              <a:ext uri="{FF2B5EF4-FFF2-40B4-BE49-F238E27FC236}">
                <a16:creationId xmlns:a16="http://schemas.microsoft.com/office/drawing/2014/main" id="{2CFEE2B9-DCBA-4C9F-8A78-5A6B1A394A41}"/>
              </a:ext>
            </a:extLst>
          </p:cNvPr>
          <p:cNvSpPr>
            <a:spLocks noGrp="1"/>
          </p:cNvSpPr>
          <p:nvPr>
            <p:ph type="pic" idx="52"/>
          </p:nvPr>
        </p:nvSpPr>
        <p:spPr>
          <a:xfrm>
            <a:off x="7846044" y="6858000"/>
            <a:ext cx="696476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1" name="Picture Placeholder 20">
            <a:extLst>
              <a:ext uri="{FF2B5EF4-FFF2-40B4-BE49-F238E27FC236}">
                <a16:creationId xmlns:a16="http://schemas.microsoft.com/office/drawing/2014/main" id="{048B61C8-9433-4C3D-8E99-7FED1A94395E}"/>
              </a:ext>
            </a:extLst>
          </p:cNvPr>
          <p:cNvSpPr>
            <a:spLocks noGrp="1"/>
          </p:cNvSpPr>
          <p:nvPr>
            <p:ph type="pic" idx="53"/>
          </p:nvPr>
        </p:nvSpPr>
        <p:spPr>
          <a:xfrm>
            <a:off x="0" y="6858000"/>
            <a:ext cx="7846045" cy="6858000"/>
          </a:xfrm>
          <a:custGeom>
            <a:avLst/>
            <a:gdLst>
              <a:gd name="connsiteX0" fmla="*/ 0 w 7846045"/>
              <a:gd name="connsiteY0" fmla="*/ 0 h 6858000"/>
              <a:gd name="connsiteX1" fmla="*/ 7846045 w 7846045"/>
              <a:gd name="connsiteY1" fmla="*/ 0 h 6858000"/>
              <a:gd name="connsiteX2" fmla="*/ 7846045 w 7846045"/>
              <a:gd name="connsiteY2" fmla="*/ 6858000 h 6858000"/>
              <a:gd name="connsiteX3" fmla="*/ 1771632 w 7846045"/>
              <a:gd name="connsiteY3" fmla="*/ 6858000 h 6858000"/>
              <a:gd name="connsiteX4" fmla="*/ 1771632 w 7846045"/>
              <a:gd name="connsiteY4" fmla="*/ 5971289 h 6858000"/>
              <a:gd name="connsiteX5" fmla="*/ 884921 w 7846045"/>
              <a:gd name="connsiteY5" fmla="*/ 5971289 h 6858000"/>
              <a:gd name="connsiteX6" fmla="*/ 884921 w 7846045"/>
              <a:gd name="connsiteY6" fmla="*/ 6858000 h 6858000"/>
              <a:gd name="connsiteX7" fmla="*/ 0 w 784604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6045" h="6858000">
                <a:moveTo>
                  <a:pt x="0" y="0"/>
                </a:moveTo>
                <a:lnTo>
                  <a:pt x="7846045" y="0"/>
                </a:lnTo>
                <a:lnTo>
                  <a:pt x="7846045"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b="0" i="0"/>
            </a:lvl1pPr>
          </a:lstStyle>
          <a:p>
            <a:endParaRPr/>
          </a:p>
        </p:txBody>
      </p:sp>
      <p:sp>
        <p:nvSpPr>
          <p:cNvPr id="1362" name="Rectangle"/>
          <p:cNvSpPr>
            <a:spLocks noGrp="1"/>
          </p:cNvSpPr>
          <p:nvPr>
            <p:ph type="body" sz="quarter" idx="22"/>
          </p:nvPr>
        </p:nvSpPr>
        <p:spPr>
          <a:xfrm>
            <a:off x="0" y="0"/>
            <a:ext cx="697561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i="0">
                <a:solidFill>
                  <a:schemeClr val="accent1">
                    <a:lumOff val="-57413"/>
                  </a:schemeClr>
                </a:solidFill>
              </a:defRPr>
            </a:lvl1pPr>
          </a:lstStyle>
          <a:p>
            <a:r>
              <a:t> </a:t>
            </a: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1" i="0" cap="all" spc="170">
                <a:solidFill>
                  <a:schemeClr val="accent1">
                    <a:lumOff val="-57413"/>
                  </a:schemeClr>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sticker</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675529"/>
            <a:ext cx="5189137" cy="307777"/>
          </a:xfrm>
        </p:spPr>
        <p:txBody>
          <a:bodyPr>
            <a:sp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Frog + [client name]</a:t>
            </a:r>
            <a:endParaRPr lang="de-DE"/>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423957"/>
            <a:ext cx="5189137" cy="1765548"/>
          </a:xfrm>
        </p:spPr>
        <p:txBody>
          <a:bodyPr wrap="square">
            <a:spAutoFit/>
          </a:bodyPr>
          <a:lstStyle>
            <a:lvl1pPr algn="l">
              <a:lnSpc>
                <a:spcPct val="140000"/>
              </a:lnSpc>
              <a:defRPr sz="2100" b="0" i="0">
                <a:solidFill>
                  <a:schemeClr val="bg1"/>
                </a:solidFill>
              </a:defRPr>
            </a:lvl1pPr>
          </a:lstStyle>
          <a:p>
            <a:pPr lvl="0"/>
            <a:r>
              <a:rPr lang="en-US"/>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1406670"/>
            <a:ext cx="5189137" cy="1092201"/>
          </a:xfrm>
        </p:spPr>
        <p:txBody>
          <a:bodyPr anchor="t"/>
          <a:lstStyle>
            <a:lvl1pPr>
              <a:defRPr sz="5800">
                <a:solidFill>
                  <a:schemeClr val="bg1"/>
                </a:solidFill>
              </a:defRPr>
            </a:lvl1pPr>
          </a:lstStyle>
          <a:p>
            <a:r>
              <a:rPr lang="en-US"/>
              <a:t>Program title on two lines</a:t>
            </a:r>
          </a:p>
        </p:txBody>
      </p:sp>
      <p:sp>
        <p:nvSpPr>
          <p:cNvPr id="3" name="TextBox 2">
            <a:extLst>
              <a:ext uri="{FF2B5EF4-FFF2-40B4-BE49-F238E27FC236}">
                <a16:creationId xmlns:a16="http://schemas.microsoft.com/office/drawing/2014/main" id="{B8205C71-B74D-C34D-8A90-C7200F060C31}"/>
              </a:ext>
            </a:extLst>
          </p:cNvPr>
          <p:cNvSpPr txBox="1"/>
          <p:nvPr userDrawn="1"/>
        </p:nvSpPr>
        <p:spPr>
          <a:xfrm>
            <a:off x="5486400" y="-468923"/>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US" sz="2800" b="0" i="0" u="none" strike="noStrike" cap="none" spc="0" normalizeH="0" baseline="0">
              <a:ln>
                <a:noFill/>
              </a:ln>
              <a:solidFill>
                <a:schemeClr val="accent1">
                  <a:lumOff val="-57413"/>
                </a:schemeClr>
              </a:solidFill>
              <a:effectLst/>
              <a:uFill>
                <a:solidFill>
                  <a:schemeClr val="accent1">
                    <a:lumOff val="-57413"/>
                  </a:schemeClr>
                </a:solidFill>
              </a:uFill>
              <a:latin typeface="Arial" panose="020B0604020202020204" pitchFamily="34" charset="0"/>
              <a:ea typeface="+mn-ea"/>
              <a:cs typeface="Arial" panose="020B0604020202020204" pitchFamily="34" charset="0"/>
              <a:sym typeface="BentonSansF Book"/>
            </a:endParaRPr>
          </a:p>
        </p:txBody>
      </p:sp>
      <p:sp>
        <p:nvSpPr>
          <p:cNvPr id="28" name="Text Placeholder 14">
            <a:extLst>
              <a:ext uri="{FF2B5EF4-FFF2-40B4-BE49-F238E27FC236}">
                <a16:creationId xmlns:a16="http://schemas.microsoft.com/office/drawing/2014/main" id="{92446B25-04D5-D241-A16B-D2090C65AF1E}"/>
              </a:ext>
            </a:extLst>
          </p:cNvPr>
          <p:cNvSpPr>
            <a:spLocks noGrp="1"/>
          </p:cNvSpPr>
          <p:nvPr>
            <p:ph type="body" sz="quarter" idx="54" hasCustomPrompt="1"/>
          </p:nvPr>
        </p:nvSpPr>
        <p:spPr>
          <a:xfrm>
            <a:off x="873045" y="5868852"/>
            <a:ext cx="5189137" cy="307777"/>
          </a:xfrm>
        </p:spPr>
        <p:txBody>
          <a:bodyPr>
            <a:sp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Year]</a:t>
            </a:r>
            <a:endParaRPr lang="de-DE"/>
          </a:p>
        </p:txBody>
      </p:sp>
    </p:spTree>
    <p:extLst>
      <p:ext uri="{BB962C8B-B14F-4D97-AF65-F5344CB8AC3E}">
        <p14:creationId xmlns:p14="http://schemas.microsoft.com/office/powerpoint/2010/main" val="1736371646"/>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ase study ROI">
    <p:bg>
      <p:bgRef idx="1001">
        <a:schemeClr val="bg1"/>
      </p:bgRef>
    </p:bg>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2992029" y="0"/>
            <a:ext cx="11391971"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6" name="Image">
            <a:extLst>
              <a:ext uri="{FF2B5EF4-FFF2-40B4-BE49-F238E27FC236}">
                <a16:creationId xmlns:a16="http://schemas.microsoft.com/office/drawing/2014/main" id="{819256E1-B9B3-45AA-9F93-49F3CF8851D9}"/>
              </a:ext>
            </a:extLst>
          </p:cNvPr>
          <p:cNvSpPr>
            <a:spLocks noGrp="1"/>
          </p:cNvSpPr>
          <p:nvPr>
            <p:ph type="pic" idx="50"/>
          </p:nvPr>
        </p:nvSpPr>
        <p:spPr>
          <a:xfrm>
            <a:off x="6975611" y="0"/>
            <a:ext cx="6016419"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1" i="0" cap="all" spc="170">
                <a:solidFill>
                  <a:schemeClr val="accent1">
                    <a:lumOff val="-57413"/>
                  </a:schemeClr>
                </a:solidFill>
                <a:latin typeface="Arial" panose="020B0604020202020204" pitchFamily="34" charset="0"/>
                <a:ea typeface="Arial" panose="020B0604020202020204" pitchFamily="34" charset="0"/>
                <a:cs typeface="Arial" panose="020B0604020202020204" pitchFamily="34" charset="0"/>
                <a:sym typeface="BentonSansF Medium"/>
              </a:defRPr>
            </a:lvl1pPr>
          </a:lstStyle>
          <a:p>
            <a:r>
              <a:t>sticker</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675524"/>
            <a:ext cx="5189137" cy="307777"/>
          </a:xfrm>
        </p:spPr>
        <p:txBody>
          <a:bodyPr>
            <a:noAutofit/>
          </a:bodyPr>
          <a:lstStyle>
            <a:lvl1pPr>
              <a:lnSpc>
                <a:spcPct val="100000"/>
              </a:lnSpc>
              <a:defRPr sz="2000" b="0" i="0" cap="all" spc="200" baseline="0">
                <a:solidFill>
                  <a:schemeClr val="tx1"/>
                </a:solidFill>
                <a:latin typeface="Arial" panose="020B0604020202020204" pitchFamily="34" charset="0"/>
              </a:defRPr>
            </a:lvl1pPr>
          </a:lstStyle>
          <a:p>
            <a:pPr lvl="0"/>
            <a:r>
              <a:rPr lang="en-US"/>
              <a:t>Frog + [client name]</a:t>
            </a:r>
            <a:endParaRPr lang="de-DE"/>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447403"/>
            <a:ext cx="5189137" cy="1765548"/>
          </a:xfrm>
        </p:spPr>
        <p:txBody>
          <a:bodyPr wrap="square">
            <a:spAutoFit/>
          </a:bodyPr>
          <a:lstStyle>
            <a:lvl1pPr algn="l">
              <a:lnSpc>
                <a:spcPct val="140000"/>
              </a:lnSpc>
              <a:defRPr sz="2100" b="0" i="0">
                <a:solidFill>
                  <a:schemeClr val="tx1"/>
                </a:solidFill>
              </a:defRPr>
            </a:lvl1pPr>
          </a:lstStyle>
          <a:p>
            <a:pPr lvl="0"/>
            <a:r>
              <a:rPr lang="en-US"/>
              <a:t>What was the ask, and what did we deliver? What are the details that matter? What did we do to position our client for success? Did we win any awards? </a:t>
            </a:r>
          </a:p>
        </p:txBody>
      </p:sp>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1430117"/>
            <a:ext cx="5189137" cy="1092201"/>
          </a:xfrm>
        </p:spPr>
        <p:txBody>
          <a:bodyPr anchor="t"/>
          <a:lstStyle>
            <a:lvl1pPr>
              <a:defRPr sz="6000">
                <a:solidFill>
                  <a:schemeClr val="tx1"/>
                </a:solidFill>
              </a:defRPr>
            </a:lvl1pPr>
          </a:lstStyle>
          <a:p>
            <a:r>
              <a:rPr lang="en-US"/>
              <a:t>Program title on two lines</a:t>
            </a:r>
          </a:p>
        </p:txBody>
      </p:sp>
      <p:sp>
        <p:nvSpPr>
          <p:cNvPr id="18" name="Image">
            <a:extLst>
              <a:ext uri="{FF2B5EF4-FFF2-40B4-BE49-F238E27FC236}">
                <a16:creationId xmlns:a16="http://schemas.microsoft.com/office/drawing/2014/main" id="{D1B67A67-4A7B-4F0B-8C14-C06E289DE260}"/>
              </a:ext>
            </a:extLst>
          </p:cNvPr>
          <p:cNvSpPr>
            <a:spLocks noGrp="1"/>
          </p:cNvSpPr>
          <p:nvPr>
            <p:ph type="pic" idx="51"/>
          </p:nvPr>
        </p:nvSpPr>
        <p:spPr>
          <a:xfrm>
            <a:off x="17437733" y="6858000"/>
            <a:ext cx="6946266"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0" name="Text Placeholder 8">
            <a:extLst>
              <a:ext uri="{FF2B5EF4-FFF2-40B4-BE49-F238E27FC236}">
                <a16:creationId xmlns:a16="http://schemas.microsoft.com/office/drawing/2014/main" id="{092E60EA-B5EC-47CA-9303-FBA7CAAEE59C}"/>
              </a:ext>
            </a:extLst>
          </p:cNvPr>
          <p:cNvSpPr>
            <a:spLocks noGrp="1"/>
          </p:cNvSpPr>
          <p:nvPr>
            <p:ph type="body" sz="quarter" idx="27" hasCustomPrompt="1"/>
          </p:nvPr>
        </p:nvSpPr>
        <p:spPr>
          <a:xfrm>
            <a:off x="904127" y="10989817"/>
            <a:ext cx="4458485" cy="1399101"/>
          </a:xfrm>
        </p:spPr>
        <p:txBody>
          <a:bodyPr wrap="square">
            <a:spAutoFit/>
          </a:bodyPr>
          <a:lstStyle>
            <a:lvl1pPr>
              <a:lnSpc>
                <a:spcPct val="130000"/>
              </a:lnSpc>
              <a:defRPr lang="en-US" b="0" i="0" smtClean="0">
                <a:effectLst/>
                <a:latin typeface="Arial" panose="020B0604020202020204" pitchFamily="34" charset="0"/>
              </a:defRPr>
            </a:lvl1pPr>
          </a:lstStyle>
          <a:p>
            <a:r>
              <a:rPr lang="en-US">
                <a:solidFill>
                  <a:srgbClr val="FBFAFC"/>
                </a:solidFill>
                <a:effectLst/>
                <a:latin typeface="BentonSansF Book" panose="02000503040000020004" pitchFamily="2" charset="77"/>
              </a:rPr>
              <a:t>Describe a major milestone, result or statistic that occurred as a result of this program.</a:t>
            </a:r>
          </a:p>
        </p:txBody>
      </p:sp>
      <p:sp>
        <p:nvSpPr>
          <p:cNvPr id="22" name="Text Placeholder 8">
            <a:extLst>
              <a:ext uri="{FF2B5EF4-FFF2-40B4-BE49-F238E27FC236}">
                <a16:creationId xmlns:a16="http://schemas.microsoft.com/office/drawing/2014/main" id="{D501F795-3F98-41B2-B2D7-944A52DCE24B}"/>
              </a:ext>
            </a:extLst>
          </p:cNvPr>
          <p:cNvSpPr>
            <a:spLocks noGrp="1"/>
          </p:cNvSpPr>
          <p:nvPr>
            <p:ph type="body" sz="quarter" idx="29" hasCustomPrompt="1"/>
          </p:nvPr>
        </p:nvSpPr>
        <p:spPr>
          <a:xfrm>
            <a:off x="896168" y="10147391"/>
            <a:ext cx="4466444" cy="571501"/>
          </a:xfrm>
        </p:spPr>
        <p:txBody>
          <a:bodyPr wrap="square" anchor="t">
            <a:noAutofit/>
          </a:bodyPr>
          <a:lstStyle>
            <a:lvl1pPr>
              <a:lnSpc>
                <a:spcPct val="80000"/>
              </a:lnSpc>
              <a:defRPr sz="3800" b="0" i="0">
                <a:solidFill>
                  <a:schemeClr val="tx1"/>
                </a:solidFill>
                <a:latin typeface="Times New Roman" panose="02020603050405020304" pitchFamily="18" charset="0"/>
              </a:defRPr>
            </a:lvl1pPr>
          </a:lstStyle>
          <a:p>
            <a:pPr lvl="0"/>
            <a:r>
              <a:rPr lang="en-US"/>
              <a:t>Sub-title</a:t>
            </a:r>
            <a:endParaRPr lang="de-DE"/>
          </a:p>
        </p:txBody>
      </p:sp>
      <p:sp>
        <p:nvSpPr>
          <p:cNvPr id="27" name="Text Placeholder 8">
            <a:extLst>
              <a:ext uri="{FF2B5EF4-FFF2-40B4-BE49-F238E27FC236}">
                <a16:creationId xmlns:a16="http://schemas.microsoft.com/office/drawing/2014/main" id="{F80DCDAC-E344-4CBC-9729-01EEF321F20A}"/>
              </a:ext>
            </a:extLst>
          </p:cNvPr>
          <p:cNvSpPr>
            <a:spLocks noGrp="1"/>
          </p:cNvSpPr>
          <p:nvPr>
            <p:ph type="body" sz="quarter" idx="52" hasCustomPrompt="1"/>
          </p:nvPr>
        </p:nvSpPr>
        <p:spPr>
          <a:xfrm>
            <a:off x="11323928" y="10989817"/>
            <a:ext cx="4458485" cy="1399101"/>
          </a:xfrm>
        </p:spPr>
        <p:txBody>
          <a:bodyPr wrap="square">
            <a:spAutoFit/>
          </a:bodyPr>
          <a:lstStyle>
            <a:lvl1pPr>
              <a:lnSpc>
                <a:spcPct val="130000"/>
              </a:lnSpc>
              <a:defRPr lang="en-US" b="0" i="0" smtClean="0">
                <a:effectLst/>
                <a:latin typeface="Arial" panose="020B0604020202020204" pitchFamily="34" charset="0"/>
              </a:defRPr>
            </a:lvl1pPr>
          </a:lstStyle>
          <a:p>
            <a:r>
              <a:rPr lang="en-US">
                <a:solidFill>
                  <a:srgbClr val="FBFAFC"/>
                </a:solidFill>
                <a:effectLst/>
                <a:latin typeface="BentonSansF Book" panose="02000503040000020004" pitchFamily="2" charset="77"/>
              </a:rPr>
              <a:t>Describe a major milestone, result or statistic that occurred as a result of this program.</a:t>
            </a:r>
          </a:p>
        </p:txBody>
      </p:sp>
      <p:sp>
        <p:nvSpPr>
          <p:cNvPr id="28" name="Text Placeholder 8">
            <a:extLst>
              <a:ext uri="{FF2B5EF4-FFF2-40B4-BE49-F238E27FC236}">
                <a16:creationId xmlns:a16="http://schemas.microsoft.com/office/drawing/2014/main" id="{055D9B5B-7F4A-4DC4-A721-C207A43BC688}"/>
              </a:ext>
            </a:extLst>
          </p:cNvPr>
          <p:cNvSpPr>
            <a:spLocks noGrp="1"/>
          </p:cNvSpPr>
          <p:nvPr>
            <p:ph type="body" sz="quarter" idx="53" hasCustomPrompt="1"/>
          </p:nvPr>
        </p:nvSpPr>
        <p:spPr>
          <a:xfrm>
            <a:off x="11323928" y="10147391"/>
            <a:ext cx="4466444" cy="571501"/>
          </a:xfrm>
        </p:spPr>
        <p:txBody>
          <a:bodyPr wrap="square" anchor="t">
            <a:noAutofit/>
          </a:bodyPr>
          <a:lstStyle>
            <a:lvl1pPr>
              <a:lnSpc>
                <a:spcPct val="80000"/>
              </a:lnSpc>
              <a:defRPr sz="3800" b="0" i="0">
                <a:solidFill>
                  <a:schemeClr val="tx1"/>
                </a:solidFill>
                <a:latin typeface="Times New Roman" panose="02020603050405020304" pitchFamily="18" charset="0"/>
              </a:defRPr>
            </a:lvl1pPr>
          </a:lstStyle>
          <a:p>
            <a:pPr lvl="0"/>
            <a:r>
              <a:rPr lang="en-US"/>
              <a:t>Sub-title</a:t>
            </a:r>
            <a:endParaRPr lang="de-DE"/>
          </a:p>
        </p:txBody>
      </p:sp>
      <p:sp>
        <p:nvSpPr>
          <p:cNvPr id="29" name="Text Placeholder 8">
            <a:extLst>
              <a:ext uri="{FF2B5EF4-FFF2-40B4-BE49-F238E27FC236}">
                <a16:creationId xmlns:a16="http://schemas.microsoft.com/office/drawing/2014/main" id="{178D6417-BAFB-4FCB-AC2A-50719661C812}"/>
              </a:ext>
            </a:extLst>
          </p:cNvPr>
          <p:cNvSpPr>
            <a:spLocks noGrp="1"/>
          </p:cNvSpPr>
          <p:nvPr>
            <p:ph type="body" sz="quarter" idx="54" hasCustomPrompt="1"/>
          </p:nvPr>
        </p:nvSpPr>
        <p:spPr>
          <a:xfrm>
            <a:off x="6110048" y="10989817"/>
            <a:ext cx="4458485" cy="1399101"/>
          </a:xfrm>
        </p:spPr>
        <p:txBody>
          <a:bodyPr wrap="square">
            <a:spAutoFit/>
          </a:bodyPr>
          <a:lstStyle>
            <a:lvl1pPr>
              <a:lnSpc>
                <a:spcPct val="130000"/>
              </a:lnSpc>
              <a:defRPr lang="en-US" b="0" i="0" smtClean="0">
                <a:effectLst/>
                <a:latin typeface="Arial" panose="020B0604020202020204" pitchFamily="34" charset="0"/>
              </a:defRPr>
            </a:lvl1pPr>
          </a:lstStyle>
          <a:p>
            <a:r>
              <a:rPr lang="en-US">
                <a:solidFill>
                  <a:srgbClr val="FBFAFC"/>
                </a:solidFill>
                <a:effectLst/>
                <a:latin typeface="BentonSansF Book" panose="02000503040000020004" pitchFamily="2" charset="77"/>
              </a:rPr>
              <a:t>Describe a major milestone, result or statistic that occurred as a result of this program.</a:t>
            </a:r>
          </a:p>
        </p:txBody>
      </p:sp>
      <p:sp>
        <p:nvSpPr>
          <p:cNvPr id="30" name="Text Placeholder 8">
            <a:extLst>
              <a:ext uri="{FF2B5EF4-FFF2-40B4-BE49-F238E27FC236}">
                <a16:creationId xmlns:a16="http://schemas.microsoft.com/office/drawing/2014/main" id="{C97B1BD5-527D-4972-A299-DE57A7525A9D}"/>
              </a:ext>
            </a:extLst>
          </p:cNvPr>
          <p:cNvSpPr>
            <a:spLocks noGrp="1"/>
          </p:cNvSpPr>
          <p:nvPr>
            <p:ph type="body" sz="quarter" idx="55" hasCustomPrompt="1"/>
          </p:nvPr>
        </p:nvSpPr>
        <p:spPr>
          <a:xfrm>
            <a:off x="6110048" y="10147391"/>
            <a:ext cx="4466444" cy="571501"/>
          </a:xfrm>
        </p:spPr>
        <p:txBody>
          <a:bodyPr wrap="square" anchor="t">
            <a:noAutofit/>
          </a:bodyPr>
          <a:lstStyle>
            <a:lvl1pPr>
              <a:lnSpc>
                <a:spcPct val="80000"/>
              </a:lnSpc>
              <a:defRPr sz="3800" b="0" i="0">
                <a:solidFill>
                  <a:schemeClr val="tx1"/>
                </a:solidFill>
                <a:latin typeface="Times New Roman" panose="02020603050405020304" pitchFamily="18" charset="0"/>
              </a:defRPr>
            </a:lvl1pPr>
          </a:lstStyle>
          <a:p>
            <a:pPr lvl="0"/>
            <a:r>
              <a:rPr lang="en-US"/>
              <a:t>Sub-title</a:t>
            </a:r>
            <a:endParaRPr lang="de-DE"/>
          </a:p>
        </p:txBody>
      </p:sp>
      <p:sp>
        <p:nvSpPr>
          <p:cNvPr id="42" name="Text Placeholder 8">
            <a:extLst>
              <a:ext uri="{FF2B5EF4-FFF2-40B4-BE49-F238E27FC236}">
                <a16:creationId xmlns:a16="http://schemas.microsoft.com/office/drawing/2014/main" id="{BDD56744-C6D9-4CD1-BD1C-92B071667BA7}"/>
              </a:ext>
            </a:extLst>
          </p:cNvPr>
          <p:cNvSpPr>
            <a:spLocks noGrp="1"/>
          </p:cNvSpPr>
          <p:nvPr>
            <p:ph type="body" sz="quarter" idx="61" hasCustomPrompt="1"/>
          </p:nvPr>
        </p:nvSpPr>
        <p:spPr>
          <a:xfrm>
            <a:off x="12835317" y="9065046"/>
            <a:ext cx="1342069" cy="383888"/>
          </a:xfrm>
        </p:spPr>
        <p:txBody>
          <a:bodyPr wrap="square" anchor="t">
            <a:noAutofit/>
          </a:bodyPr>
          <a:lstStyle>
            <a:lvl1pPr>
              <a:lnSpc>
                <a:spcPct val="130000"/>
              </a:lnSpc>
              <a:defRPr sz="2100" b="0" i="0" cap="all" baseline="0">
                <a:solidFill>
                  <a:schemeClr val="tx1"/>
                </a:solidFill>
                <a:latin typeface="Arial" panose="020B0604020202020204" pitchFamily="34" charset="0"/>
              </a:defRPr>
            </a:lvl1pPr>
          </a:lstStyle>
          <a:p>
            <a:pPr lvl="0"/>
            <a:r>
              <a:rPr lang="en-US"/>
              <a:t>%</a:t>
            </a:r>
            <a:endParaRPr lang="de-DE"/>
          </a:p>
        </p:txBody>
      </p:sp>
      <p:sp>
        <p:nvSpPr>
          <p:cNvPr id="37" name="Text Placeholder 8">
            <a:extLst>
              <a:ext uri="{FF2B5EF4-FFF2-40B4-BE49-F238E27FC236}">
                <a16:creationId xmlns:a16="http://schemas.microsoft.com/office/drawing/2014/main" id="{7F0CDDC6-E225-4BCF-A674-95D69CD2FBC2}"/>
              </a:ext>
            </a:extLst>
          </p:cNvPr>
          <p:cNvSpPr>
            <a:spLocks noGrp="1"/>
          </p:cNvSpPr>
          <p:nvPr>
            <p:ph type="body" sz="quarter" idx="56" hasCustomPrompt="1"/>
          </p:nvPr>
        </p:nvSpPr>
        <p:spPr>
          <a:xfrm>
            <a:off x="884768" y="8431263"/>
            <a:ext cx="1231106" cy="1255728"/>
          </a:xfrm>
        </p:spPr>
        <p:txBody>
          <a:bodyPr wrap="none" anchor="t">
            <a:noAutofit/>
          </a:bodyPr>
          <a:lstStyle>
            <a:lvl1pPr algn="r">
              <a:lnSpc>
                <a:spcPct val="80000"/>
              </a:lnSpc>
              <a:defRPr sz="10200" b="0" i="0">
                <a:solidFill>
                  <a:schemeClr val="tx1"/>
                </a:solidFill>
                <a:latin typeface="Times New Roman" panose="02020603050405020304" pitchFamily="18" charset="0"/>
              </a:defRPr>
            </a:lvl1pPr>
          </a:lstStyle>
          <a:p>
            <a:pPr lvl="0"/>
            <a:r>
              <a:rPr lang="en-US"/>
              <a:t>$5</a:t>
            </a:r>
            <a:endParaRPr lang="de-DE"/>
          </a:p>
        </p:txBody>
      </p:sp>
      <p:sp>
        <p:nvSpPr>
          <p:cNvPr id="40" name="Text Placeholder 8">
            <a:extLst>
              <a:ext uri="{FF2B5EF4-FFF2-40B4-BE49-F238E27FC236}">
                <a16:creationId xmlns:a16="http://schemas.microsoft.com/office/drawing/2014/main" id="{5F702E3E-5B73-4D3A-819A-129417851EB2}"/>
              </a:ext>
            </a:extLst>
          </p:cNvPr>
          <p:cNvSpPr>
            <a:spLocks noGrp="1"/>
          </p:cNvSpPr>
          <p:nvPr>
            <p:ph type="body" sz="quarter" idx="59" hasCustomPrompt="1"/>
          </p:nvPr>
        </p:nvSpPr>
        <p:spPr>
          <a:xfrm>
            <a:off x="2443950" y="9065046"/>
            <a:ext cx="1342069" cy="383888"/>
          </a:xfrm>
        </p:spPr>
        <p:txBody>
          <a:bodyPr wrap="square" anchor="t">
            <a:noAutofit/>
          </a:bodyPr>
          <a:lstStyle>
            <a:lvl1pPr>
              <a:lnSpc>
                <a:spcPct val="130000"/>
              </a:lnSpc>
              <a:defRPr sz="2100" b="0" i="0" cap="all" baseline="0">
                <a:solidFill>
                  <a:schemeClr val="tx1"/>
                </a:solidFill>
                <a:latin typeface="Arial" panose="020B0604020202020204" pitchFamily="34" charset="0"/>
              </a:defRPr>
            </a:lvl1pPr>
          </a:lstStyle>
          <a:p>
            <a:pPr lvl="0"/>
            <a:r>
              <a:rPr lang="en-US"/>
              <a:t>BLN</a:t>
            </a:r>
            <a:endParaRPr lang="de-DE"/>
          </a:p>
        </p:txBody>
      </p:sp>
      <p:sp>
        <p:nvSpPr>
          <p:cNvPr id="38" name="Text Placeholder 8">
            <a:extLst>
              <a:ext uri="{FF2B5EF4-FFF2-40B4-BE49-F238E27FC236}">
                <a16:creationId xmlns:a16="http://schemas.microsoft.com/office/drawing/2014/main" id="{DDE8D8B1-F9B5-4731-BDCE-B7FB65CEF98D}"/>
              </a:ext>
            </a:extLst>
          </p:cNvPr>
          <p:cNvSpPr>
            <a:spLocks noGrp="1"/>
          </p:cNvSpPr>
          <p:nvPr>
            <p:ph type="body" sz="quarter" idx="57" hasCustomPrompt="1"/>
          </p:nvPr>
        </p:nvSpPr>
        <p:spPr>
          <a:xfrm>
            <a:off x="6114570" y="8431265"/>
            <a:ext cx="1211870" cy="1255728"/>
          </a:xfrm>
        </p:spPr>
        <p:txBody>
          <a:bodyPr wrap="none" anchor="t">
            <a:noAutofit/>
          </a:bodyPr>
          <a:lstStyle>
            <a:lvl1pPr algn="r">
              <a:lnSpc>
                <a:spcPct val="80000"/>
              </a:lnSpc>
              <a:defRPr sz="10200" b="0" i="0">
                <a:solidFill>
                  <a:schemeClr val="tx1"/>
                </a:solidFill>
                <a:latin typeface="Times New Roman" panose="02020603050405020304" pitchFamily="18" charset="0"/>
              </a:defRPr>
            </a:lvl1pPr>
          </a:lstStyle>
          <a:p>
            <a:pPr lvl="0"/>
            <a:r>
              <a:rPr lang="en-US"/>
              <a:t>10</a:t>
            </a:r>
            <a:endParaRPr lang="de-DE"/>
          </a:p>
        </p:txBody>
      </p:sp>
      <p:sp>
        <p:nvSpPr>
          <p:cNvPr id="41" name="Text Placeholder 8">
            <a:extLst>
              <a:ext uri="{FF2B5EF4-FFF2-40B4-BE49-F238E27FC236}">
                <a16:creationId xmlns:a16="http://schemas.microsoft.com/office/drawing/2014/main" id="{AD8DCC48-06B7-459B-BB47-A0027A9F3F69}"/>
              </a:ext>
            </a:extLst>
          </p:cNvPr>
          <p:cNvSpPr>
            <a:spLocks noGrp="1"/>
          </p:cNvSpPr>
          <p:nvPr>
            <p:ph type="body" sz="quarter" idx="60" hasCustomPrompt="1"/>
          </p:nvPr>
        </p:nvSpPr>
        <p:spPr>
          <a:xfrm>
            <a:off x="7559525" y="9065046"/>
            <a:ext cx="1342069" cy="383888"/>
          </a:xfrm>
        </p:spPr>
        <p:txBody>
          <a:bodyPr wrap="square" anchor="t">
            <a:noAutofit/>
          </a:bodyPr>
          <a:lstStyle>
            <a:lvl1pPr>
              <a:lnSpc>
                <a:spcPct val="130000"/>
              </a:lnSpc>
              <a:defRPr sz="2100" b="0" i="0" cap="all" baseline="0">
                <a:solidFill>
                  <a:schemeClr val="tx1"/>
                </a:solidFill>
                <a:latin typeface="Arial" panose="020B0604020202020204" pitchFamily="34" charset="0"/>
              </a:defRPr>
            </a:lvl1pPr>
          </a:lstStyle>
          <a:p>
            <a:pPr lvl="0"/>
            <a:r>
              <a:rPr lang="en-US"/>
              <a:t>YEARS</a:t>
            </a:r>
            <a:endParaRPr lang="de-DE"/>
          </a:p>
        </p:txBody>
      </p:sp>
      <p:sp>
        <p:nvSpPr>
          <p:cNvPr id="39" name="Text Placeholder 8">
            <a:extLst>
              <a:ext uri="{FF2B5EF4-FFF2-40B4-BE49-F238E27FC236}">
                <a16:creationId xmlns:a16="http://schemas.microsoft.com/office/drawing/2014/main" id="{DB0C7BC5-6E22-4910-84E3-407B997CA47D}"/>
              </a:ext>
            </a:extLst>
          </p:cNvPr>
          <p:cNvSpPr>
            <a:spLocks noGrp="1"/>
          </p:cNvSpPr>
          <p:nvPr>
            <p:ph type="body" sz="quarter" idx="58" hasCustomPrompt="1"/>
          </p:nvPr>
        </p:nvSpPr>
        <p:spPr>
          <a:xfrm>
            <a:off x="11323928" y="8431265"/>
            <a:ext cx="1308051" cy="1255728"/>
          </a:xfrm>
        </p:spPr>
        <p:txBody>
          <a:bodyPr wrap="none" anchor="t">
            <a:noAutofit/>
          </a:bodyPr>
          <a:lstStyle>
            <a:lvl1pPr algn="r">
              <a:lnSpc>
                <a:spcPct val="80000"/>
              </a:lnSpc>
              <a:defRPr sz="10200" b="0" i="0">
                <a:solidFill>
                  <a:schemeClr val="tx1"/>
                </a:solidFill>
                <a:latin typeface="Times New Roman" panose="02020603050405020304" pitchFamily="18" charset="0"/>
              </a:defRPr>
            </a:lvl1pPr>
          </a:lstStyle>
          <a:p>
            <a:pPr lvl="0"/>
            <a:r>
              <a:rPr lang="en-US"/>
              <a:t>50</a:t>
            </a:r>
            <a:endParaRPr lang="de-DE"/>
          </a:p>
        </p:txBody>
      </p:sp>
      <p:grpSp>
        <p:nvGrpSpPr>
          <p:cNvPr id="25" name="Group">
            <a:extLst>
              <a:ext uri="{FF2B5EF4-FFF2-40B4-BE49-F238E27FC236}">
                <a16:creationId xmlns:a16="http://schemas.microsoft.com/office/drawing/2014/main" id="{EBB68534-D087-7148-92A3-C2FC93092689}"/>
              </a:ext>
            </a:extLst>
          </p:cNvPr>
          <p:cNvGrpSpPr/>
          <p:nvPr userDrawn="1"/>
        </p:nvGrpSpPr>
        <p:grpSpPr>
          <a:xfrm>
            <a:off x="885450" y="12829819"/>
            <a:ext cx="885653" cy="885653"/>
            <a:chOff x="0" y="0"/>
            <a:chExt cx="885651" cy="885651"/>
          </a:xfrm>
        </p:grpSpPr>
        <p:sp>
          <p:nvSpPr>
            <p:cNvPr id="26" name="Square">
              <a:extLst>
                <a:ext uri="{FF2B5EF4-FFF2-40B4-BE49-F238E27FC236}">
                  <a16:creationId xmlns:a16="http://schemas.microsoft.com/office/drawing/2014/main" id="{DA72429E-F3C0-3F4E-82FC-E7CC4D334C6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31" name="Image">
              <a:extLst>
                <a:ext uri="{FF2B5EF4-FFF2-40B4-BE49-F238E27FC236}">
                  <a16:creationId xmlns:a16="http://schemas.microsoft.com/office/drawing/2014/main" id="{3F9DDF23-1940-FB49-863D-A0696CE5B16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971810006"/>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590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2 w. Client (B)">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0A647E-ACFE-4B66-86EE-7B7E8B3344F6}"/>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bg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i="0">
                <a:solidFill>
                  <a:schemeClr val="bg1"/>
                </a:solidFill>
                <a:latin typeface="Arial" panose="020B0604020202020204" pitchFamily="34"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b="0" i="0" cap="all" baseline="0">
                <a:solidFill>
                  <a:schemeClr val="bg1"/>
                </a:solidFill>
                <a:latin typeface="Arial" panose="020B0604020202020204" pitchFamily="34" charset="0"/>
                <a:cs typeface="Arial" panose="020B0604020202020204" pitchFamily="34" charset="0"/>
              </a:defRPr>
            </a:lvl1pPr>
          </a:lstStyle>
          <a:p>
            <a:endParaRPr lang="de-DE"/>
          </a:p>
        </p:txBody>
      </p:sp>
      <p:sp>
        <p:nvSpPr>
          <p:cNvPr id="9" name="Image">
            <a:extLst>
              <a:ext uri="{FF2B5EF4-FFF2-40B4-BE49-F238E27FC236}">
                <a16:creationId xmlns:a16="http://schemas.microsoft.com/office/drawing/2014/main" id="{D216D185-B5BB-45C0-B14D-00D729D2C2E6}"/>
              </a:ext>
            </a:extLst>
          </p:cNvPr>
          <p:cNvSpPr>
            <a:spLocks noGrp="1"/>
          </p:cNvSpPr>
          <p:nvPr>
            <p:ph type="pic" sz="quarter" idx="26" hasCustomPrompt="1"/>
          </p:nvPr>
        </p:nvSpPr>
        <p:spPr>
          <a:xfrm>
            <a:off x="12878571" y="10564739"/>
            <a:ext cx="3724585" cy="1158913"/>
          </a:xfrm>
          <a:prstGeom prst="rect">
            <a:avLst/>
          </a:prstGeom>
        </p:spPr>
        <p:txBody>
          <a:bodyPr lIns="91439" tIns="45719" rIns="91439" bIns="45719">
            <a:noAutofit/>
          </a:bodyPr>
          <a:lstStyle>
            <a:lvl1pPr>
              <a:defRPr b="0" i="0">
                <a:solidFill>
                  <a:schemeClr val="bg1"/>
                </a:solidFill>
              </a:defRPr>
            </a:lvl1pPr>
          </a:lstStyle>
          <a:p>
            <a:r>
              <a:rPr lang="de-DE"/>
              <a:t>Add Logo</a:t>
            </a:r>
            <a:endParaRPr/>
          </a:p>
        </p:txBody>
      </p:sp>
      <p:grpSp>
        <p:nvGrpSpPr>
          <p:cNvPr id="11" name="Group 10">
            <a:extLst>
              <a:ext uri="{FF2B5EF4-FFF2-40B4-BE49-F238E27FC236}">
                <a16:creationId xmlns:a16="http://schemas.microsoft.com/office/drawing/2014/main" id="{3C991443-2A93-476D-B2DB-9C7458CEF011}"/>
              </a:ext>
            </a:extLst>
          </p:cNvPr>
          <p:cNvGrpSpPr/>
          <p:nvPr userDrawn="1"/>
        </p:nvGrpSpPr>
        <p:grpSpPr>
          <a:xfrm>
            <a:off x="9606028" y="10626199"/>
            <a:ext cx="2816472" cy="1677945"/>
            <a:chOff x="9606028" y="10626199"/>
            <a:chExt cx="2816472" cy="1677945"/>
          </a:xfrm>
        </p:grpSpPr>
        <p:sp>
          <p:nvSpPr>
            <p:cNvPr id="12" name="Line">
              <a:extLst>
                <a:ext uri="{FF2B5EF4-FFF2-40B4-BE49-F238E27FC236}">
                  <a16:creationId xmlns:a16="http://schemas.microsoft.com/office/drawing/2014/main" id="{D6642500-28BC-48AD-BF74-CB8D79EA12E9}"/>
                </a:ext>
              </a:extLst>
            </p:cNvPr>
            <p:cNvSpPr/>
            <p:nvPr/>
          </p:nvSpPr>
          <p:spPr>
            <a:xfrm flipV="1">
              <a:off x="11944549" y="108826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b="1" i="0">
                <a:latin typeface="Arial" panose="020B0604020202020204" pitchFamily="34" charset="0"/>
                <a:cs typeface="Arial" panose="020B0604020202020204" pitchFamily="34" charset="0"/>
              </a:endParaRPr>
            </a:p>
          </p:txBody>
        </p:sp>
        <p:sp>
          <p:nvSpPr>
            <p:cNvPr id="13" name="Line">
              <a:extLst>
                <a:ext uri="{FF2B5EF4-FFF2-40B4-BE49-F238E27FC236}">
                  <a16:creationId xmlns:a16="http://schemas.microsoft.com/office/drawing/2014/main" id="{E0521BB3-2221-4438-8010-D82C757D59F7}"/>
                </a:ext>
              </a:extLst>
            </p:cNvPr>
            <p:cNvSpPr/>
            <p:nvPr/>
          </p:nvSpPr>
          <p:spPr>
            <a:xfrm flipH="1" flipV="1">
              <a:off x="11944549" y="108826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b="1" i="0">
                <a:latin typeface="Arial" panose="020B0604020202020204" pitchFamily="34" charset="0"/>
                <a:cs typeface="Arial" panose="020B0604020202020204" pitchFamily="34" charset="0"/>
              </a:endParaRPr>
            </a:p>
          </p:txBody>
        </p:sp>
        <p:pic>
          <p:nvPicPr>
            <p:cNvPr id="15" name="21-frog-Cap-Invent-logo-square-WHITE.png">
              <a:extLst>
                <a:ext uri="{FF2B5EF4-FFF2-40B4-BE49-F238E27FC236}">
                  <a16:creationId xmlns:a16="http://schemas.microsoft.com/office/drawing/2014/main" id="{53DB27F9-3F0B-4616-B6B8-73265FE4D4F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06028" y="10626199"/>
              <a:ext cx="1907948" cy="1677945"/>
            </a:xfrm>
            <a:prstGeom prst="rect">
              <a:avLst/>
            </a:prstGeom>
            <a:ln w="12700">
              <a:miter lim="400000"/>
            </a:ln>
          </p:spPr>
        </p:pic>
      </p:grpSp>
    </p:spTree>
    <p:extLst>
      <p:ext uri="{BB962C8B-B14F-4D97-AF65-F5344CB8AC3E}">
        <p14:creationId xmlns:p14="http://schemas.microsoft.com/office/powerpoint/2010/main" val="4175391781"/>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ase study grid (long)">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3918540" y="0"/>
            <a:ext cx="1046546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7" name="Image">
            <a:extLst>
              <a:ext uri="{FF2B5EF4-FFF2-40B4-BE49-F238E27FC236}">
                <a16:creationId xmlns:a16="http://schemas.microsoft.com/office/drawing/2014/main" id="{AA31D3B4-8DB6-4ABB-A684-918F256A9C08}"/>
              </a:ext>
            </a:extLst>
          </p:cNvPr>
          <p:cNvSpPr>
            <a:spLocks noGrp="1"/>
          </p:cNvSpPr>
          <p:nvPr>
            <p:ph type="pic" idx="51"/>
          </p:nvPr>
        </p:nvSpPr>
        <p:spPr>
          <a:xfrm>
            <a:off x="14810804" y="6858000"/>
            <a:ext cx="9573196"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9" name="Image">
            <a:extLst>
              <a:ext uri="{FF2B5EF4-FFF2-40B4-BE49-F238E27FC236}">
                <a16:creationId xmlns:a16="http://schemas.microsoft.com/office/drawing/2014/main" id="{2CFEE2B9-DCBA-4C9F-8A78-5A6B1A394A41}"/>
              </a:ext>
            </a:extLst>
          </p:cNvPr>
          <p:cNvSpPr>
            <a:spLocks noGrp="1"/>
          </p:cNvSpPr>
          <p:nvPr>
            <p:ph type="pic" idx="52"/>
          </p:nvPr>
        </p:nvSpPr>
        <p:spPr>
          <a:xfrm>
            <a:off x="7846044" y="6858000"/>
            <a:ext cx="696476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1" name="Picture Placeholder 20">
            <a:extLst>
              <a:ext uri="{FF2B5EF4-FFF2-40B4-BE49-F238E27FC236}">
                <a16:creationId xmlns:a16="http://schemas.microsoft.com/office/drawing/2014/main" id="{048B61C8-9433-4C3D-8E99-7FED1A94395E}"/>
              </a:ext>
            </a:extLst>
          </p:cNvPr>
          <p:cNvSpPr>
            <a:spLocks noGrp="1"/>
          </p:cNvSpPr>
          <p:nvPr>
            <p:ph type="pic" idx="53"/>
          </p:nvPr>
        </p:nvSpPr>
        <p:spPr>
          <a:xfrm>
            <a:off x="0" y="6858000"/>
            <a:ext cx="7846045" cy="6858000"/>
          </a:xfrm>
          <a:custGeom>
            <a:avLst/>
            <a:gdLst>
              <a:gd name="connsiteX0" fmla="*/ 0 w 7846045"/>
              <a:gd name="connsiteY0" fmla="*/ 0 h 6858000"/>
              <a:gd name="connsiteX1" fmla="*/ 7846045 w 7846045"/>
              <a:gd name="connsiteY1" fmla="*/ 0 h 6858000"/>
              <a:gd name="connsiteX2" fmla="*/ 7846045 w 7846045"/>
              <a:gd name="connsiteY2" fmla="*/ 6858000 h 6858000"/>
              <a:gd name="connsiteX3" fmla="*/ 1771632 w 7846045"/>
              <a:gd name="connsiteY3" fmla="*/ 6858000 h 6858000"/>
              <a:gd name="connsiteX4" fmla="*/ 1771632 w 7846045"/>
              <a:gd name="connsiteY4" fmla="*/ 5971289 h 6858000"/>
              <a:gd name="connsiteX5" fmla="*/ 884921 w 7846045"/>
              <a:gd name="connsiteY5" fmla="*/ 5971289 h 6858000"/>
              <a:gd name="connsiteX6" fmla="*/ 884921 w 7846045"/>
              <a:gd name="connsiteY6" fmla="*/ 6858000 h 6858000"/>
              <a:gd name="connsiteX7" fmla="*/ 0 w 784604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6045" h="6858000">
                <a:moveTo>
                  <a:pt x="0" y="0"/>
                </a:moveTo>
                <a:lnTo>
                  <a:pt x="7846045" y="0"/>
                </a:lnTo>
                <a:lnTo>
                  <a:pt x="7846045"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b="0" i="0"/>
            </a:lvl1pPr>
          </a:lstStyle>
          <a:p>
            <a:endParaRPr/>
          </a:p>
        </p:txBody>
      </p:sp>
      <p:sp>
        <p:nvSpPr>
          <p:cNvPr id="1362" name="Rectangle"/>
          <p:cNvSpPr>
            <a:spLocks noGrp="1"/>
          </p:cNvSpPr>
          <p:nvPr>
            <p:ph type="body" sz="quarter" idx="22"/>
          </p:nvPr>
        </p:nvSpPr>
        <p:spPr>
          <a:xfrm>
            <a:off x="0" y="0"/>
            <a:ext cx="1391854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i="0">
                <a:solidFill>
                  <a:schemeClr val="accent1">
                    <a:lumOff val="-57413"/>
                  </a:schemeClr>
                </a:solidFill>
              </a:defRPr>
            </a:lvl1pPr>
          </a:lstStyle>
          <a:p>
            <a:r>
              <a:t> </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sp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Project / Studio</a:t>
            </a:r>
            <a:endParaRPr lang="de-DE"/>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11301281" cy="2670283"/>
          </a:xfrm>
        </p:spPr>
        <p:txBody>
          <a:bodyPr wrap="square">
            <a:spAutoFit/>
          </a:bodyPr>
          <a:lstStyle>
            <a:lvl1pPr algn="l">
              <a:lnSpc>
                <a:spcPct val="140000"/>
              </a:lnSpc>
              <a:defRPr sz="2100" b="0" i="0">
                <a:solidFill>
                  <a:schemeClr val="bg1"/>
                </a:solidFill>
              </a:defRPr>
            </a:lvl1pPr>
          </a:lstStyle>
          <a:p>
            <a:pPr lvl="0"/>
            <a:r>
              <a:rPr lang="en-US"/>
              <a:t>Project synopsis… </a:t>
            </a:r>
            <a:br>
              <a:rPr lang="en-US"/>
            </a:br>
            <a:r>
              <a:rPr lang="en-US"/>
              <a:t>What was the ask, and what did we deliver? What are the details that matter? What did we do to position our client for success? Did we win any awards? 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a:t>
            </a:r>
          </a:p>
        </p:txBody>
      </p:sp>
      <p:pic>
        <p:nvPicPr>
          <p:cNvPr id="1367"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a:t>Client name</a:t>
            </a:r>
          </a:p>
        </p:txBody>
      </p:sp>
    </p:spTree>
    <p:extLst>
      <p:ext uri="{BB962C8B-B14F-4D97-AF65-F5344CB8AC3E}">
        <p14:creationId xmlns:p14="http://schemas.microsoft.com/office/powerpoint/2010/main" val="2194672791"/>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ongform case study cover">
    <p:spTree>
      <p:nvGrpSpPr>
        <p:cNvPr id="1" name=""/>
        <p:cNvGrpSpPr/>
        <p:nvPr/>
      </p:nvGrpSpPr>
      <p:grpSpPr>
        <a:xfrm>
          <a:off x="0" y="0"/>
          <a:ext cx="0" cy="0"/>
          <a:chOff x="0" y="0"/>
          <a:chExt cx="0" cy="0"/>
        </a:xfrm>
      </p:grpSpPr>
      <p:sp>
        <p:nvSpPr>
          <p:cNvPr id="24" name="Picture Placeholder 13">
            <a:extLst>
              <a:ext uri="{FF2B5EF4-FFF2-40B4-BE49-F238E27FC236}">
                <a16:creationId xmlns:a16="http://schemas.microsoft.com/office/drawing/2014/main" id="{61E93447-F82B-49AF-8C97-7350FDB94BF0}"/>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b="0" i="0"/>
            </a:lvl1pPr>
          </a:lstStyle>
          <a:p>
            <a:endParaRPr/>
          </a:p>
        </p:txBody>
      </p:sp>
      <p:sp>
        <p:nvSpPr>
          <p:cNvPr id="1362" name="Rectangle"/>
          <p:cNvSpPr>
            <a:spLocks noGrp="1"/>
          </p:cNvSpPr>
          <p:nvPr>
            <p:ph type="body" sz="quarter" idx="22"/>
          </p:nvPr>
        </p:nvSpPr>
        <p:spPr>
          <a:xfrm>
            <a:off x="1770476" y="1617668"/>
            <a:ext cx="8352419" cy="10480666"/>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i="0">
                <a:solidFill>
                  <a:schemeClr val="accent1">
                    <a:lumOff val="-57413"/>
                  </a:schemeClr>
                </a:solidFill>
              </a:defRPr>
            </a:lvl1pPr>
          </a:lstStyle>
          <a:p>
            <a:r>
              <a:t> </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2379257" y="2492223"/>
            <a:ext cx="6794562" cy="307777"/>
          </a:xfrm>
        </p:spPr>
        <p:txBody>
          <a:bodyPr>
            <a:sp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FROG + [CLIENT NAME]</a:t>
            </a:r>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2379256" y="7147258"/>
            <a:ext cx="6794562" cy="2745880"/>
          </a:xfrm>
        </p:spPr>
        <p:txBody>
          <a:bodyPr wrap="square">
            <a:spAutoFit/>
          </a:bodyPr>
          <a:lstStyle>
            <a:lvl1pPr algn="l">
              <a:lnSpc>
                <a:spcPct val="140000"/>
              </a:lnSpc>
              <a:defRPr sz="2600" b="0" i="0">
                <a:solidFill>
                  <a:schemeClr val="bg1"/>
                </a:solidFill>
              </a:defRPr>
            </a:lvl1pPr>
          </a:lstStyle>
          <a:p>
            <a:pPr lvl="0"/>
            <a:r>
              <a:rPr lang="en-US"/>
              <a:t>One or two sentences that introduce the client and the high-level ask, along with a nod to what we specifically delivered. Introduce client like a client has never heard of them and include scale of their operation.</a:t>
            </a:r>
          </a:p>
        </p:txBody>
      </p:sp>
      <p:pic>
        <p:nvPicPr>
          <p:cNvPr id="1367"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2379257" y="3049189"/>
            <a:ext cx="6794562" cy="3632201"/>
          </a:xfrm>
        </p:spPr>
        <p:txBody>
          <a:bodyPr anchor="t"/>
          <a:lstStyle>
            <a:lvl1pPr>
              <a:lnSpc>
                <a:spcPct val="80000"/>
              </a:lnSpc>
              <a:defRPr sz="7200">
                <a:solidFill>
                  <a:schemeClr val="bg1"/>
                </a:solidFill>
              </a:defRPr>
            </a:lvl1pPr>
          </a:lstStyle>
          <a:p>
            <a:r>
              <a:rPr lang="en-US"/>
              <a:t>Program title on two or three lines</a:t>
            </a:r>
          </a:p>
        </p:txBody>
      </p:sp>
      <p:sp>
        <p:nvSpPr>
          <p:cNvPr id="23" name="Text Placeholder 14">
            <a:extLst>
              <a:ext uri="{FF2B5EF4-FFF2-40B4-BE49-F238E27FC236}">
                <a16:creationId xmlns:a16="http://schemas.microsoft.com/office/drawing/2014/main" id="{8153C9CC-4496-4B2F-80B6-74B531CBAC42}"/>
              </a:ext>
            </a:extLst>
          </p:cNvPr>
          <p:cNvSpPr>
            <a:spLocks noGrp="1"/>
          </p:cNvSpPr>
          <p:nvPr>
            <p:ph type="body" sz="quarter" idx="55" hasCustomPrompt="1"/>
          </p:nvPr>
        </p:nvSpPr>
        <p:spPr>
          <a:xfrm>
            <a:off x="2379257" y="11112740"/>
            <a:ext cx="6794562" cy="307777"/>
          </a:xfrm>
        </p:spPr>
        <p:txBody>
          <a:bodyPr>
            <a:sp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Month [year </a:t>
            </a:r>
            <a:r>
              <a:rPr lang="en-US" err="1"/>
              <a:t>yyyy</a:t>
            </a:r>
            <a:r>
              <a:rPr lang="en-US"/>
              <a:t>]</a:t>
            </a:r>
          </a:p>
        </p:txBody>
      </p:sp>
      <p:sp>
        <p:nvSpPr>
          <p:cNvPr id="25" name="Text Placeholder 4">
            <a:extLst>
              <a:ext uri="{FF2B5EF4-FFF2-40B4-BE49-F238E27FC236}">
                <a16:creationId xmlns:a16="http://schemas.microsoft.com/office/drawing/2014/main" id="{5112DF79-EE98-4C0F-A7FA-FA71B47495EA}"/>
              </a:ext>
            </a:extLst>
          </p:cNvPr>
          <p:cNvSpPr>
            <a:spLocks noGrp="1"/>
          </p:cNvSpPr>
          <p:nvPr>
            <p:ph type="body" sz="quarter" idx="56" hasCustomPrompt="1"/>
          </p:nvPr>
        </p:nvSpPr>
        <p:spPr>
          <a:xfrm>
            <a:off x="2379256" y="10466939"/>
            <a:ext cx="1285801" cy="72000"/>
          </a:xfrm>
          <a:solidFill>
            <a:schemeClr val="tx1">
              <a:lumMod val="85000"/>
              <a:lumOff val="15000"/>
            </a:schemeClr>
          </a:solidFill>
        </p:spPr>
        <p:txBody>
          <a:bodyPr>
            <a:noAutofit/>
          </a:bodyPr>
          <a:lstStyle>
            <a:lvl1pPr>
              <a:defRPr b="0" i="0"/>
            </a:lvl1pPr>
          </a:lstStyle>
          <a:p>
            <a:pPr lvl="0"/>
            <a:r>
              <a:rPr lang="en-US"/>
              <a:t> </a:t>
            </a:r>
            <a:endParaRPr lang="de-DE"/>
          </a:p>
        </p:txBody>
      </p:sp>
    </p:spTree>
    <p:extLst>
      <p:ext uri="{BB962C8B-B14F-4D97-AF65-F5344CB8AC3E}">
        <p14:creationId xmlns:p14="http://schemas.microsoft.com/office/powerpoint/2010/main" val="3508169039"/>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ongform case study overview (B)">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4755810"/>
            <a:ext cx="4495662" cy="983474"/>
          </a:xfrm>
        </p:spPr>
        <p:txBody>
          <a:bodyPr wrap="square">
            <a:noAutofit/>
          </a:bodyPr>
          <a:lstStyle>
            <a:lvl1pPr>
              <a:defRPr sz="2400" b="0" i="0">
                <a:solidFill>
                  <a:schemeClr val="bg1"/>
                </a:solidFill>
              </a:defRPr>
            </a:lvl1pPr>
          </a:lstStyle>
          <a:p>
            <a:pPr lvl="0"/>
            <a:r>
              <a:rPr lang="en-US"/>
              <a:t>[Insert offering] (Add all that apply from list in commen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4259977"/>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OFFERING</a:t>
            </a:r>
            <a:endParaRPr lang="de-DE"/>
          </a:p>
        </p:txBody>
      </p:sp>
      <p:sp>
        <p:nvSpPr>
          <p:cNvPr id="12" name="Title 11">
            <a:extLst>
              <a:ext uri="{FF2B5EF4-FFF2-40B4-BE49-F238E27FC236}">
                <a16:creationId xmlns:a16="http://schemas.microsoft.com/office/drawing/2014/main" id="{10BEEDFC-E7A5-4F8D-96BF-00CE4CD992ED}"/>
              </a:ext>
            </a:extLst>
          </p:cNvPr>
          <p:cNvSpPr>
            <a:spLocks noGrp="1"/>
          </p:cNvSpPr>
          <p:nvPr>
            <p:ph type="title" hasCustomPrompt="1"/>
          </p:nvPr>
        </p:nvSpPr>
        <p:spPr/>
        <p:txBody>
          <a:bodyPr/>
          <a:lstStyle>
            <a:lvl1pPr>
              <a:defRPr>
                <a:solidFill>
                  <a:schemeClr val="bg1"/>
                </a:solidFill>
              </a:defRPr>
            </a:lvl1pPr>
          </a:lstStyle>
          <a:p>
            <a:r>
              <a:rPr lang="en-US"/>
              <a:t>Program Fact Sheet</a:t>
            </a:r>
          </a:p>
        </p:txBody>
      </p:sp>
      <p:sp>
        <p:nvSpPr>
          <p:cNvPr id="23" name="Text Placeholder 8">
            <a:extLst>
              <a:ext uri="{FF2B5EF4-FFF2-40B4-BE49-F238E27FC236}">
                <a16:creationId xmlns:a16="http://schemas.microsoft.com/office/drawing/2014/main" id="{21E93712-3C57-409F-A782-2C69609E36AD}"/>
              </a:ext>
            </a:extLst>
          </p:cNvPr>
          <p:cNvSpPr>
            <a:spLocks noGrp="1"/>
          </p:cNvSpPr>
          <p:nvPr>
            <p:ph type="body" sz="quarter" idx="40" hasCustomPrompt="1"/>
          </p:nvPr>
        </p:nvSpPr>
        <p:spPr>
          <a:xfrm>
            <a:off x="7213619" y="4755810"/>
            <a:ext cx="4495662" cy="983474"/>
          </a:xfrm>
        </p:spPr>
        <p:txBody>
          <a:bodyPr wrap="square">
            <a:noAutofit/>
          </a:bodyPr>
          <a:lstStyle>
            <a:lvl1pPr>
              <a:defRPr sz="2400" b="0" i="0">
                <a:solidFill>
                  <a:schemeClr val="bg1"/>
                </a:solidFill>
              </a:defRPr>
            </a:lvl1pPr>
          </a:lstStyle>
          <a:p>
            <a:pPr lvl="0"/>
            <a:r>
              <a:rPr lang="en-US"/>
              <a:t>[Insert Industry] </a:t>
            </a:r>
          </a:p>
        </p:txBody>
      </p:sp>
      <p:sp>
        <p:nvSpPr>
          <p:cNvPr id="24" name="Text Placeholder 8">
            <a:extLst>
              <a:ext uri="{FF2B5EF4-FFF2-40B4-BE49-F238E27FC236}">
                <a16:creationId xmlns:a16="http://schemas.microsoft.com/office/drawing/2014/main" id="{48F1B5A5-82D2-4E9E-857F-19FE48564D29}"/>
              </a:ext>
            </a:extLst>
          </p:cNvPr>
          <p:cNvSpPr>
            <a:spLocks noGrp="1"/>
          </p:cNvSpPr>
          <p:nvPr>
            <p:ph type="body" sz="quarter" idx="41" hasCustomPrompt="1"/>
          </p:nvPr>
        </p:nvSpPr>
        <p:spPr>
          <a:xfrm>
            <a:off x="7213619" y="4259977"/>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Industry</a:t>
            </a:r>
          </a:p>
        </p:txBody>
      </p:sp>
      <p:sp>
        <p:nvSpPr>
          <p:cNvPr id="25" name="Text Placeholder 8">
            <a:extLst>
              <a:ext uri="{FF2B5EF4-FFF2-40B4-BE49-F238E27FC236}">
                <a16:creationId xmlns:a16="http://schemas.microsoft.com/office/drawing/2014/main" id="{1ECAE980-1A32-4B38-B2ED-6A932D5361AC}"/>
              </a:ext>
            </a:extLst>
          </p:cNvPr>
          <p:cNvSpPr>
            <a:spLocks noGrp="1"/>
          </p:cNvSpPr>
          <p:nvPr>
            <p:ph type="body" sz="quarter" idx="42" hasCustomPrompt="1"/>
          </p:nvPr>
        </p:nvSpPr>
        <p:spPr>
          <a:xfrm>
            <a:off x="12663565" y="4755810"/>
            <a:ext cx="4495662" cy="983474"/>
          </a:xfrm>
        </p:spPr>
        <p:txBody>
          <a:bodyPr wrap="square">
            <a:noAutofit/>
          </a:bodyPr>
          <a:lstStyle>
            <a:lvl1pPr>
              <a:defRPr sz="2400" b="0" i="0">
                <a:solidFill>
                  <a:schemeClr val="bg1"/>
                </a:solidFill>
              </a:defRPr>
            </a:lvl1pPr>
          </a:lstStyle>
          <a:p>
            <a:pPr lvl="0"/>
            <a:r>
              <a:rPr lang="en-US"/>
              <a:t>[Insert date MM/YYYY - MM/YYYY]</a:t>
            </a:r>
          </a:p>
        </p:txBody>
      </p:sp>
      <p:sp>
        <p:nvSpPr>
          <p:cNvPr id="26" name="Text Placeholder 8">
            <a:extLst>
              <a:ext uri="{FF2B5EF4-FFF2-40B4-BE49-F238E27FC236}">
                <a16:creationId xmlns:a16="http://schemas.microsoft.com/office/drawing/2014/main" id="{EC5B15A3-2BA6-435D-8E1B-53919E892E62}"/>
              </a:ext>
            </a:extLst>
          </p:cNvPr>
          <p:cNvSpPr>
            <a:spLocks noGrp="1"/>
          </p:cNvSpPr>
          <p:nvPr>
            <p:ph type="body" sz="quarter" idx="43" hasCustomPrompt="1"/>
          </p:nvPr>
        </p:nvSpPr>
        <p:spPr>
          <a:xfrm>
            <a:off x="12663565" y="4259977"/>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r>
              <a:rPr lang="de-DE"/>
              <a:t>Project START — END DATE</a:t>
            </a:r>
          </a:p>
        </p:txBody>
      </p:sp>
      <p:sp>
        <p:nvSpPr>
          <p:cNvPr id="27" name="Text Placeholder 8">
            <a:extLst>
              <a:ext uri="{FF2B5EF4-FFF2-40B4-BE49-F238E27FC236}">
                <a16:creationId xmlns:a16="http://schemas.microsoft.com/office/drawing/2014/main" id="{B9F4053C-0481-44BB-8DF4-9AD37445C9FA}"/>
              </a:ext>
            </a:extLst>
          </p:cNvPr>
          <p:cNvSpPr>
            <a:spLocks noGrp="1"/>
          </p:cNvSpPr>
          <p:nvPr>
            <p:ph type="body" sz="quarter" idx="44" hasCustomPrompt="1"/>
          </p:nvPr>
        </p:nvSpPr>
        <p:spPr>
          <a:xfrm>
            <a:off x="18113511" y="4755810"/>
            <a:ext cx="4495662" cy="983474"/>
          </a:xfrm>
        </p:spPr>
        <p:txBody>
          <a:bodyPr wrap="square">
            <a:noAutofit/>
          </a:bodyPr>
          <a:lstStyle>
            <a:lvl1pPr>
              <a:defRPr sz="2400" b="0" i="0">
                <a:solidFill>
                  <a:schemeClr val="bg1"/>
                </a:solidFill>
              </a:defRPr>
            </a:lvl1pPr>
          </a:lstStyle>
          <a:p>
            <a:pPr lvl="0"/>
            <a:r>
              <a:rPr lang="en-US"/>
              <a:t>[Name + e-mail]</a:t>
            </a:r>
          </a:p>
        </p:txBody>
      </p:sp>
      <p:sp>
        <p:nvSpPr>
          <p:cNvPr id="28" name="Text Placeholder 8">
            <a:extLst>
              <a:ext uri="{FF2B5EF4-FFF2-40B4-BE49-F238E27FC236}">
                <a16:creationId xmlns:a16="http://schemas.microsoft.com/office/drawing/2014/main" id="{52CC49E3-88DB-43A2-A286-C6C85076ECFE}"/>
              </a:ext>
            </a:extLst>
          </p:cNvPr>
          <p:cNvSpPr>
            <a:spLocks noGrp="1"/>
          </p:cNvSpPr>
          <p:nvPr>
            <p:ph type="body" sz="quarter" idx="45" hasCustomPrompt="1"/>
          </p:nvPr>
        </p:nvSpPr>
        <p:spPr>
          <a:xfrm>
            <a:off x="18113511" y="4259977"/>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CLIENT CONTACT</a:t>
            </a:r>
          </a:p>
        </p:txBody>
      </p:sp>
      <p:sp>
        <p:nvSpPr>
          <p:cNvPr id="29" name="Text Placeholder 8">
            <a:extLst>
              <a:ext uri="{FF2B5EF4-FFF2-40B4-BE49-F238E27FC236}">
                <a16:creationId xmlns:a16="http://schemas.microsoft.com/office/drawing/2014/main" id="{1561150C-7F5F-4DFF-9DAF-A70BA0C2BA1B}"/>
              </a:ext>
            </a:extLst>
          </p:cNvPr>
          <p:cNvSpPr>
            <a:spLocks noGrp="1"/>
          </p:cNvSpPr>
          <p:nvPr>
            <p:ph type="body" sz="quarter" idx="46" hasCustomPrompt="1"/>
          </p:nvPr>
        </p:nvSpPr>
        <p:spPr>
          <a:xfrm>
            <a:off x="1763673" y="7109796"/>
            <a:ext cx="4495662" cy="2534668"/>
          </a:xfrm>
        </p:spPr>
        <p:txBody>
          <a:bodyPr wrap="square">
            <a:noAutofit/>
          </a:bodyPr>
          <a:lstStyle>
            <a:lvl1pPr>
              <a:defRPr sz="2400" b="0" i="0">
                <a:solidFill>
                  <a:schemeClr val="bg1"/>
                </a:solidFill>
              </a:defRPr>
            </a:lvl1pPr>
          </a:lstStyle>
          <a:p>
            <a:r>
              <a:rPr lang="de-DE"/>
              <a:t>[Insert amount]</a:t>
            </a:r>
          </a:p>
        </p:txBody>
      </p:sp>
      <p:sp>
        <p:nvSpPr>
          <p:cNvPr id="30" name="Text Placeholder 8">
            <a:extLst>
              <a:ext uri="{FF2B5EF4-FFF2-40B4-BE49-F238E27FC236}">
                <a16:creationId xmlns:a16="http://schemas.microsoft.com/office/drawing/2014/main" id="{0D6EFE7D-C762-40FC-A522-CCE72805CA26}"/>
              </a:ext>
            </a:extLst>
          </p:cNvPr>
          <p:cNvSpPr>
            <a:spLocks noGrp="1"/>
          </p:cNvSpPr>
          <p:nvPr>
            <p:ph type="body" sz="quarter" idx="47" hasCustomPrompt="1"/>
          </p:nvPr>
        </p:nvSpPr>
        <p:spPr>
          <a:xfrm>
            <a:off x="1763673" y="6612397"/>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BUDGET</a:t>
            </a:r>
          </a:p>
        </p:txBody>
      </p:sp>
      <p:sp>
        <p:nvSpPr>
          <p:cNvPr id="31" name="Text Placeholder 8">
            <a:extLst>
              <a:ext uri="{FF2B5EF4-FFF2-40B4-BE49-F238E27FC236}">
                <a16:creationId xmlns:a16="http://schemas.microsoft.com/office/drawing/2014/main" id="{523D1606-006A-4034-83E0-EEFA3480EB35}"/>
              </a:ext>
            </a:extLst>
          </p:cNvPr>
          <p:cNvSpPr>
            <a:spLocks noGrp="1"/>
          </p:cNvSpPr>
          <p:nvPr>
            <p:ph type="body" sz="quarter" idx="48" hasCustomPrompt="1"/>
          </p:nvPr>
        </p:nvSpPr>
        <p:spPr>
          <a:xfrm>
            <a:off x="7213619" y="7109796"/>
            <a:ext cx="4495662" cy="2534668"/>
          </a:xfrm>
        </p:spPr>
        <p:txBody>
          <a:bodyPr wrap="square">
            <a:noAutofit/>
          </a:bodyPr>
          <a:lstStyle>
            <a:lvl1pPr>
              <a:defRPr sz="2400" b="0" i="0">
                <a:solidFill>
                  <a:schemeClr val="bg1"/>
                </a:solidFill>
              </a:defRPr>
            </a:lvl1pPr>
          </a:lstStyle>
          <a:p>
            <a:pPr lvl="0"/>
            <a:r>
              <a:rPr lang="en-US"/>
              <a:t>[Select one of the following]</a:t>
            </a:r>
          </a:p>
          <a:p>
            <a:pPr lvl="0"/>
            <a:r>
              <a:rPr lang="en-US"/>
              <a:t>Confidential — Reach out to team to confirm</a:t>
            </a:r>
            <a:br>
              <a:rPr lang="en-US"/>
            </a:br>
            <a:r>
              <a:rPr lang="en-US"/>
              <a:t>Public — Share and leave behind as needed.</a:t>
            </a:r>
          </a:p>
        </p:txBody>
      </p:sp>
      <p:sp>
        <p:nvSpPr>
          <p:cNvPr id="32" name="Text Placeholder 8">
            <a:extLst>
              <a:ext uri="{FF2B5EF4-FFF2-40B4-BE49-F238E27FC236}">
                <a16:creationId xmlns:a16="http://schemas.microsoft.com/office/drawing/2014/main" id="{94A9D175-4309-426A-8E2A-33747D730EFC}"/>
              </a:ext>
            </a:extLst>
          </p:cNvPr>
          <p:cNvSpPr>
            <a:spLocks noGrp="1"/>
          </p:cNvSpPr>
          <p:nvPr>
            <p:ph type="body" sz="quarter" idx="49" hasCustomPrompt="1"/>
          </p:nvPr>
        </p:nvSpPr>
        <p:spPr>
          <a:xfrm>
            <a:off x="7213619" y="6612397"/>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CONFIDENTIALITY</a:t>
            </a:r>
          </a:p>
        </p:txBody>
      </p:sp>
      <p:sp>
        <p:nvSpPr>
          <p:cNvPr id="33" name="Text Placeholder 8">
            <a:extLst>
              <a:ext uri="{FF2B5EF4-FFF2-40B4-BE49-F238E27FC236}">
                <a16:creationId xmlns:a16="http://schemas.microsoft.com/office/drawing/2014/main" id="{CFDDF380-03F2-430C-A627-5A8C126E9E1E}"/>
              </a:ext>
            </a:extLst>
          </p:cNvPr>
          <p:cNvSpPr>
            <a:spLocks noGrp="1"/>
          </p:cNvSpPr>
          <p:nvPr>
            <p:ph type="body" sz="quarter" idx="50" hasCustomPrompt="1"/>
          </p:nvPr>
        </p:nvSpPr>
        <p:spPr>
          <a:xfrm>
            <a:off x="12663565" y="7109796"/>
            <a:ext cx="4495662" cy="983474"/>
          </a:xfrm>
        </p:spPr>
        <p:txBody>
          <a:bodyPr wrap="square">
            <a:noAutofit/>
          </a:bodyPr>
          <a:lstStyle>
            <a:lvl1pPr>
              <a:defRPr sz="2400" b="0" i="0">
                <a:solidFill>
                  <a:schemeClr val="bg1"/>
                </a:solidFill>
              </a:defRPr>
            </a:lvl1pPr>
          </a:lstStyle>
          <a:p>
            <a:r>
              <a:rPr lang="de-DE"/>
              <a:t>[Insert date XX/XXXX]</a:t>
            </a:r>
          </a:p>
        </p:txBody>
      </p:sp>
      <p:sp>
        <p:nvSpPr>
          <p:cNvPr id="34" name="Text Placeholder 8">
            <a:extLst>
              <a:ext uri="{FF2B5EF4-FFF2-40B4-BE49-F238E27FC236}">
                <a16:creationId xmlns:a16="http://schemas.microsoft.com/office/drawing/2014/main" id="{4AA80D0E-0A00-43E7-B303-FB7B78F3DA68}"/>
              </a:ext>
            </a:extLst>
          </p:cNvPr>
          <p:cNvSpPr>
            <a:spLocks noGrp="1"/>
          </p:cNvSpPr>
          <p:nvPr>
            <p:ph type="body" sz="quarter" idx="51" hasCustomPrompt="1"/>
          </p:nvPr>
        </p:nvSpPr>
        <p:spPr>
          <a:xfrm>
            <a:off x="12663565" y="6612397"/>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r>
              <a:rPr lang="de-DE"/>
              <a:t>launch DATE [Estimated]</a:t>
            </a:r>
          </a:p>
        </p:txBody>
      </p:sp>
      <p:sp>
        <p:nvSpPr>
          <p:cNvPr id="35" name="Text Placeholder 8">
            <a:extLst>
              <a:ext uri="{FF2B5EF4-FFF2-40B4-BE49-F238E27FC236}">
                <a16:creationId xmlns:a16="http://schemas.microsoft.com/office/drawing/2014/main" id="{3125C4DC-FC8B-4D98-883D-66D8AA3BFD69}"/>
              </a:ext>
            </a:extLst>
          </p:cNvPr>
          <p:cNvSpPr>
            <a:spLocks noGrp="1"/>
          </p:cNvSpPr>
          <p:nvPr>
            <p:ph type="body" sz="quarter" idx="52" hasCustomPrompt="1"/>
          </p:nvPr>
        </p:nvSpPr>
        <p:spPr>
          <a:xfrm>
            <a:off x="18113511" y="7109796"/>
            <a:ext cx="4495662" cy="1500539"/>
          </a:xfrm>
        </p:spPr>
        <p:txBody>
          <a:bodyPr wrap="square">
            <a:noAutofit/>
          </a:bodyPr>
          <a:lstStyle>
            <a:lvl1pPr>
              <a:defRPr sz="2400" b="0" i="0">
                <a:solidFill>
                  <a:schemeClr val="bg1"/>
                </a:solidFill>
              </a:defRPr>
            </a:lvl1pPr>
          </a:lstStyle>
          <a:p>
            <a:r>
              <a:rPr lang="en-US"/>
              <a:t>[Choose one: Prototype/ Alpha/ Beta/ MVP/Full-Production]</a:t>
            </a:r>
          </a:p>
        </p:txBody>
      </p:sp>
      <p:sp>
        <p:nvSpPr>
          <p:cNvPr id="36" name="Text Placeholder 8">
            <a:extLst>
              <a:ext uri="{FF2B5EF4-FFF2-40B4-BE49-F238E27FC236}">
                <a16:creationId xmlns:a16="http://schemas.microsoft.com/office/drawing/2014/main" id="{0679F2F4-0859-4CBE-B644-16BA72B362C5}"/>
              </a:ext>
            </a:extLst>
          </p:cNvPr>
          <p:cNvSpPr>
            <a:spLocks noGrp="1"/>
          </p:cNvSpPr>
          <p:nvPr>
            <p:ph type="body" sz="quarter" idx="53" hasCustomPrompt="1"/>
          </p:nvPr>
        </p:nvSpPr>
        <p:spPr>
          <a:xfrm>
            <a:off x="18113511" y="6612397"/>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RELEASED AS</a:t>
            </a:r>
          </a:p>
        </p:txBody>
      </p:sp>
      <p:sp>
        <p:nvSpPr>
          <p:cNvPr id="37" name="Text Placeholder 8">
            <a:extLst>
              <a:ext uri="{FF2B5EF4-FFF2-40B4-BE49-F238E27FC236}">
                <a16:creationId xmlns:a16="http://schemas.microsoft.com/office/drawing/2014/main" id="{621D5358-0770-4C9B-B5F9-34520DFC9A76}"/>
              </a:ext>
            </a:extLst>
          </p:cNvPr>
          <p:cNvSpPr>
            <a:spLocks noGrp="1"/>
          </p:cNvSpPr>
          <p:nvPr>
            <p:ph type="body" sz="quarter" idx="54" hasCustomPrompt="1"/>
          </p:nvPr>
        </p:nvSpPr>
        <p:spPr>
          <a:xfrm>
            <a:off x="1763674" y="10877408"/>
            <a:ext cx="2277329" cy="819520"/>
          </a:xfrm>
        </p:spPr>
        <p:txBody>
          <a:bodyPr wrap="square">
            <a:spAutoFit/>
          </a:bodyPr>
          <a:lstStyle>
            <a:lvl1pPr>
              <a:defRPr sz="2000" b="0" i="0">
                <a:solidFill>
                  <a:schemeClr val="bg1"/>
                </a:solidFill>
              </a:defRPr>
            </a:lvl1pPr>
          </a:lstStyle>
          <a:p>
            <a:r>
              <a:rPr lang="de-DE"/>
              <a:t>[Name Surname]</a:t>
            </a:r>
          </a:p>
          <a:p>
            <a:r>
              <a:rPr lang="de-DE"/>
              <a:t>[Title]</a:t>
            </a:r>
          </a:p>
        </p:txBody>
      </p:sp>
      <p:sp>
        <p:nvSpPr>
          <p:cNvPr id="38" name="Text Placeholder 8">
            <a:extLst>
              <a:ext uri="{FF2B5EF4-FFF2-40B4-BE49-F238E27FC236}">
                <a16:creationId xmlns:a16="http://schemas.microsoft.com/office/drawing/2014/main" id="{2EF11EB5-6261-43E5-B063-B677AE942F4D}"/>
              </a:ext>
            </a:extLst>
          </p:cNvPr>
          <p:cNvSpPr>
            <a:spLocks noGrp="1"/>
          </p:cNvSpPr>
          <p:nvPr>
            <p:ph type="body" sz="quarter" idx="55" hasCustomPrompt="1"/>
          </p:nvPr>
        </p:nvSpPr>
        <p:spPr>
          <a:xfrm>
            <a:off x="1763673" y="10333313"/>
            <a:ext cx="4495662" cy="388633"/>
          </a:xfrm>
        </p:spPr>
        <p:txBody>
          <a:bodyPr wrap="square" anchor="t">
            <a:spAutoFit/>
          </a:bodyPr>
          <a:lstStyle>
            <a:lvl1pPr>
              <a:defRPr sz="2000" b="0" i="0" cap="all" spc="60" baseline="0">
                <a:solidFill>
                  <a:schemeClr val="bg1"/>
                </a:solidFill>
                <a:latin typeface="Arial" panose="020B0604020202020204" pitchFamily="34" charset="0"/>
              </a:defRPr>
            </a:lvl1pPr>
          </a:lstStyle>
          <a:p>
            <a:r>
              <a:rPr lang="de-DE"/>
              <a:t>FROG TEAM:</a:t>
            </a:r>
          </a:p>
        </p:txBody>
      </p:sp>
      <p:sp>
        <p:nvSpPr>
          <p:cNvPr id="40" name="Text Placeholder 8">
            <a:extLst>
              <a:ext uri="{FF2B5EF4-FFF2-40B4-BE49-F238E27FC236}">
                <a16:creationId xmlns:a16="http://schemas.microsoft.com/office/drawing/2014/main" id="{FC8D9C68-8A65-4FBC-8945-922B7A780DD8}"/>
              </a:ext>
            </a:extLst>
          </p:cNvPr>
          <p:cNvSpPr>
            <a:spLocks noGrp="1"/>
          </p:cNvSpPr>
          <p:nvPr>
            <p:ph type="body" sz="quarter" idx="56" hasCustomPrompt="1"/>
          </p:nvPr>
        </p:nvSpPr>
        <p:spPr>
          <a:xfrm>
            <a:off x="4416270" y="10877408"/>
            <a:ext cx="2277329" cy="819520"/>
          </a:xfrm>
        </p:spPr>
        <p:txBody>
          <a:bodyPr wrap="square">
            <a:spAutoFit/>
          </a:bodyPr>
          <a:lstStyle>
            <a:lvl1pPr>
              <a:defRPr sz="2000" b="0" i="0">
                <a:solidFill>
                  <a:schemeClr val="bg1"/>
                </a:solidFill>
              </a:defRPr>
            </a:lvl1pPr>
          </a:lstStyle>
          <a:p>
            <a:r>
              <a:rPr lang="de-DE"/>
              <a:t>[Name Surname]</a:t>
            </a:r>
          </a:p>
          <a:p>
            <a:r>
              <a:rPr lang="de-DE"/>
              <a:t>[Title]</a:t>
            </a:r>
          </a:p>
        </p:txBody>
      </p:sp>
      <p:sp>
        <p:nvSpPr>
          <p:cNvPr id="41" name="Text Placeholder 8">
            <a:extLst>
              <a:ext uri="{FF2B5EF4-FFF2-40B4-BE49-F238E27FC236}">
                <a16:creationId xmlns:a16="http://schemas.microsoft.com/office/drawing/2014/main" id="{1A9E0126-F659-4792-ADA7-CD6D397B8371}"/>
              </a:ext>
            </a:extLst>
          </p:cNvPr>
          <p:cNvSpPr>
            <a:spLocks noGrp="1"/>
          </p:cNvSpPr>
          <p:nvPr>
            <p:ph type="body" sz="quarter" idx="57" hasCustomPrompt="1"/>
          </p:nvPr>
        </p:nvSpPr>
        <p:spPr>
          <a:xfrm>
            <a:off x="7068866" y="10877408"/>
            <a:ext cx="2277329" cy="819520"/>
          </a:xfrm>
        </p:spPr>
        <p:txBody>
          <a:bodyPr wrap="square">
            <a:spAutoFit/>
          </a:bodyPr>
          <a:lstStyle>
            <a:lvl1pPr>
              <a:defRPr sz="2000" b="0" i="0">
                <a:solidFill>
                  <a:schemeClr val="bg1"/>
                </a:solidFill>
              </a:defRPr>
            </a:lvl1pPr>
          </a:lstStyle>
          <a:p>
            <a:r>
              <a:rPr lang="de-DE"/>
              <a:t>[Name Surname]</a:t>
            </a:r>
          </a:p>
          <a:p>
            <a:r>
              <a:rPr lang="de-DE"/>
              <a:t>[Title]</a:t>
            </a:r>
          </a:p>
        </p:txBody>
      </p:sp>
      <p:sp>
        <p:nvSpPr>
          <p:cNvPr id="42" name="Text Placeholder 8">
            <a:extLst>
              <a:ext uri="{FF2B5EF4-FFF2-40B4-BE49-F238E27FC236}">
                <a16:creationId xmlns:a16="http://schemas.microsoft.com/office/drawing/2014/main" id="{D14F0283-63C7-4816-A630-57EE32BB9A83}"/>
              </a:ext>
            </a:extLst>
          </p:cNvPr>
          <p:cNvSpPr>
            <a:spLocks noGrp="1"/>
          </p:cNvSpPr>
          <p:nvPr>
            <p:ph type="body" sz="quarter" idx="58" hasCustomPrompt="1"/>
          </p:nvPr>
        </p:nvSpPr>
        <p:spPr>
          <a:xfrm>
            <a:off x="9721462" y="10877408"/>
            <a:ext cx="2277329" cy="819520"/>
          </a:xfrm>
        </p:spPr>
        <p:txBody>
          <a:bodyPr wrap="square">
            <a:spAutoFit/>
          </a:bodyPr>
          <a:lstStyle>
            <a:lvl1pPr>
              <a:defRPr sz="2000" b="0" i="0">
                <a:solidFill>
                  <a:schemeClr val="bg1"/>
                </a:solidFill>
              </a:defRPr>
            </a:lvl1pPr>
          </a:lstStyle>
          <a:p>
            <a:r>
              <a:rPr lang="de-DE"/>
              <a:t>[Name Surname]</a:t>
            </a:r>
          </a:p>
          <a:p>
            <a:r>
              <a:rPr lang="de-DE"/>
              <a:t>[Title]</a:t>
            </a:r>
          </a:p>
        </p:txBody>
      </p:sp>
      <p:sp>
        <p:nvSpPr>
          <p:cNvPr id="43" name="Text Placeholder 8">
            <a:extLst>
              <a:ext uri="{FF2B5EF4-FFF2-40B4-BE49-F238E27FC236}">
                <a16:creationId xmlns:a16="http://schemas.microsoft.com/office/drawing/2014/main" id="{A289D1E4-743A-415C-8120-00A0F651EEF8}"/>
              </a:ext>
            </a:extLst>
          </p:cNvPr>
          <p:cNvSpPr>
            <a:spLocks noGrp="1"/>
          </p:cNvSpPr>
          <p:nvPr>
            <p:ph type="body" sz="quarter" idx="59" hasCustomPrompt="1"/>
          </p:nvPr>
        </p:nvSpPr>
        <p:spPr>
          <a:xfrm>
            <a:off x="12374058" y="10877408"/>
            <a:ext cx="2277329" cy="819520"/>
          </a:xfrm>
        </p:spPr>
        <p:txBody>
          <a:bodyPr wrap="square">
            <a:spAutoFit/>
          </a:bodyPr>
          <a:lstStyle>
            <a:lvl1pPr>
              <a:defRPr sz="2000" b="0" i="0">
                <a:solidFill>
                  <a:schemeClr val="bg1"/>
                </a:solidFill>
              </a:defRPr>
            </a:lvl1pPr>
          </a:lstStyle>
          <a:p>
            <a:r>
              <a:rPr lang="de-DE"/>
              <a:t>[Name Surname]</a:t>
            </a:r>
          </a:p>
          <a:p>
            <a:r>
              <a:rPr lang="de-DE"/>
              <a:t>[Title]</a:t>
            </a:r>
          </a:p>
        </p:txBody>
      </p:sp>
      <p:sp>
        <p:nvSpPr>
          <p:cNvPr id="44" name="Text Placeholder 8">
            <a:extLst>
              <a:ext uri="{FF2B5EF4-FFF2-40B4-BE49-F238E27FC236}">
                <a16:creationId xmlns:a16="http://schemas.microsoft.com/office/drawing/2014/main" id="{7E5588CA-63C7-45CC-ACAD-D96A7C573691}"/>
              </a:ext>
            </a:extLst>
          </p:cNvPr>
          <p:cNvSpPr>
            <a:spLocks noGrp="1"/>
          </p:cNvSpPr>
          <p:nvPr>
            <p:ph type="body" sz="quarter" idx="60" hasCustomPrompt="1"/>
          </p:nvPr>
        </p:nvSpPr>
        <p:spPr>
          <a:xfrm>
            <a:off x="15026654" y="10877408"/>
            <a:ext cx="2277329" cy="819520"/>
          </a:xfrm>
        </p:spPr>
        <p:txBody>
          <a:bodyPr wrap="square">
            <a:spAutoFit/>
          </a:bodyPr>
          <a:lstStyle>
            <a:lvl1pPr>
              <a:defRPr sz="2000" b="0" i="0">
                <a:solidFill>
                  <a:schemeClr val="bg1"/>
                </a:solidFill>
              </a:defRPr>
            </a:lvl1pPr>
          </a:lstStyle>
          <a:p>
            <a:r>
              <a:rPr lang="de-DE"/>
              <a:t>[Name Surname]</a:t>
            </a:r>
          </a:p>
          <a:p>
            <a:r>
              <a:rPr lang="de-DE"/>
              <a:t>[Title]</a:t>
            </a:r>
          </a:p>
        </p:txBody>
      </p:sp>
      <p:sp>
        <p:nvSpPr>
          <p:cNvPr id="45" name="Text Placeholder 8">
            <a:extLst>
              <a:ext uri="{FF2B5EF4-FFF2-40B4-BE49-F238E27FC236}">
                <a16:creationId xmlns:a16="http://schemas.microsoft.com/office/drawing/2014/main" id="{F96A358D-F778-46FF-8767-56318C459EBE}"/>
              </a:ext>
            </a:extLst>
          </p:cNvPr>
          <p:cNvSpPr>
            <a:spLocks noGrp="1"/>
          </p:cNvSpPr>
          <p:nvPr>
            <p:ph type="body" sz="quarter" idx="61" hasCustomPrompt="1"/>
          </p:nvPr>
        </p:nvSpPr>
        <p:spPr>
          <a:xfrm>
            <a:off x="17679250" y="10877408"/>
            <a:ext cx="2277329" cy="819520"/>
          </a:xfrm>
        </p:spPr>
        <p:txBody>
          <a:bodyPr wrap="square">
            <a:spAutoFit/>
          </a:bodyPr>
          <a:lstStyle>
            <a:lvl1pPr>
              <a:defRPr sz="2000" b="0" i="0">
                <a:solidFill>
                  <a:schemeClr val="bg1"/>
                </a:solidFill>
              </a:defRPr>
            </a:lvl1pPr>
          </a:lstStyle>
          <a:p>
            <a:r>
              <a:rPr lang="de-DE"/>
              <a:t>[Name Surname]</a:t>
            </a:r>
          </a:p>
          <a:p>
            <a:r>
              <a:rPr lang="de-DE"/>
              <a:t>[Title]</a:t>
            </a:r>
          </a:p>
        </p:txBody>
      </p:sp>
      <p:sp>
        <p:nvSpPr>
          <p:cNvPr id="46" name="Text Placeholder 8">
            <a:extLst>
              <a:ext uri="{FF2B5EF4-FFF2-40B4-BE49-F238E27FC236}">
                <a16:creationId xmlns:a16="http://schemas.microsoft.com/office/drawing/2014/main" id="{4F9E6162-836F-4E5D-908C-1F1A8523B23A}"/>
              </a:ext>
            </a:extLst>
          </p:cNvPr>
          <p:cNvSpPr>
            <a:spLocks noGrp="1"/>
          </p:cNvSpPr>
          <p:nvPr>
            <p:ph type="body" sz="quarter" idx="62" hasCustomPrompt="1"/>
          </p:nvPr>
        </p:nvSpPr>
        <p:spPr>
          <a:xfrm>
            <a:off x="20331846" y="10877408"/>
            <a:ext cx="2277329" cy="819520"/>
          </a:xfrm>
        </p:spPr>
        <p:txBody>
          <a:bodyPr wrap="square">
            <a:spAutoFit/>
          </a:bodyPr>
          <a:lstStyle>
            <a:lvl1pPr>
              <a:defRPr sz="2000" b="0" i="0">
                <a:solidFill>
                  <a:schemeClr val="bg1"/>
                </a:solidFill>
              </a:defRPr>
            </a:lvl1pPr>
          </a:lstStyle>
          <a:p>
            <a:r>
              <a:rPr lang="de-DE"/>
              <a:t>[Name Surname]</a:t>
            </a:r>
          </a:p>
          <a:p>
            <a:r>
              <a:rPr lang="de-DE"/>
              <a:t>[Title]</a:t>
            </a:r>
          </a:p>
        </p:txBody>
      </p:sp>
      <p:sp>
        <p:nvSpPr>
          <p:cNvPr id="47" name="Text Placeholder 4">
            <a:extLst>
              <a:ext uri="{FF2B5EF4-FFF2-40B4-BE49-F238E27FC236}">
                <a16:creationId xmlns:a16="http://schemas.microsoft.com/office/drawing/2014/main" id="{DCDC0E95-4FFD-4544-A1F2-F344881786BF}"/>
              </a:ext>
            </a:extLst>
          </p:cNvPr>
          <p:cNvSpPr>
            <a:spLocks noGrp="1"/>
          </p:cNvSpPr>
          <p:nvPr>
            <p:ph type="body" sz="quarter" idx="63" hasCustomPrompt="1"/>
          </p:nvPr>
        </p:nvSpPr>
        <p:spPr>
          <a:xfrm rot="16200000">
            <a:off x="6101476" y="7211398"/>
            <a:ext cx="1270001" cy="72000"/>
          </a:xfrm>
          <a:solidFill>
            <a:srgbClr val="313131"/>
          </a:solidFill>
        </p:spPr>
        <p:txBody>
          <a:bodyPr>
            <a:noAutofit/>
          </a:bodyPr>
          <a:lstStyle>
            <a:lvl1pPr>
              <a:defRPr b="0" i="0"/>
            </a:lvl1pPr>
          </a:lstStyle>
          <a:p>
            <a:pPr lvl="0"/>
            <a:r>
              <a:rPr lang="en-US"/>
              <a:t> </a:t>
            </a:r>
            <a:endParaRPr lang="de-DE"/>
          </a:p>
        </p:txBody>
      </p:sp>
      <p:sp>
        <p:nvSpPr>
          <p:cNvPr id="48" name="Text Placeholder 4">
            <a:extLst>
              <a:ext uri="{FF2B5EF4-FFF2-40B4-BE49-F238E27FC236}">
                <a16:creationId xmlns:a16="http://schemas.microsoft.com/office/drawing/2014/main" id="{1BB04D2F-7E2B-4E11-BB98-C5CD5D03A300}"/>
              </a:ext>
            </a:extLst>
          </p:cNvPr>
          <p:cNvSpPr>
            <a:spLocks noGrp="1"/>
          </p:cNvSpPr>
          <p:nvPr>
            <p:ph type="body" sz="quarter" idx="64" hasCustomPrompt="1"/>
          </p:nvPr>
        </p:nvSpPr>
        <p:spPr>
          <a:xfrm rot="16200000">
            <a:off x="11551422" y="7211399"/>
            <a:ext cx="1270001" cy="72000"/>
          </a:xfrm>
          <a:solidFill>
            <a:srgbClr val="313131"/>
          </a:solidFill>
        </p:spPr>
        <p:txBody>
          <a:bodyPr>
            <a:noAutofit/>
          </a:bodyPr>
          <a:lstStyle>
            <a:lvl1pPr>
              <a:defRPr b="0" i="0"/>
            </a:lvl1pPr>
          </a:lstStyle>
          <a:p>
            <a:pPr lvl="0"/>
            <a:r>
              <a:rPr lang="en-US"/>
              <a:t> </a:t>
            </a:r>
            <a:endParaRPr lang="de-DE"/>
          </a:p>
        </p:txBody>
      </p:sp>
      <p:sp>
        <p:nvSpPr>
          <p:cNvPr id="49" name="Text Placeholder 4">
            <a:extLst>
              <a:ext uri="{FF2B5EF4-FFF2-40B4-BE49-F238E27FC236}">
                <a16:creationId xmlns:a16="http://schemas.microsoft.com/office/drawing/2014/main" id="{E0CCFE03-5193-4BDA-BF31-6B744888E2D3}"/>
              </a:ext>
            </a:extLst>
          </p:cNvPr>
          <p:cNvSpPr>
            <a:spLocks noGrp="1"/>
          </p:cNvSpPr>
          <p:nvPr>
            <p:ph type="body" sz="quarter" idx="65" hasCustomPrompt="1"/>
          </p:nvPr>
        </p:nvSpPr>
        <p:spPr>
          <a:xfrm rot="16200000">
            <a:off x="17001368" y="7211400"/>
            <a:ext cx="1270001" cy="72000"/>
          </a:xfrm>
          <a:solidFill>
            <a:srgbClr val="313131"/>
          </a:solidFill>
        </p:spPr>
        <p:txBody>
          <a:bodyPr>
            <a:noAutofit/>
          </a:bodyPr>
          <a:lstStyle>
            <a:lvl1pPr>
              <a:defRPr b="0" i="0"/>
            </a:lvl1pPr>
          </a:lstStyle>
          <a:p>
            <a:pPr lvl="0"/>
            <a:r>
              <a:rPr lang="en-US"/>
              <a:t> </a:t>
            </a:r>
            <a:endParaRPr lang="de-DE"/>
          </a:p>
        </p:txBody>
      </p:sp>
      <p:sp>
        <p:nvSpPr>
          <p:cNvPr id="50" name="Text Placeholder 4">
            <a:extLst>
              <a:ext uri="{FF2B5EF4-FFF2-40B4-BE49-F238E27FC236}">
                <a16:creationId xmlns:a16="http://schemas.microsoft.com/office/drawing/2014/main" id="{47238217-23B6-4553-9FB0-3EA578FD04F3}"/>
              </a:ext>
            </a:extLst>
          </p:cNvPr>
          <p:cNvSpPr>
            <a:spLocks noGrp="1"/>
          </p:cNvSpPr>
          <p:nvPr>
            <p:ph type="body" sz="quarter" idx="66" hasCustomPrompt="1"/>
          </p:nvPr>
        </p:nvSpPr>
        <p:spPr>
          <a:xfrm rot="16200000">
            <a:off x="6101477" y="4858979"/>
            <a:ext cx="1270001" cy="72000"/>
          </a:xfrm>
          <a:solidFill>
            <a:srgbClr val="313131"/>
          </a:solidFill>
        </p:spPr>
        <p:txBody>
          <a:bodyPr>
            <a:noAutofit/>
          </a:bodyPr>
          <a:lstStyle>
            <a:lvl1pPr>
              <a:defRPr b="0" i="0"/>
            </a:lvl1pPr>
          </a:lstStyle>
          <a:p>
            <a:pPr lvl="0"/>
            <a:r>
              <a:rPr lang="en-US"/>
              <a:t> </a:t>
            </a:r>
            <a:endParaRPr lang="de-DE"/>
          </a:p>
        </p:txBody>
      </p:sp>
      <p:sp>
        <p:nvSpPr>
          <p:cNvPr id="51" name="Text Placeholder 4">
            <a:extLst>
              <a:ext uri="{FF2B5EF4-FFF2-40B4-BE49-F238E27FC236}">
                <a16:creationId xmlns:a16="http://schemas.microsoft.com/office/drawing/2014/main" id="{11722615-7DB6-4F55-9153-9E466CA44772}"/>
              </a:ext>
            </a:extLst>
          </p:cNvPr>
          <p:cNvSpPr>
            <a:spLocks noGrp="1"/>
          </p:cNvSpPr>
          <p:nvPr>
            <p:ph type="body" sz="quarter" idx="67" hasCustomPrompt="1"/>
          </p:nvPr>
        </p:nvSpPr>
        <p:spPr>
          <a:xfrm rot="16200000">
            <a:off x="11551423" y="4858978"/>
            <a:ext cx="1270001" cy="72000"/>
          </a:xfrm>
          <a:solidFill>
            <a:srgbClr val="313131"/>
          </a:solidFill>
        </p:spPr>
        <p:txBody>
          <a:bodyPr>
            <a:noAutofit/>
          </a:bodyPr>
          <a:lstStyle>
            <a:lvl1pPr>
              <a:defRPr b="0" i="0"/>
            </a:lvl1pPr>
          </a:lstStyle>
          <a:p>
            <a:pPr lvl="0"/>
            <a:r>
              <a:rPr lang="en-US"/>
              <a:t> </a:t>
            </a:r>
            <a:endParaRPr lang="de-DE"/>
          </a:p>
        </p:txBody>
      </p:sp>
      <p:sp>
        <p:nvSpPr>
          <p:cNvPr id="52" name="Text Placeholder 4">
            <a:extLst>
              <a:ext uri="{FF2B5EF4-FFF2-40B4-BE49-F238E27FC236}">
                <a16:creationId xmlns:a16="http://schemas.microsoft.com/office/drawing/2014/main" id="{3BBF230E-21EB-4D7E-8DDC-6DCF8B76A792}"/>
              </a:ext>
            </a:extLst>
          </p:cNvPr>
          <p:cNvSpPr>
            <a:spLocks noGrp="1"/>
          </p:cNvSpPr>
          <p:nvPr>
            <p:ph type="body" sz="quarter" idx="68" hasCustomPrompt="1"/>
          </p:nvPr>
        </p:nvSpPr>
        <p:spPr>
          <a:xfrm rot="16200000">
            <a:off x="17001369" y="4858981"/>
            <a:ext cx="1270001" cy="72000"/>
          </a:xfrm>
          <a:solidFill>
            <a:srgbClr val="313131"/>
          </a:solidFill>
        </p:spPr>
        <p:txBody>
          <a:bodyPr>
            <a:noAutofit/>
          </a:bodyPr>
          <a:lstStyle>
            <a:lvl1pPr>
              <a:defRPr b="0" i="0"/>
            </a:lvl1pPr>
          </a:lstStyle>
          <a:p>
            <a:pPr lvl="0"/>
            <a:r>
              <a:rPr lang="en-US"/>
              <a:t> </a:t>
            </a:r>
            <a:endParaRPr lang="de-DE"/>
          </a:p>
        </p:txBody>
      </p:sp>
      <p:grpSp>
        <p:nvGrpSpPr>
          <p:cNvPr id="56" name="Group">
            <a:extLst>
              <a:ext uri="{FF2B5EF4-FFF2-40B4-BE49-F238E27FC236}">
                <a16:creationId xmlns:a16="http://schemas.microsoft.com/office/drawing/2014/main" id="{26F88C42-B556-4407-B5EE-8965DE3ED21D}"/>
              </a:ext>
            </a:extLst>
          </p:cNvPr>
          <p:cNvGrpSpPr/>
          <p:nvPr userDrawn="1"/>
        </p:nvGrpSpPr>
        <p:grpSpPr>
          <a:xfrm>
            <a:off x="885450" y="12829819"/>
            <a:ext cx="885653" cy="885653"/>
            <a:chOff x="0" y="0"/>
            <a:chExt cx="885651" cy="885651"/>
          </a:xfrm>
        </p:grpSpPr>
        <p:sp>
          <p:nvSpPr>
            <p:cNvPr id="57" name="Square">
              <a:extLst>
                <a:ext uri="{FF2B5EF4-FFF2-40B4-BE49-F238E27FC236}">
                  <a16:creationId xmlns:a16="http://schemas.microsoft.com/office/drawing/2014/main" id="{937074F6-A0EE-4443-AF7B-AF34CC31F3C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58" name="Image">
              <a:extLst>
                <a:ext uri="{FF2B5EF4-FFF2-40B4-BE49-F238E27FC236}">
                  <a16:creationId xmlns:a16="http://schemas.microsoft.com/office/drawing/2014/main" id="{811D38C5-EEA2-4A12-879D-C9AF1534D09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044596363"/>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Longform case study overview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4259977"/>
            <a:ext cx="1408152" cy="388824"/>
          </a:xfrm>
        </p:spPr>
        <p:txBody>
          <a:bodyPr wrap="square" anchor="t">
            <a:spAutoFit/>
          </a:bodyPr>
          <a:lstStyle>
            <a:lvl1pPr>
              <a:defRPr sz="2000" b="0" i="0" cap="all" spc="60" baseline="0">
                <a:solidFill>
                  <a:srgbClr val="6F6F6F"/>
                </a:solidFill>
                <a:latin typeface="Arial" panose="020B0604020202020204" pitchFamily="34" charset="0"/>
              </a:defRPr>
            </a:lvl1pPr>
          </a:lstStyle>
          <a:p>
            <a:pPr marL="0" marR="0" lvl="0" indent="0" algn="l" defTabSz="1828432" eaLnBrk="1" fontAlgn="auto" latinLnBrk="0" hangingPunct="1">
              <a:lnSpc>
                <a:spcPct val="140000"/>
              </a:lnSpc>
              <a:spcBef>
                <a:spcPts val="0"/>
              </a:spcBef>
              <a:spcAft>
                <a:spcPts val="0"/>
              </a:spcAft>
              <a:buClrTx/>
              <a:buSzTx/>
              <a:buFontTx/>
              <a:buNone/>
              <a:tabLst/>
              <a:defRPr/>
            </a:pPr>
            <a:r>
              <a:rPr lang="en-US"/>
              <a:t>OFFERING </a:t>
            </a:r>
            <a:endParaRPr lang="de-DE"/>
          </a:p>
        </p:txBody>
      </p:sp>
      <p:sp>
        <p:nvSpPr>
          <p:cNvPr id="12" name="Title 11">
            <a:extLst>
              <a:ext uri="{FF2B5EF4-FFF2-40B4-BE49-F238E27FC236}">
                <a16:creationId xmlns:a16="http://schemas.microsoft.com/office/drawing/2014/main" id="{10BEEDFC-E7A5-4F8D-96BF-00CE4CD992ED}"/>
              </a:ext>
            </a:extLst>
          </p:cNvPr>
          <p:cNvSpPr>
            <a:spLocks noGrp="1"/>
          </p:cNvSpPr>
          <p:nvPr>
            <p:ph type="title" hasCustomPrompt="1"/>
          </p:nvPr>
        </p:nvSpPr>
        <p:spPr/>
        <p:txBody>
          <a:bodyPr/>
          <a:lstStyle>
            <a:lvl1pPr>
              <a:defRPr>
                <a:solidFill>
                  <a:schemeClr val="bg1"/>
                </a:solidFill>
              </a:defRPr>
            </a:lvl1pPr>
          </a:lstStyle>
          <a:p>
            <a:r>
              <a:rPr lang="en-US"/>
              <a:t>Program Fact Sheet</a:t>
            </a:r>
          </a:p>
        </p:txBody>
      </p:sp>
      <p:sp>
        <p:nvSpPr>
          <p:cNvPr id="24" name="Text Placeholder 8">
            <a:extLst>
              <a:ext uri="{FF2B5EF4-FFF2-40B4-BE49-F238E27FC236}">
                <a16:creationId xmlns:a16="http://schemas.microsoft.com/office/drawing/2014/main" id="{48F1B5A5-82D2-4E9E-857F-19FE48564D29}"/>
              </a:ext>
            </a:extLst>
          </p:cNvPr>
          <p:cNvSpPr>
            <a:spLocks noGrp="1"/>
          </p:cNvSpPr>
          <p:nvPr>
            <p:ph type="body" sz="quarter" idx="41" hasCustomPrompt="1"/>
          </p:nvPr>
        </p:nvSpPr>
        <p:spPr>
          <a:xfrm>
            <a:off x="7213619" y="4259977"/>
            <a:ext cx="2473306" cy="388824"/>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Confidentiality</a:t>
            </a:r>
          </a:p>
        </p:txBody>
      </p:sp>
      <p:sp>
        <p:nvSpPr>
          <p:cNvPr id="25" name="Text Placeholder 8">
            <a:extLst>
              <a:ext uri="{FF2B5EF4-FFF2-40B4-BE49-F238E27FC236}">
                <a16:creationId xmlns:a16="http://schemas.microsoft.com/office/drawing/2014/main" id="{1ECAE980-1A32-4B38-B2ED-6A932D5361AC}"/>
              </a:ext>
            </a:extLst>
          </p:cNvPr>
          <p:cNvSpPr>
            <a:spLocks noGrp="1"/>
          </p:cNvSpPr>
          <p:nvPr>
            <p:ph type="body" sz="quarter" idx="42" hasCustomPrompt="1"/>
          </p:nvPr>
        </p:nvSpPr>
        <p:spPr>
          <a:xfrm>
            <a:off x="12663565" y="4755809"/>
            <a:ext cx="4495662" cy="2567803"/>
          </a:xfrm>
        </p:spPr>
        <p:txBody>
          <a:bodyPr wrap="square">
            <a:noAutofit/>
          </a:bodyPr>
          <a:lstStyle>
            <a:lvl1pPr marL="342900" marR="0" indent="-342900" algn="l" defTabSz="1828432" eaLnBrk="1" fontAlgn="auto" latinLnBrk="0" hangingPunct="1">
              <a:lnSpc>
                <a:spcPct val="140000"/>
              </a:lnSpc>
              <a:spcBef>
                <a:spcPts val="0"/>
              </a:spcBef>
              <a:spcAft>
                <a:spcPts val="0"/>
              </a:spcAft>
              <a:buClrTx/>
              <a:buSzTx/>
              <a:buFont typeface="Arial" panose="020B0604020202020204" pitchFamily="34" charset="0"/>
              <a:buChar char="•"/>
              <a:tabLst/>
              <a:defRPr sz="2400" b="0" i="0">
                <a:solidFill>
                  <a:schemeClr val="bg1"/>
                </a:solidFill>
              </a:defRPr>
            </a:lvl1pPr>
          </a:lstStyle>
          <a:p>
            <a:pPr lvl="0"/>
            <a:r>
              <a:rPr lang="en-US"/>
              <a:t>[Insert]</a:t>
            </a:r>
          </a:p>
          <a:p>
            <a:pPr marL="342900" marR="0" lvl="0" indent="-342900" algn="l" defTabSz="1828432" eaLnBrk="1" fontAlgn="auto" latinLnBrk="0" hangingPunct="1">
              <a:lnSpc>
                <a:spcPct val="140000"/>
              </a:lnSpc>
              <a:spcBef>
                <a:spcPts val="0"/>
              </a:spcBef>
              <a:spcAft>
                <a:spcPts val="0"/>
              </a:spcAft>
              <a:buClrTx/>
              <a:buSzTx/>
              <a:buFont typeface="Arial" panose="020B0604020202020204" pitchFamily="34" charset="0"/>
              <a:buChar char="•"/>
              <a:tabLst/>
              <a:defRPr/>
            </a:pPr>
            <a:r>
              <a:rPr lang="en-US"/>
              <a:t>[Insert]</a:t>
            </a:r>
          </a:p>
          <a:p>
            <a:pPr marL="342900" marR="0" lvl="0" indent="-342900" algn="l" defTabSz="1828432" eaLnBrk="1" fontAlgn="auto" latinLnBrk="0" hangingPunct="1">
              <a:lnSpc>
                <a:spcPct val="140000"/>
              </a:lnSpc>
              <a:spcBef>
                <a:spcPts val="0"/>
              </a:spcBef>
              <a:spcAft>
                <a:spcPts val="0"/>
              </a:spcAft>
              <a:buClrTx/>
              <a:buSzTx/>
              <a:buFont typeface="Arial" panose="020B0604020202020204" pitchFamily="34" charset="0"/>
              <a:buChar char="•"/>
              <a:tabLst/>
              <a:defRPr/>
            </a:pPr>
            <a:r>
              <a:rPr lang="en-US"/>
              <a:t>[Insert]</a:t>
            </a:r>
          </a:p>
          <a:p>
            <a:pPr marL="342900" marR="0" lvl="0" indent="-342900" algn="l" defTabSz="1828432" eaLnBrk="1" fontAlgn="auto" latinLnBrk="0" hangingPunct="1">
              <a:lnSpc>
                <a:spcPct val="140000"/>
              </a:lnSpc>
              <a:spcBef>
                <a:spcPts val="0"/>
              </a:spcBef>
              <a:spcAft>
                <a:spcPts val="0"/>
              </a:spcAft>
              <a:buClrTx/>
              <a:buSzTx/>
              <a:buFont typeface="Arial" panose="020B0604020202020204" pitchFamily="34" charset="0"/>
              <a:buChar char="•"/>
              <a:tabLst/>
              <a:defRPr/>
            </a:pPr>
            <a:r>
              <a:rPr lang="en-US"/>
              <a:t>[Insert]</a:t>
            </a:r>
          </a:p>
          <a:p>
            <a:pPr marL="342900" marR="0" lvl="0" indent="-342900" algn="l" defTabSz="1828432" eaLnBrk="1" fontAlgn="auto" latinLnBrk="0" hangingPunct="1">
              <a:lnSpc>
                <a:spcPct val="140000"/>
              </a:lnSpc>
              <a:spcBef>
                <a:spcPts val="0"/>
              </a:spcBef>
              <a:spcAft>
                <a:spcPts val="0"/>
              </a:spcAft>
              <a:buClrTx/>
              <a:buSzTx/>
              <a:buFont typeface="Arial" panose="020B0604020202020204" pitchFamily="34" charset="0"/>
              <a:buChar char="•"/>
              <a:tabLst/>
              <a:defRPr/>
            </a:pPr>
            <a:r>
              <a:rPr lang="en-US"/>
              <a:t>[Insert]</a:t>
            </a:r>
          </a:p>
          <a:p>
            <a:pPr marL="342900" marR="0" lvl="0" indent="-342900" algn="l" defTabSz="1828432" eaLnBrk="1" fontAlgn="auto" latinLnBrk="0" hangingPunct="1">
              <a:lnSpc>
                <a:spcPct val="140000"/>
              </a:lnSpc>
              <a:spcBef>
                <a:spcPts val="0"/>
              </a:spcBef>
              <a:spcAft>
                <a:spcPts val="0"/>
              </a:spcAft>
              <a:buClrTx/>
              <a:buSzTx/>
              <a:buFont typeface="Arial" panose="020B0604020202020204" pitchFamily="34" charset="0"/>
              <a:buChar char="•"/>
              <a:tabLst/>
              <a:defRPr/>
            </a:pPr>
            <a:endParaRPr lang="en-US"/>
          </a:p>
          <a:p>
            <a:pPr marL="342900" marR="0" lvl="0" indent="-342900" algn="l" defTabSz="1828432" eaLnBrk="1" fontAlgn="auto" latinLnBrk="0" hangingPunct="1">
              <a:lnSpc>
                <a:spcPct val="140000"/>
              </a:lnSpc>
              <a:spcBef>
                <a:spcPts val="0"/>
              </a:spcBef>
              <a:spcAft>
                <a:spcPts val="0"/>
              </a:spcAft>
              <a:buClrTx/>
              <a:buSzTx/>
              <a:buFont typeface="Arial" panose="020B0604020202020204" pitchFamily="34" charset="0"/>
              <a:buChar char="•"/>
              <a:tabLst/>
              <a:defRPr/>
            </a:pPr>
            <a:endParaRPr lang="en-US"/>
          </a:p>
          <a:p>
            <a:pPr marL="342900" marR="0" lvl="0" indent="-342900" algn="l" defTabSz="1828432" eaLnBrk="1" fontAlgn="auto" latinLnBrk="0" hangingPunct="1">
              <a:lnSpc>
                <a:spcPct val="140000"/>
              </a:lnSpc>
              <a:spcBef>
                <a:spcPts val="0"/>
              </a:spcBef>
              <a:spcAft>
                <a:spcPts val="0"/>
              </a:spcAft>
              <a:buClrTx/>
              <a:buSzTx/>
              <a:buFont typeface="Arial" panose="020B0604020202020204" pitchFamily="34" charset="0"/>
              <a:buChar char="•"/>
              <a:tabLst/>
              <a:defRPr/>
            </a:pPr>
            <a:endParaRPr lang="en-US"/>
          </a:p>
          <a:p>
            <a:pPr lvl="0"/>
            <a:endParaRPr lang="en-US"/>
          </a:p>
          <a:p>
            <a:pPr lvl="0"/>
            <a:endParaRPr lang="en-US"/>
          </a:p>
        </p:txBody>
      </p:sp>
      <p:sp>
        <p:nvSpPr>
          <p:cNvPr id="26" name="Text Placeholder 8">
            <a:extLst>
              <a:ext uri="{FF2B5EF4-FFF2-40B4-BE49-F238E27FC236}">
                <a16:creationId xmlns:a16="http://schemas.microsoft.com/office/drawing/2014/main" id="{EC5B15A3-2BA6-435D-8E1B-53919E892E62}"/>
              </a:ext>
            </a:extLst>
          </p:cNvPr>
          <p:cNvSpPr>
            <a:spLocks noGrp="1"/>
          </p:cNvSpPr>
          <p:nvPr>
            <p:ph type="body" sz="quarter" idx="43" hasCustomPrompt="1"/>
          </p:nvPr>
        </p:nvSpPr>
        <p:spPr>
          <a:xfrm>
            <a:off x="12663565" y="4259977"/>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r>
              <a:rPr lang="de-DE"/>
              <a:t>Capabilities</a:t>
            </a:r>
          </a:p>
        </p:txBody>
      </p:sp>
      <p:sp>
        <p:nvSpPr>
          <p:cNvPr id="27" name="Text Placeholder 8">
            <a:extLst>
              <a:ext uri="{FF2B5EF4-FFF2-40B4-BE49-F238E27FC236}">
                <a16:creationId xmlns:a16="http://schemas.microsoft.com/office/drawing/2014/main" id="{B9F4053C-0481-44BB-8DF4-9AD37445C9FA}"/>
              </a:ext>
            </a:extLst>
          </p:cNvPr>
          <p:cNvSpPr>
            <a:spLocks noGrp="1"/>
          </p:cNvSpPr>
          <p:nvPr>
            <p:ph type="body" sz="quarter" idx="44" hasCustomPrompt="1"/>
          </p:nvPr>
        </p:nvSpPr>
        <p:spPr>
          <a:xfrm>
            <a:off x="18113511" y="4755810"/>
            <a:ext cx="4495662" cy="983474"/>
          </a:xfrm>
        </p:spPr>
        <p:txBody>
          <a:bodyPr wrap="square">
            <a:noAutofit/>
          </a:bodyPr>
          <a:lstStyle>
            <a:lvl1pPr>
              <a:defRPr sz="2400" b="0" i="0">
                <a:solidFill>
                  <a:schemeClr val="bg1"/>
                </a:solidFill>
              </a:defRPr>
            </a:lvl1pPr>
          </a:lstStyle>
          <a:p>
            <a:pPr lvl="0"/>
            <a:r>
              <a:rPr lang="en-US"/>
              <a:t>[Insert industry]</a:t>
            </a:r>
          </a:p>
        </p:txBody>
      </p:sp>
      <p:sp>
        <p:nvSpPr>
          <p:cNvPr id="28" name="Text Placeholder 8">
            <a:extLst>
              <a:ext uri="{FF2B5EF4-FFF2-40B4-BE49-F238E27FC236}">
                <a16:creationId xmlns:a16="http://schemas.microsoft.com/office/drawing/2014/main" id="{52CC49E3-88DB-43A2-A286-C6C85076ECFE}"/>
              </a:ext>
            </a:extLst>
          </p:cNvPr>
          <p:cNvSpPr>
            <a:spLocks noGrp="1"/>
          </p:cNvSpPr>
          <p:nvPr>
            <p:ph type="body" sz="quarter" idx="45" hasCustomPrompt="1"/>
          </p:nvPr>
        </p:nvSpPr>
        <p:spPr>
          <a:xfrm>
            <a:off x="18113511" y="4259977"/>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Industry</a:t>
            </a:r>
          </a:p>
        </p:txBody>
      </p:sp>
      <p:sp>
        <p:nvSpPr>
          <p:cNvPr id="29" name="Text Placeholder 8">
            <a:extLst>
              <a:ext uri="{FF2B5EF4-FFF2-40B4-BE49-F238E27FC236}">
                <a16:creationId xmlns:a16="http://schemas.microsoft.com/office/drawing/2014/main" id="{1561150C-7F5F-4DFF-9DAF-A70BA0C2BA1B}"/>
              </a:ext>
            </a:extLst>
          </p:cNvPr>
          <p:cNvSpPr>
            <a:spLocks noGrp="1"/>
          </p:cNvSpPr>
          <p:nvPr>
            <p:ph type="body" sz="quarter" idx="46" hasCustomPrompt="1"/>
          </p:nvPr>
        </p:nvSpPr>
        <p:spPr>
          <a:xfrm>
            <a:off x="1763673" y="9041514"/>
            <a:ext cx="4495662" cy="983474"/>
          </a:xfrm>
        </p:spPr>
        <p:txBody>
          <a:bodyPr wrap="square">
            <a:noAutofit/>
          </a:bodyPr>
          <a:lstStyle>
            <a:lvl1pPr>
              <a:defRPr sz="2400" b="0" i="0">
                <a:solidFill>
                  <a:schemeClr val="bg1"/>
                </a:solidFill>
              </a:defRPr>
            </a:lvl1pPr>
          </a:lstStyle>
          <a:p>
            <a:r>
              <a:rPr lang="de-DE"/>
              <a:t>[Insert amount]</a:t>
            </a:r>
          </a:p>
        </p:txBody>
      </p:sp>
      <p:sp>
        <p:nvSpPr>
          <p:cNvPr id="30" name="Text Placeholder 8">
            <a:extLst>
              <a:ext uri="{FF2B5EF4-FFF2-40B4-BE49-F238E27FC236}">
                <a16:creationId xmlns:a16="http://schemas.microsoft.com/office/drawing/2014/main" id="{0D6EFE7D-C762-40FC-A522-CCE72805CA26}"/>
              </a:ext>
            </a:extLst>
          </p:cNvPr>
          <p:cNvSpPr>
            <a:spLocks noGrp="1"/>
          </p:cNvSpPr>
          <p:nvPr>
            <p:ph type="body" sz="quarter" idx="47" hasCustomPrompt="1"/>
          </p:nvPr>
        </p:nvSpPr>
        <p:spPr>
          <a:xfrm>
            <a:off x="1763673" y="8544115"/>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BUDGET</a:t>
            </a:r>
          </a:p>
        </p:txBody>
      </p:sp>
      <p:sp>
        <p:nvSpPr>
          <p:cNvPr id="33" name="Text Placeholder 8">
            <a:extLst>
              <a:ext uri="{FF2B5EF4-FFF2-40B4-BE49-F238E27FC236}">
                <a16:creationId xmlns:a16="http://schemas.microsoft.com/office/drawing/2014/main" id="{CFDDF380-03F2-430C-A627-5A8C126E9E1E}"/>
              </a:ext>
            </a:extLst>
          </p:cNvPr>
          <p:cNvSpPr>
            <a:spLocks noGrp="1"/>
          </p:cNvSpPr>
          <p:nvPr>
            <p:ph type="body" sz="quarter" idx="50" hasCustomPrompt="1"/>
          </p:nvPr>
        </p:nvSpPr>
        <p:spPr>
          <a:xfrm>
            <a:off x="12663565" y="9042921"/>
            <a:ext cx="4495662" cy="983474"/>
          </a:xfrm>
        </p:spPr>
        <p:txBody>
          <a:bodyPr wrap="square">
            <a:noAutofit/>
          </a:bodyPr>
          <a:lstStyle>
            <a:lvl1pPr>
              <a:defRPr sz="2400" b="0" i="0">
                <a:solidFill>
                  <a:schemeClr val="bg1"/>
                </a:solidFill>
              </a:defRPr>
            </a:lvl1pPr>
          </a:lstStyle>
          <a:p>
            <a:r>
              <a:rPr lang="en-US" noProof="0"/>
              <a:t>[Insert date MM/YYYY – MM/YYYY]</a:t>
            </a:r>
          </a:p>
        </p:txBody>
      </p:sp>
      <p:sp>
        <p:nvSpPr>
          <p:cNvPr id="34" name="Text Placeholder 8">
            <a:extLst>
              <a:ext uri="{FF2B5EF4-FFF2-40B4-BE49-F238E27FC236}">
                <a16:creationId xmlns:a16="http://schemas.microsoft.com/office/drawing/2014/main" id="{4AA80D0E-0A00-43E7-B303-FB7B78F3DA68}"/>
              </a:ext>
            </a:extLst>
          </p:cNvPr>
          <p:cNvSpPr>
            <a:spLocks noGrp="1"/>
          </p:cNvSpPr>
          <p:nvPr>
            <p:ph type="body" sz="quarter" idx="51" hasCustomPrompt="1"/>
          </p:nvPr>
        </p:nvSpPr>
        <p:spPr>
          <a:xfrm>
            <a:off x="12663565" y="8545522"/>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r>
              <a:rPr lang="en-US" noProof="0"/>
              <a:t>Project Start / END date</a:t>
            </a:r>
          </a:p>
        </p:txBody>
      </p:sp>
      <p:grpSp>
        <p:nvGrpSpPr>
          <p:cNvPr id="56" name="Group">
            <a:extLst>
              <a:ext uri="{FF2B5EF4-FFF2-40B4-BE49-F238E27FC236}">
                <a16:creationId xmlns:a16="http://schemas.microsoft.com/office/drawing/2014/main" id="{26F88C42-B556-4407-B5EE-8965DE3ED21D}"/>
              </a:ext>
            </a:extLst>
          </p:cNvPr>
          <p:cNvGrpSpPr/>
          <p:nvPr userDrawn="1"/>
        </p:nvGrpSpPr>
        <p:grpSpPr>
          <a:xfrm>
            <a:off x="885450" y="12829819"/>
            <a:ext cx="885653" cy="885653"/>
            <a:chOff x="0" y="0"/>
            <a:chExt cx="885651" cy="885651"/>
          </a:xfrm>
        </p:grpSpPr>
        <p:sp>
          <p:nvSpPr>
            <p:cNvPr id="57" name="Square">
              <a:extLst>
                <a:ext uri="{FF2B5EF4-FFF2-40B4-BE49-F238E27FC236}">
                  <a16:creationId xmlns:a16="http://schemas.microsoft.com/office/drawing/2014/main" id="{937074F6-A0EE-4443-AF7B-AF34CC31F3C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58" name="Image">
              <a:extLst>
                <a:ext uri="{FF2B5EF4-FFF2-40B4-BE49-F238E27FC236}">
                  <a16:creationId xmlns:a16="http://schemas.microsoft.com/office/drawing/2014/main" id="{811D38C5-EEA2-4A12-879D-C9AF1534D09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53" name="Text Placeholder 8">
            <a:extLst>
              <a:ext uri="{FF2B5EF4-FFF2-40B4-BE49-F238E27FC236}">
                <a16:creationId xmlns:a16="http://schemas.microsoft.com/office/drawing/2014/main" id="{BE04E76A-A2D7-5F4A-90DF-9FA1CF83D44F}"/>
              </a:ext>
            </a:extLst>
          </p:cNvPr>
          <p:cNvSpPr>
            <a:spLocks noGrp="1"/>
          </p:cNvSpPr>
          <p:nvPr>
            <p:ph type="body" sz="quarter" idx="69" hasCustomPrompt="1"/>
          </p:nvPr>
        </p:nvSpPr>
        <p:spPr>
          <a:xfrm>
            <a:off x="1763673" y="11122795"/>
            <a:ext cx="4495662" cy="983474"/>
          </a:xfrm>
        </p:spPr>
        <p:txBody>
          <a:bodyPr wrap="square">
            <a:noAutofit/>
          </a:bodyPr>
          <a:lstStyle>
            <a:lvl1pPr>
              <a:defRPr sz="2400" b="0" i="0">
                <a:solidFill>
                  <a:schemeClr val="bg1"/>
                </a:solidFill>
              </a:defRPr>
            </a:lvl1pPr>
          </a:lstStyle>
          <a:p>
            <a:r>
              <a:rPr lang="de-DE"/>
              <a:t>[# of </a:t>
            </a:r>
            <a:r>
              <a:rPr lang="en-US" noProof="0"/>
              <a:t>frogs</a:t>
            </a:r>
            <a:r>
              <a:rPr lang="de-DE"/>
              <a:t> + </a:t>
            </a:r>
            <a:r>
              <a:rPr lang="en-US" noProof="0"/>
              <a:t>extended</a:t>
            </a:r>
            <a:r>
              <a:rPr lang="de-DE"/>
              <a:t> </a:t>
            </a:r>
            <a:r>
              <a:rPr lang="de-DE" err="1"/>
              <a:t>team</a:t>
            </a:r>
            <a:r>
              <a:rPr lang="de-DE"/>
              <a:t>)</a:t>
            </a:r>
          </a:p>
        </p:txBody>
      </p:sp>
      <p:sp>
        <p:nvSpPr>
          <p:cNvPr id="54" name="Text Placeholder 8">
            <a:extLst>
              <a:ext uri="{FF2B5EF4-FFF2-40B4-BE49-F238E27FC236}">
                <a16:creationId xmlns:a16="http://schemas.microsoft.com/office/drawing/2014/main" id="{B722EE3A-533C-0949-9CF1-A6213049F4B9}"/>
              </a:ext>
            </a:extLst>
          </p:cNvPr>
          <p:cNvSpPr>
            <a:spLocks noGrp="1"/>
          </p:cNvSpPr>
          <p:nvPr>
            <p:ph type="body" sz="quarter" idx="70" hasCustomPrompt="1"/>
          </p:nvPr>
        </p:nvSpPr>
        <p:spPr>
          <a:xfrm>
            <a:off x="1763673" y="10625396"/>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Team Size</a:t>
            </a:r>
          </a:p>
        </p:txBody>
      </p:sp>
      <p:sp>
        <p:nvSpPr>
          <p:cNvPr id="59" name="Text Placeholder 4">
            <a:extLst>
              <a:ext uri="{FF2B5EF4-FFF2-40B4-BE49-F238E27FC236}">
                <a16:creationId xmlns:a16="http://schemas.microsoft.com/office/drawing/2014/main" id="{7EDF9DE2-CE6C-BE41-8B5A-BD9C8EFE5AD8}"/>
              </a:ext>
            </a:extLst>
          </p:cNvPr>
          <p:cNvSpPr>
            <a:spLocks noGrp="1"/>
          </p:cNvSpPr>
          <p:nvPr>
            <p:ph type="body" sz="quarter" idx="72" hasCustomPrompt="1"/>
          </p:nvPr>
        </p:nvSpPr>
        <p:spPr>
          <a:xfrm rot="16200000" flipV="1">
            <a:off x="13758371" y="8145214"/>
            <a:ext cx="7816196" cy="45719"/>
          </a:xfrm>
          <a:solidFill>
            <a:srgbClr val="313131"/>
          </a:solidFill>
        </p:spPr>
        <p:txBody>
          <a:bodyPr>
            <a:noAutofit/>
          </a:bodyPr>
          <a:lstStyle>
            <a:lvl1pPr>
              <a:defRPr b="0" i="0"/>
            </a:lvl1pPr>
          </a:lstStyle>
          <a:p>
            <a:pPr lvl="0"/>
            <a:r>
              <a:rPr lang="en-US"/>
              <a:t> </a:t>
            </a:r>
            <a:endParaRPr lang="de-DE"/>
          </a:p>
        </p:txBody>
      </p:sp>
      <p:sp>
        <p:nvSpPr>
          <p:cNvPr id="60" name="Text Placeholder 8">
            <a:extLst>
              <a:ext uri="{FF2B5EF4-FFF2-40B4-BE49-F238E27FC236}">
                <a16:creationId xmlns:a16="http://schemas.microsoft.com/office/drawing/2014/main" id="{70DD8858-2C3E-304D-B92C-59F3266F0E2F}"/>
              </a:ext>
            </a:extLst>
          </p:cNvPr>
          <p:cNvSpPr>
            <a:spLocks noGrp="1"/>
          </p:cNvSpPr>
          <p:nvPr>
            <p:ph type="body" sz="quarter" idx="73" hasCustomPrompt="1"/>
          </p:nvPr>
        </p:nvSpPr>
        <p:spPr>
          <a:xfrm>
            <a:off x="7199123" y="9042921"/>
            <a:ext cx="4495662" cy="983474"/>
          </a:xfrm>
        </p:spPr>
        <p:txBody>
          <a:bodyPr wrap="square">
            <a:noAutofit/>
          </a:bodyPr>
          <a:lstStyle>
            <a:lvl1pPr>
              <a:defRPr sz="2400" b="0" i="0">
                <a:solidFill>
                  <a:schemeClr val="bg1"/>
                </a:solidFill>
              </a:defRPr>
            </a:lvl1pPr>
          </a:lstStyle>
          <a:p>
            <a:r>
              <a:rPr lang="de-DE"/>
              <a:t>[</a:t>
            </a:r>
            <a:r>
              <a:rPr lang="en-US" noProof="0"/>
              <a:t>Describe</a:t>
            </a:r>
            <a:r>
              <a:rPr lang="de-DE"/>
              <a:t> </a:t>
            </a:r>
            <a:r>
              <a:rPr lang="en-US" noProof="0"/>
              <a:t>project</a:t>
            </a:r>
            <a:r>
              <a:rPr lang="de-DE"/>
              <a:t> </a:t>
            </a:r>
            <a:r>
              <a:rPr lang="en-US"/>
              <a:t>team(s) across frog, Invent, and Group]</a:t>
            </a:r>
            <a:endParaRPr lang="de-DE"/>
          </a:p>
        </p:txBody>
      </p:sp>
      <p:sp>
        <p:nvSpPr>
          <p:cNvPr id="61" name="Text Placeholder 8">
            <a:extLst>
              <a:ext uri="{FF2B5EF4-FFF2-40B4-BE49-F238E27FC236}">
                <a16:creationId xmlns:a16="http://schemas.microsoft.com/office/drawing/2014/main" id="{9FB8B160-4FC8-A34C-B6C0-95E44980A261}"/>
              </a:ext>
            </a:extLst>
          </p:cNvPr>
          <p:cNvSpPr>
            <a:spLocks noGrp="1"/>
          </p:cNvSpPr>
          <p:nvPr>
            <p:ph type="body" sz="quarter" idx="74" hasCustomPrompt="1"/>
          </p:nvPr>
        </p:nvSpPr>
        <p:spPr>
          <a:xfrm>
            <a:off x="7199123" y="8545522"/>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Delivery Setup</a:t>
            </a:r>
          </a:p>
        </p:txBody>
      </p:sp>
      <p:sp>
        <p:nvSpPr>
          <p:cNvPr id="2" name="TextBox 1">
            <a:extLst>
              <a:ext uri="{FF2B5EF4-FFF2-40B4-BE49-F238E27FC236}">
                <a16:creationId xmlns:a16="http://schemas.microsoft.com/office/drawing/2014/main" id="{AF1A53D1-3604-BA42-AADA-5556B5FC53A9}"/>
              </a:ext>
            </a:extLst>
          </p:cNvPr>
          <p:cNvSpPr txBox="1"/>
          <p:nvPr userDrawn="1"/>
        </p:nvSpPr>
        <p:spPr>
          <a:xfrm>
            <a:off x="14431617" y="594360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US" sz="2800" b="0" i="0" u="none" strike="noStrike" cap="none" spc="0" normalizeH="0" baseline="0">
              <a:ln>
                <a:noFill/>
              </a:ln>
              <a:solidFill>
                <a:schemeClr val="accent1">
                  <a:lumOff val="-57413"/>
                </a:schemeClr>
              </a:solidFill>
              <a:effectLst/>
              <a:uFill>
                <a:solidFill>
                  <a:schemeClr val="accent1">
                    <a:lumOff val="-57413"/>
                  </a:schemeClr>
                </a:solidFill>
              </a:uFill>
              <a:latin typeface="Arial" panose="020B0604020202020204" pitchFamily="34" charset="0"/>
              <a:ea typeface="+mn-ea"/>
              <a:cs typeface="Arial" panose="020B0604020202020204" pitchFamily="34" charset="0"/>
              <a:sym typeface="BentonSansF Book"/>
            </a:endParaRPr>
          </a:p>
        </p:txBody>
      </p:sp>
      <p:sp>
        <p:nvSpPr>
          <p:cNvPr id="64" name="Text Placeholder 8">
            <a:extLst>
              <a:ext uri="{FF2B5EF4-FFF2-40B4-BE49-F238E27FC236}">
                <a16:creationId xmlns:a16="http://schemas.microsoft.com/office/drawing/2014/main" id="{23C52C62-283D-1E4F-84CC-47C9FE1FE29D}"/>
              </a:ext>
            </a:extLst>
          </p:cNvPr>
          <p:cNvSpPr>
            <a:spLocks noGrp="1"/>
          </p:cNvSpPr>
          <p:nvPr>
            <p:ph type="body" sz="quarter" idx="75" hasCustomPrompt="1"/>
          </p:nvPr>
        </p:nvSpPr>
        <p:spPr>
          <a:xfrm>
            <a:off x="18124665" y="6913913"/>
            <a:ext cx="4495662" cy="983474"/>
          </a:xfrm>
        </p:spPr>
        <p:txBody>
          <a:bodyPr wrap="square">
            <a:noAutofit/>
          </a:bodyPr>
          <a:lstStyle>
            <a:lvl1pPr>
              <a:defRPr sz="2400" b="0" i="0">
                <a:solidFill>
                  <a:schemeClr val="bg1"/>
                </a:solidFill>
              </a:defRPr>
            </a:lvl1pPr>
          </a:lstStyle>
          <a:p>
            <a:pPr lvl="0"/>
            <a:r>
              <a:rPr lang="en-US"/>
              <a:t>[Insert inbound/outbound + </a:t>
            </a:r>
            <a:r>
              <a:rPr lang="en-US" err="1"/>
              <a:t>src</a:t>
            </a:r>
            <a:r>
              <a:rPr lang="en-US"/>
              <a:t>; frog, Invent, or Group]</a:t>
            </a:r>
          </a:p>
        </p:txBody>
      </p:sp>
      <p:sp>
        <p:nvSpPr>
          <p:cNvPr id="65" name="Text Placeholder 8">
            <a:extLst>
              <a:ext uri="{FF2B5EF4-FFF2-40B4-BE49-F238E27FC236}">
                <a16:creationId xmlns:a16="http://schemas.microsoft.com/office/drawing/2014/main" id="{36209F01-4500-7646-9B05-52F9127278E1}"/>
              </a:ext>
            </a:extLst>
          </p:cNvPr>
          <p:cNvSpPr>
            <a:spLocks noGrp="1"/>
          </p:cNvSpPr>
          <p:nvPr>
            <p:ph type="body" sz="quarter" idx="76" hasCustomPrompt="1"/>
          </p:nvPr>
        </p:nvSpPr>
        <p:spPr>
          <a:xfrm>
            <a:off x="18124665" y="6418080"/>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Source of opportunity</a:t>
            </a:r>
          </a:p>
        </p:txBody>
      </p:sp>
      <p:sp>
        <p:nvSpPr>
          <p:cNvPr id="66" name="Text Placeholder 8">
            <a:extLst>
              <a:ext uri="{FF2B5EF4-FFF2-40B4-BE49-F238E27FC236}">
                <a16:creationId xmlns:a16="http://schemas.microsoft.com/office/drawing/2014/main" id="{75962B49-2BC8-B746-9473-AC8B64C6E9A4}"/>
              </a:ext>
            </a:extLst>
          </p:cNvPr>
          <p:cNvSpPr>
            <a:spLocks noGrp="1"/>
          </p:cNvSpPr>
          <p:nvPr>
            <p:ph type="body" sz="quarter" idx="77" hasCustomPrompt="1"/>
          </p:nvPr>
        </p:nvSpPr>
        <p:spPr>
          <a:xfrm>
            <a:off x="18133956" y="9025732"/>
            <a:ext cx="4495662" cy="983474"/>
          </a:xfrm>
        </p:spPr>
        <p:txBody>
          <a:bodyPr wrap="square">
            <a:noAutofit/>
          </a:bodyPr>
          <a:lstStyle>
            <a:lvl1pPr>
              <a:defRPr sz="2400" b="0" i="0">
                <a:solidFill>
                  <a:schemeClr val="bg1"/>
                </a:solidFill>
              </a:defRPr>
            </a:lvl1pPr>
          </a:lstStyle>
          <a:p>
            <a:pPr lvl="0"/>
            <a:r>
              <a:rPr lang="en-US"/>
              <a:t>[Name + email]</a:t>
            </a:r>
          </a:p>
        </p:txBody>
      </p:sp>
      <p:sp>
        <p:nvSpPr>
          <p:cNvPr id="67" name="Text Placeholder 8">
            <a:extLst>
              <a:ext uri="{FF2B5EF4-FFF2-40B4-BE49-F238E27FC236}">
                <a16:creationId xmlns:a16="http://schemas.microsoft.com/office/drawing/2014/main" id="{8CAE56DB-1A91-6C47-913F-B976E6A015AE}"/>
              </a:ext>
            </a:extLst>
          </p:cNvPr>
          <p:cNvSpPr>
            <a:spLocks noGrp="1"/>
          </p:cNvSpPr>
          <p:nvPr>
            <p:ph type="body" sz="quarter" idx="78" hasCustomPrompt="1"/>
          </p:nvPr>
        </p:nvSpPr>
        <p:spPr>
          <a:xfrm>
            <a:off x="18133956" y="8529899"/>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Frog contacts</a:t>
            </a:r>
          </a:p>
        </p:txBody>
      </p:sp>
      <p:sp>
        <p:nvSpPr>
          <p:cNvPr id="68" name="Text Placeholder 8">
            <a:extLst>
              <a:ext uri="{FF2B5EF4-FFF2-40B4-BE49-F238E27FC236}">
                <a16:creationId xmlns:a16="http://schemas.microsoft.com/office/drawing/2014/main" id="{E5FFACAC-BBF1-D846-9711-AB5365124144}"/>
              </a:ext>
            </a:extLst>
          </p:cNvPr>
          <p:cNvSpPr>
            <a:spLocks noGrp="1"/>
          </p:cNvSpPr>
          <p:nvPr>
            <p:ph type="body" sz="quarter" idx="79" hasCustomPrompt="1"/>
          </p:nvPr>
        </p:nvSpPr>
        <p:spPr>
          <a:xfrm>
            <a:off x="18133956" y="11092699"/>
            <a:ext cx="4495662" cy="983474"/>
          </a:xfrm>
        </p:spPr>
        <p:txBody>
          <a:bodyPr wrap="square">
            <a:noAutofit/>
          </a:bodyPr>
          <a:lstStyle>
            <a:lvl1pPr>
              <a:defRPr sz="2400" b="0" i="0">
                <a:solidFill>
                  <a:schemeClr val="bg1"/>
                </a:solidFill>
              </a:defRPr>
            </a:lvl1pPr>
          </a:lstStyle>
          <a:p>
            <a:pPr lvl="0"/>
            <a:r>
              <a:rPr lang="en-US"/>
              <a:t>[Name + email]</a:t>
            </a:r>
          </a:p>
        </p:txBody>
      </p:sp>
      <p:sp>
        <p:nvSpPr>
          <p:cNvPr id="69" name="Text Placeholder 8">
            <a:extLst>
              <a:ext uri="{FF2B5EF4-FFF2-40B4-BE49-F238E27FC236}">
                <a16:creationId xmlns:a16="http://schemas.microsoft.com/office/drawing/2014/main" id="{C2592CB4-C608-F242-ABCB-AC7C658B47EF}"/>
              </a:ext>
            </a:extLst>
          </p:cNvPr>
          <p:cNvSpPr>
            <a:spLocks noGrp="1"/>
          </p:cNvSpPr>
          <p:nvPr>
            <p:ph type="body" sz="quarter" idx="80" hasCustomPrompt="1"/>
          </p:nvPr>
        </p:nvSpPr>
        <p:spPr>
          <a:xfrm>
            <a:off x="18133956" y="10596866"/>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pPr lvl="0"/>
            <a:r>
              <a:rPr lang="en-US"/>
              <a:t>Client contact</a:t>
            </a:r>
          </a:p>
        </p:txBody>
      </p:sp>
      <p:sp>
        <p:nvSpPr>
          <p:cNvPr id="70" name="Text Placeholder 4">
            <a:extLst>
              <a:ext uri="{FF2B5EF4-FFF2-40B4-BE49-F238E27FC236}">
                <a16:creationId xmlns:a16="http://schemas.microsoft.com/office/drawing/2014/main" id="{1C8ADA54-3C25-3D4F-A0FF-1F50FF77AE45}"/>
              </a:ext>
            </a:extLst>
          </p:cNvPr>
          <p:cNvSpPr>
            <a:spLocks noGrp="1"/>
          </p:cNvSpPr>
          <p:nvPr>
            <p:ph type="body" sz="quarter" idx="81" hasCustomPrompt="1"/>
          </p:nvPr>
        </p:nvSpPr>
        <p:spPr>
          <a:xfrm rot="16200000" flipV="1">
            <a:off x="8245811" y="8145214"/>
            <a:ext cx="7816196" cy="45719"/>
          </a:xfrm>
          <a:solidFill>
            <a:srgbClr val="313131"/>
          </a:solidFill>
        </p:spPr>
        <p:txBody>
          <a:bodyPr>
            <a:noAutofit/>
          </a:bodyPr>
          <a:lstStyle>
            <a:lvl1pPr>
              <a:defRPr b="0" i="0"/>
            </a:lvl1pPr>
          </a:lstStyle>
          <a:p>
            <a:pPr lvl="0"/>
            <a:r>
              <a:rPr lang="en-US"/>
              <a:t> </a:t>
            </a:r>
            <a:endParaRPr lang="de-DE"/>
          </a:p>
        </p:txBody>
      </p:sp>
      <p:sp>
        <p:nvSpPr>
          <p:cNvPr id="71" name="Text Placeholder 4">
            <a:extLst>
              <a:ext uri="{FF2B5EF4-FFF2-40B4-BE49-F238E27FC236}">
                <a16:creationId xmlns:a16="http://schemas.microsoft.com/office/drawing/2014/main" id="{EE09CDD8-2113-A24C-AA98-CB5EDD9E8B18}"/>
              </a:ext>
            </a:extLst>
          </p:cNvPr>
          <p:cNvSpPr>
            <a:spLocks noGrp="1"/>
          </p:cNvSpPr>
          <p:nvPr>
            <p:ph type="body" sz="quarter" idx="82" hasCustomPrompt="1"/>
          </p:nvPr>
        </p:nvSpPr>
        <p:spPr>
          <a:xfrm rot="16200000" flipV="1">
            <a:off x="2838033" y="8145214"/>
            <a:ext cx="7816196" cy="45719"/>
          </a:xfrm>
          <a:solidFill>
            <a:srgbClr val="313131"/>
          </a:solidFill>
        </p:spPr>
        <p:txBody>
          <a:bodyPr>
            <a:noAutofit/>
          </a:bodyPr>
          <a:lstStyle>
            <a:lvl1pPr>
              <a:defRPr b="0" i="0"/>
            </a:lvl1pPr>
          </a:lstStyle>
          <a:p>
            <a:pPr lvl="0"/>
            <a:r>
              <a:rPr lang="en-US"/>
              <a:t> </a:t>
            </a:r>
            <a:endParaRPr lang="de-DE"/>
          </a:p>
        </p:txBody>
      </p:sp>
      <p:sp>
        <p:nvSpPr>
          <p:cNvPr id="72" name="Text Placeholder 8">
            <a:extLst>
              <a:ext uri="{FF2B5EF4-FFF2-40B4-BE49-F238E27FC236}">
                <a16:creationId xmlns:a16="http://schemas.microsoft.com/office/drawing/2014/main" id="{DB835068-EBF0-6547-9009-A76FAE95A500}"/>
              </a:ext>
            </a:extLst>
          </p:cNvPr>
          <p:cNvSpPr>
            <a:spLocks noGrp="1"/>
          </p:cNvSpPr>
          <p:nvPr>
            <p:ph type="body" sz="quarter" idx="83" hasCustomPrompt="1"/>
          </p:nvPr>
        </p:nvSpPr>
        <p:spPr>
          <a:xfrm>
            <a:off x="12661151" y="11094265"/>
            <a:ext cx="4495662" cy="983474"/>
          </a:xfrm>
        </p:spPr>
        <p:txBody>
          <a:bodyPr wrap="square">
            <a:noAutofit/>
          </a:bodyPr>
          <a:lstStyle>
            <a:lvl1pPr>
              <a:defRPr sz="2400" b="0" i="0">
                <a:solidFill>
                  <a:schemeClr val="bg1"/>
                </a:solidFill>
              </a:defRPr>
            </a:lvl1pPr>
          </a:lstStyle>
          <a:p>
            <a:r>
              <a:rPr lang="en-US" noProof="0"/>
              <a:t>[Insert date MM/YYYY]</a:t>
            </a:r>
          </a:p>
        </p:txBody>
      </p:sp>
      <p:sp>
        <p:nvSpPr>
          <p:cNvPr id="73" name="Text Placeholder 8">
            <a:extLst>
              <a:ext uri="{FF2B5EF4-FFF2-40B4-BE49-F238E27FC236}">
                <a16:creationId xmlns:a16="http://schemas.microsoft.com/office/drawing/2014/main" id="{891D8331-B528-DE4C-B95C-EC0D1169CE8A}"/>
              </a:ext>
            </a:extLst>
          </p:cNvPr>
          <p:cNvSpPr>
            <a:spLocks noGrp="1"/>
          </p:cNvSpPr>
          <p:nvPr>
            <p:ph type="body" sz="quarter" idx="84" hasCustomPrompt="1"/>
          </p:nvPr>
        </p:nvSpPr>
        <p:spPr>
          <a:xfrm>
            <a:off x="12661151" y="10596866"/>
            <a:ext cx="4495662" cy="388633"/>
          </a:xfrm>
        </p:spPr>
        <p:txBody>
          <a:bodyPr wrap="square" anchor="t">
            <a:spAutoFit/>
          </a:bodyPr>
          <a:lstStyle>
            <a:lvl1pPr>
              <a:defRPr sz="2000" b="0" i="0" cap="all" spc="60" baseline="0">
                <a:solidFill>
                  <a:srgbClr val="6F6F6F"/>
                </a:solidFill>
                <a:latin typeface="Arial" panose="020B0604020202020204" pitchFamily="34" charset="0"/>
              </a:defRPr>
            </a:lvl1pPr>
          </a:lstStyle>
          <a:p>
            <a:r>
              <a:rPr lang="en-US" noProof="0"/>
              <a:t>Launch Date [Estimated]</a:t>
            </a:r>
          </a:p>
        </p:txBody>
      </p:sp>
      <p:sp>
        <p:nvSpPr>
          <p:cNvPr id="7" name="Rectangle 6">
            <a:extLst>
              <a:ext uri="{FF2B5EF4-FFF2-40B4-BE49-F238E27FC236}">
                <a16:creationId xmlns:a16="http://schemas.microsoft.com/office/drawing/2014/main" id="{6AE4D534-4B41-4D46-9DCC-BC0C7F0DD8FF}"/>
              </a:ext>
            </a:extLst>
          </p:cNvPr>
          <p:cNvSpPr/>
          <p:nvPr userDrawn="1"/>
        </p:nvSpPr>
        <p:spPr>
          <a:xfrm>
            <a:off x="3225937" y="4313197"/>
            <a:ext cx="2866490" cy="338554"/>
          </a:xfrm>
          <a:prstGeom prst="rect">
            <a:avLst/>
          </a:prstGeom>
        </p:spPr>
        <p:txBody>
          <a:bodyPr wrap="none">
            <a:spAutoFit/>
          </a:bodyPr>
          <a:lstStyle/>
          <a:p>
            <a:r>
              <a:rPr lang="en-US" sz="2000" b="0" i="0">
                <a:solidFill>
                  <a:srgbClr val="6F6F6F"/>
                </a:solidFill>
                <a:latin typeface="Arial" panose="020B0604020202020204" pitchFamily="34" charset="0"/>
                <a:cs typeface="Arial" panose="020B0604020202020204" pitchFamily="34" charset="0"/>
              </a:rPr>
              <a:t>[Delete non-applicable]</a:t>
            </a:r>
          </a:p>
        </p:txBody>
      </p:sp>
      <p:sp>
        <p:nvSpPr>
          <p:cNvPr id="39" name="Rectangle 38">
            <a:extLst>
              <a:ext uri="{FF2B5EF4-FFF2-40B4-BE49-F238E27FC236}">
                <a16:creationId xmlns:a16="http://schemas.microsoft.com/office/drawing/2014/main" id="{C15A84CA-5090-D44E-B2DC-EA1775B5361E}"/>
              </a:ext>
            </a:extLst>
          </p:cNvPr>
          <p:cNvSpPr/>
          <p:nvPr userDrawn="1"/>
        </p:nvSpPr>
        <p:spPr>
          <a:xfrm>
            <a:off x="9750562" y="4322722"/>
            <a:ext cx="1595309" cy="338554"/>
          </a:xfrm>
          <a:prstGeom prst="rect">
            <a:avLst/>
          </a:prstGeom>
        </p:spPr>
        <p:txBody>
          <a:bodyPr wrap="none">
            <a:spAutoFit/>
          </a:bodyPr>
          <a:lstStyle/>
          <a:p>
            <a:r>
              <a:rPr lang="en-US" sz="2000" b="0" i="0">
                <a:solidFill>
                  <a:srgbClr val="6F6F6F"/>
                </a:solidFill>
                <a:latin typeface="Arial" panose="020B0604020202020204" pitchFamily="34" charset="0"/>
                <a:cs typeface="Arial" panose="020B0604020202020204" pitchFamily="34" charset="0"/>
              </a:rPr>
              <a:t>[Select one]</a:t>
            </a:r>
          </a:p>
        </p:txBody>
      </p:sp>
      <p:sp>
        <p:nvSpPr>
          <p:cNvPr id="40" name="Text Placeholder 8">
            <a:extLst>
              <a:ext uri="{FF2B5EF4-FFF2-40B4-BE49-F238E27FC236}">
                <a16:creationId xmlns:a16="http://schemas.microsoft.com/office/drawing/2014/main" id="{8CCA54EB-6EA8-034B-8529-CB9F4FB33FF9}"/>
              </a:ext>
            </a:extLst>
          </p:cNvPr>
          <p:cNvSpPr>
            <a:spLocks noGrp="1"/>
          </p:cNvSpPr>
          <p:nvPr>
            <p:ph type="body" sz="quarter" idx="85" hasCustomPrompt="1"/>
          </p:nvPr>
        </p:nvSpPr>
        <p:spPr>
          <a:xfrm>
            <a:off x="7236497" y="5316483"/>
            <a:ext cx="4495662" cy="990532"/>
          </a:xfrm>
        </p:spPr>
        <p:txBody>
          <a:bodyPr wrap="square">
            <a:noAutofit/>
          </a:bodyPr>
          <a:lstStyle>
            <a:lvl1pPr>
              <a:defRPr sz="2400" b="0" i="0">
                <a:solidFill>
                  <a:schemeClr val="bg1"/>
                </a:solidFill>
              </a:defRPr>
            </a:lvl1pPr>
          </a:lstStyle>
          <a:p>
            <a:pPr lvl="0"/>
            <a:r>
              <a:rPr lang="en-US"/>
              <a:t>Confidential — Reach out to team to confirm</a:t>
            </a:r>
          </a:p>
        </p:txBody>
      </p:sp>
      <p:sp>
        <p:nvSpPr>
          <p:cNvPr id="41" name="Text Placeholder 8">
            <a:extLst>
              <a:ext uri="{FF2B5EF4-FFF2-40B4-BE49-F238E27FC236}">
                <a16:creationId xmlns:a16="http://schemas.microsoft.com/office/drawing/2014/main" id="{CDCA03E4-C5B8-234F-90D3-8E4DCCB9742B}"/>
              </a:ext>
            </a:extLst>
          </p:cNvPr>
          <p:cNvSpPr>
            <a:spLocks noGrp="1"/>
          </p:cNvSpPr>
          <p:nvPr>
            <p:ph type="body" sz="quarter" idx="86" hasCustomPrompt="1"/>
          </p:nvPr>
        </p:nvSpPr>
        <p:spPr>
          <a:xfrm>
            <a:off x="7236498" y="6863929"/>
            <a:ext cx="4495662" cy="967086"/>
          </a:xfrm>
        </p:spPr>
        <p:txBody>
          <a:bodyPr wrap="square">
            <a:noAutofit/>
          </a:bodyPr>
          <a:lstStyle>
            <a:lvl1pPr>
              <a:defRPr sz="2400" b="0" i="0">
                <a:solidFill>
                  <a:schemeClr val="bg1"/>
                </a:solidFill>
              </a:defRPr>
            </a:lvl1pPr>
          </a:lstStyle>
          <a:p>
            <a:pPr lvl="0"/>
            <a:r>
              <a:rPr lang="en-US"/>
              <a:t>Public — Share and leave behind as needed.</a:t>
            </a:r>
          </a:p>
        </p:txBody>
      </p:sp>
    </p:spTree>
    <p:extLst>
      <p:ext uri="{BB962C8B-B14F-4D97-AF65-F5344CB8AC3E}">
        <p14:creationId xmlns:p14="http://schemas.microsoft.com/office/powerpoint/2010/main" val="2324206160"/>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Landscape image 1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71104" y="9043057"/>
            <a:ext cx="8682988" cy="885655"/>
          </a:xfrm>
        </p:spPr>
        <p:txBody>
          <a:bodyPr anchor="t">
            <a:noAutofit/>
          </a:bodyPr>
          <a:lstStyle>
            <a:lvl1pPr>
              <a:defRPr sz="5800">
                <a:solidFill>
                  <a:schemeClr val="bg1"/>
                </a:solidFill>
              </a:defRPr>
            </a:lvl1pPr>
          </a:lstStyle>
          <a:p>
            <a:r>
              <a:rPr lang="en-US"/>
              <a:t>Project name</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104" y="10968700"/>
            <a:ext cx="6637400" cy="1459967"/>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28333"/>
            <a:ext cx="24384002" cy="7534304"/>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grpSp>
        <p:nvGrpSpPr>
          <p:cNvPr id="10" name="Group">
            <a:extLst>
              <a:ext uri="{FF2B5EF4-FFF2-40B4-BE49-F238E27FC236}">
                <a16:creationId xmlns:a16="http://schemas.microsoft.com/office/drawing/2014/main" id="{CC6126CE-30F1-436F-938D-CC12D3ABFAE2}"/>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E15130E-9000-422D-854C-FEBCB8B0566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7F13688E-0F2F-4A9F-AF5A-7BD71CFC56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13" name="Text Placeholder 14">
            <a:extLst>
              <a:ext uri="{FF2B5EF4-FFF2-40B4-BE49-F238E27FC236}">
                <a16:creationId xmlns:a16="http://schemas.microsoft.com/office/drawing/2014/main" id="{1D41C912-1DEC-594F-B5B9-5044CFE20285}"/>
              </a:ext>
            </a:extLst>
          </p:cNvPr>
          <p:cNvSpPr>
            <a:spLocks noGrp="1"/>
          </p:cNvSpPr>
          <p:nvPr>
            <p:ph type="body" sz="quarter" idx="26" hasCustomPrompt="1"/>
          </p:nvPr>
        </p:nvSpPr>
        <p:spPr>
          <a:xfrm>
            <a:off x="1771104" y="8301630"/>
            <a:ext cx="10016705" cy="383752"/>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Frog + [Client Name]</a:t>
            </a:r>
            <a:endParaRPr lang="de-DE"/>
          </a:p>
        </p:txBody>
      </p:sp>
      <p:sp>
        <p:nvSpPr>
          <p:cNvPr id="6" name="TextBox 5">
            <a:extLst>
              <a:ext uri="{FF2B5EF4-FFF2-40B4-BE49-F238E27FC236}">
                <a16:creationId xmlns:a16="http://schemas.microsoft.com/office/drawing/2014/main" id="{A5E51714-3ECD-8D42-A5B8-61A722A082E7}"/>
              </a:ext>
            </a:extLst>
          </p:cNvPr>
          <p:cNvSpPr txBox="1"/>
          <p:nvPr userDrawn="1"/>
        </p:nvSpPr>
        <p:spPr>
          <a:xfrm>
            <a:off x="20693270" y="993913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US" sz="2800" b="0" i="0" u="none" strike="noStrike" cap="none" spc="0" normalizeH="0" baseline="0">
              <a:ln>
                <a:noFill/>
              </a:ln>
              <a:solidFill>
                <a:schemeClr val="accent1">
                  <a:lumOff val="-57413"/>
                </a:schemeClr>
              </a:solidFill>
              <a:effectLst/>
              <a:uFill>
                <a:solidFill>
                  <a:schemeClr val="accent1">
                    <a:lumOff val="-57413"/>
                  </a:schemeClr>
                </a:solidFill>
              </a:uFill>
              <a:latin typeface="Arial" panose="020B0604020202020204" pitchFamily="34" charset="0"/>
              <a:ea typeface="+mn-ea"/>
              <a:cs typeface="Arial" panose="020B0604020202020204" pitchFamily="34" charset="0"/>
              <a:sym typeface="BentonSansF Book"/>
            </a:endParaRPr>
          </a:p>
        </p:txBody>
      </p:sp>
      <p:sp>
        <p:nvSpPr>
          <p:cNvPr id="15" name="Text Placeholder 8">
            <a:extLst>
              <a:ext uri="{FF2B5EF4-FFF2-40B4-BE49-F238E27FC236}">
                <a16:creationId xmlns:a16="http://schemas.microsoft.com/office/drawing/2014/main" id="{B7E8FD96-A720-DE46-81D8-A1AF357AD401}"/>
              </a:ext>
            </a:extLst>
          </p:cNvPr>
          <p:cNvSpPr>
            <a:spLocks noGrp="1"/>
          </p:cNvSpPr>
          <p:nvPr>
            <p:ph type="body" sz="quarter" idx="33" hasCustomPrompt="1"/>
          </p:nvPr>
        </p:nvSpPr>
        <p:spPr>
          <a:xfrm>
            <a:off x="15971773" y="10968700"/>
            <a:ext cx="6637400" cy="1459967"/>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7" name="Text Placeholder 8">
            <a:extLst>
              <a:ext uri="{FF2B5EF4-FFF2-40B4-BE49-F238E27FC236}">
                <a16:creationId xmlns:a16="http://schemas.microsoft.com/office/drawing/2014/main" id="{C87F32BC-7B85-7E43-9269-E0C65D99D044}"/>
              </a:ext>
            </a:extLst>
          </p:cNvPr>
          <p:cNvSpPr>
            <a:spLocks noGrp="1"/>
          </p:cNvSpPr>
          <p:nvPr>
            <p:ph type="body" sz="quarter" idx="34" hasCustomPrompt="1"/>
          </p:nvPr>
        </p:nvSpPr>
        <p:spPr>
          <a:xfrm>
            <a:off x="8871438" y="10968699"/>
            <a:ext cx="6637400" cy="1459967"/>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8" name="Text Placeholder 8">
            <a:extLst>
              <a:ext uri="{FF2B5EF4-FFF2-40B4-BE49-F238E27FC236}">
                <a16:creationId xmlns:a16="http://schemas.microsoft.com/office/drawing/2014/main" id="{3EFBD591-2490-BE4E-AE4B-14395EBA1499}"/>
              </a:ext>
            </a:extLst>
          </p:cNvPr>
          <p:cNvSpPr>
            <a:spLocks noGrp="1"/>
          </p:cNvSpPr>
          <p:nvPr>
            <p:ph type="body" sz="quarter" idx="35" hasCustomPrompt="1"/>
          </p:nvPr>
        </p:nvSpPr>
        <p:spPr>
          <a:xfrm>
            <a:off x="1771104" y="10481070"/>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CHALLENGE</a:t>
            </a:r>
            <a:endParaRPr lang="de-DE"/>
          </a:p>
        </p:txBody>
      </p:sp>
      <p:sp>
        <p:nvSpPr>
          <p:cNvPr id="19" name="Text Placeholder 8">
            <a:extLst>
              <a:ext uri="{FF2B5EF4-FFF2-40B4-BE49-F238E27FC236}">
                <a16:creationId xmlns:a16="http://schemas.microsoft.com/office/drawing/2014/main" id="{8DA0763A-02E9-F84C-8D20-A037CCDCF7BB}"/>
              </a:ext>
            </a:extLst>
          </p:cNvPr>
          <p:cNvSpPr>
            <a:spLocks noGrp="1"/>
          </p:cNvSpPr>
          <p:nvPr>
            <p:ph type="body" sz="quarter" idx="36" hasCustomPrompt="1"/>
          </p:nvPr>
        </p:nvSpPr>
        <p:spPr>
          <a:xfrm>
            <a:off x="8871438" y="10481070"/>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APPROACH</a:t>
            </a:r>
            <a:endParaRPr lang="de-DE"/>
          </a:p>
        </p:txBody>
      </p:sp>
      <p:sp>
        <p:nvSpPr>
          <p:cNvPr id="7" name="TextBox 6">
            <a:extLst>
              <a:ext uri="{FF2B5EF4-FFF2-40B4-BE49-F238E27FC236}">
                <a16:creationId xmlns:a16="http://schemas.microsoft.com/office/drawing/2014/main" id="{F3A874ED-B2DB-BF4C-A668-987E6A97CC85}"/>
              </a:ext>
            </a:extLst>
          </p:cNvPr>
          <p:cNvSpPr txBox="1"/>
          <p:nvPr userDrawn="1"/>
        </p:nvSpPr>
        <p:spPr>
          <a:xfrm>
            <a:off x="16081513" y="9740348"/>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US" sz="2800" b="0" i="0" u="none" strike="noStrike" cap="none" spc="0" normalizeH="0" baseline="0">
              <a:ln>
                <a:noFill/>
              </a:ln>
              <a:solidFill>
                <a:schemeClr val="accent1">
                  <a:lumOff val="-57413"/>
                </a:schemeClr>
              </a:solidFill>
              <a:effectLst/>
              <a:uFill>
                <a:solidFill>
                  <a:schemeClr val="accent1">
                    <a:lumOff val="-57413"/>
                  </a:schemeClr>
                </a:solidFill>
              </a:uFill>
              <a:latin typeface="Arial" panose="020B0604020202020204" pitchFamily="34" charset="0"/>
              <a:ea typeface="+mn-ea"/>
              <a:cs typeface="Arial" panose="020B0604020202020204" pitchFamily="34" charset="0"/>
              <a:sym typeface="BentonSansF Book"/>
            </a:endParaRPr>
          </a:p>
        </p:txBody>
      </p:sp>
      <p:sp>
        <p:nvSpPr>
          <p:cNvPr id="20" name="Text Placeholder 8">
            <a:extLst>
              <a:ext uri="{FF2B5EF4-FFF2-40B4-BE49-F238E27FC236}">
                <a16:creationId xmlns:a16="http://schemas.microsoft.com/office/drawing/2014/main" id="{D6446373-4D36-E34C-BFE9-79462B7F7024}"/>
              </a:ext>
            </a:extLst>
          </p:cNvPr>
          <p:cNvSpPr>
            <a:spLocks noGrp="1"/>
          </p:cNvSpPr>
          <p:nvPr>
            <p:ph type="body" sz="quarter" idx="37" hasCustomPrompt="1"/>
          </p:nvPr>
        </p:nvSpPr>
        <p:spPr>
          <a:xfrm>
            <a:off x="15971773" y="10481070"/>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OUTCOME</a:t>
            </a:r>
            <a:endParaRPr lang="de-DE"/>
          </a:p>
        </p:txBody>
      </p:sp>
    </p:spTree>
    <p:extLst>
      <p:ext uri="{BB962C8B-B14F-4D97-AF65-F5344CB8AC3E}">
        <p14:creationId xmlns:p14="http://schemas.microsoft.com/office/powerpoint/2010/main" val="2970272588"/>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Landscape image 1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71104" y="9043057"/>
            <a:ext cx="8682988" cy="885655"/>
          </a:xfrm>
        </p:spPr>
        <p:txBody>
          <a:bodyPr anchor="t">
            <a:noAutofit/>
          </a:bodyPr>
          <a:lstStyle>
            <a:lvl1pPr>
              <a:defRPr sz="5800">
                <a:solidFill>
                  <a:schemeClr val="bg1"/>
                </a:solidFill>
              </a:defRPr>
            </a:lvl1pPr>
          </a:lstStyle>
          <a:p>
            <a:r>
              <a:rPr lang="en-US"/>
              <a:t>Project name</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104" y="10968700"/>
            <a:ext cx="6637400" cy="1459967"/>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1863" y="32800"/>
            <a:ext cx="8129863" cy="7534304"/>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grpSp>
        <p:nvGrpSpPr>
          <p:cNvPr id="10" name="Group">
            <a:extLst>
              <a:ext uri="{FF2B5EF4-FFF2-40B4-BE49-F238E27FC236}">
                <a16:creationId xmlns:a16="http://schemas.microsoft.com/office/drawing/2014/main" id="{CC6126CE-30F1-436F-938D-CC12D3ABFAE2}"/>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E15130E-9000-422D-854C-FEBCB8B0566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7F13688E-0F2F-4A9F-AF5A-7BD71CFC56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13" name="Text Placeholder 14">
            <a:extLst>
              <a:ext uri="{FF2B5EF4-FFF2-40B4-BE49-F238E27FC236}">
                <a16:creationId xmlns:a16="http://schemas.microsoft.com/office/drawing/2014/main" id="{1D41C912-1DEC-594F-B5B9-5044CFE20285}"/>
              </a:ext>
            </a:extLst>
          </p:cNvPr>
          <p:cNvSpPr>
            <a:spLocks noGrp="1"/>
          </p:cNvSpPr>
          <p:nvPr>
            <p:ph type="body" sz="quarter" idx="26" hasCustomPrompt="1"/>
          </p:nvPr>
        </p:nvSpPr>
        <p:spPr>
          <a:xfrm>
            <a:off x="1771104" y="8301630"/>
            <a:ext cx="10016705" cy="383752"/>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Frog + [Client Name]</a:t>
            </a:r>
            <a:endParaRPr lang="de-DE"/>
          </a:p>
        </p:txBody>
      </p:sp>
      <p:sp>
        <p:nvSpPr>
          <p:cNvPr id="6" name="TextBox 5">
            <a:extLst>
              <a:ext uri="{FF2B5EF4-FFF2-40B4-BE49-F238E27FC236}">
                <a16:creationId xmlns:a16="http://schemas.microsoft.com/office/drawing/2014/main" id="{A5E51714-3ECD-8D42-A5B8-61A722A082E7}"/>
              </a:ext>
            </a:extLst>
          </p:cNvPr>
          <p:cNvSpPr txBox="1"/>
          <p:nvPr userDrawn="1"/>
        </p:nvSpPr>
        <p:spPr>
          <a:xfrm>
            <a:off x="20693270" y="993913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US" sz="2800" b="0" i="0" u="none" strike="noStrike" cap="none" spc="0" normalizeH="0" baseline="0">
              <a:ln>
                <a:noFill/>
              </a:ln>
              <a:solidFill>
                <a:schemeClr val="accent1">
                  <a:lumOff val="-57413"/>
                </a:schemeClr>
              </a:solidFill>
              <a:effectLst/>
              <a:uFill>
                <a:solidFill>
                  <a:schemeClr val="accent1">
                    <a:lumOff val="-57413"/>
                  </a:schemeClr>
                </a:solidFill>
              </a:uFill>
              <a:latin typeface="Arial" panose="020B0604020202020204" pitchFamily="34" charset="0"/>
              <a:ea typeface="+mn-ea"/>
              <a:cs typeface="Arial" panose="020B0604020202020204" pitchFamily="34" charset="0"/>
              <a:sym typeface="BentonSansF Book"/>
            </a:endParaRPr>
          </a:p>
        </p:txBody>
      </p:sp>
      <p:sp>
        <p:nvSpPr>
          <p:cNvPr id="15" name="Text Placeholder 8">
            <a:extLst>
              <a:ext uri="{FF2B5EF4-FFF2-40B4-BE49-F238E27FC236}">
                <a16:creationId xmlns:a16="http://schemas.microsoft.com/office/drawing/2014/main" id="{B7E8FD96-A720-DE46-81D8-A1AF357AD401}"/>
              </a:ext>
            </a:extLst>
          </p:cNvPr>
          <p:cNvSpPr>
            <a:spLocks noGrp="1"/>
          </p:cNvSpPr>
          <p:nvPr>
            <p:ph type="body" sz="quarter" idx="33" hasCustomPrompt="1"/>
          </p:nvPr>
        </p:nvSpPr>
        <p:spPr>
          <a:xfrm>
            <a:off x="15971773" y="10968700"/>
            <a:ext cx="6637400" cy="1459967"/>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7" name="Text Placeholder 8">
            <a:extLst>
              <a:ext uri="{FF2B5EF4-FFF2-40B4-BE49-F238E27FC236}">
                <a16:creationId xmlns:a16="http://schemas.microsoft.com/office/drawing/2014/main" id="{C87F32BC-7B85-7E43-9269-E0C65D99D044}"/>
              </a:ext>
            </a:extLst>
          </p:cNvPr>
          <p:cNvSpPr>
            <a:spLocks noGrp="1"/>
          </p:cNvSpPr>
          <p:nvPr>
            <p:ph type="body" sz="quarter" idx="34" hasCustomPrompt="1"/>
          </p:nvPr>
        </p:nvSpPr>
        <p:spPr>
          <a:xfrm>
            <a:off x="8871438" y="10968699"/>
            <a:ext cx="6637400" cy="1459967"/>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8" name="Text Placeholder 8">
            <a:extLst>
              <a:ext uri="{FF2B5EF4-FFF2-40B4-BE49-F238E27FC236}">
                <a16:creationId xmlns:a16="http://schemas.microsoft.com/office/drawing/2014/main" id="{3EFBD591-2490-BE4E-AE4B-14395EBA1499}"/>
              </a:ext>
            </a:extLst>
          </p:cNvPr>
          <p:cNvSpPr>
            <a:spLocks noGrp="1"/>
          </p:cNvSpPr>
          <p:nvPr>
            <p:ph type="body" sz="quarter" idx="35" hasCustomPrompt="1"/>
          </p:nvPr>
        </p:nvSpPr>
        <p:spPr>
          <a:xfrm>
            <a:off x="1771104" y="10481070"/>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CHALLENGE</a:t>
            </a:r>
            <a:endParaRPr lang="de-DE"/>
          </a:p>
        </p:txBody>
      </p:sp>
      <p:sp>
        <p:nvSpPr>
          <p:cNvPr id="19" name="Text Placeholder 8">
            <a:extLst>
              <a:ext uri="{FF2B5EF4-FFF2-40B4-BE49-F238E27FC236}">
                <a16:creationId xmlns:a16="http://schemas.microsoft.com/office/drawing/2014/main" id="{8DA0763A-02E9-F84C-8D20-A037CCDCF7BB}"/>
              </a:ext>
            </a:extLst>
          </p:cNvPr>
          <p:cNvSpPr>
            <a:spLocks noGrp="1"/>
          </p:cNvSpPr>
          <p:nvPr>
            <p:ph type="body" sz="quarter" idx="36" hasCustomPrompt="1"/>
          </p:nvPr>
        </p:nvSpPr>
        <p:spPr>
          <a:xfrm>
            <a:off x="8871438" y="10481070"/>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APPROACH</a:t>
            </a:r>
            <a:endParaRPr lang="de-DE"/>
          </a:p>
        </p:txBody>
      </p:sp>
      <p:sp>
        <p:nvSpPr>
          <p:cNvPr id="7" name="TextBox 6">
            <a:extLst>
              <a:ext uri="{FF2B5EF4-FFF2-40B4-BE49-F238E27FC236}">
                <a16:creationId xmlns:a16="http://schemas.microsoft.com/office/drawing/2014/main" id="{F3A874ED-B2DB-BF4C-A668-987E6A97CC85}"/>
              </a:ext>
            </a:extLst>
          </p:cNvPr>
          <p:cNvSpPr txBox="1"/>
          <p:nvPr userDrawn="1"/>
        </p:nvSpPr>
        <p:spPr>
          <a:xfrm>
            <a:off x="16081513" y="9740348"/>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US" sz="2800" b="0" i="0" u="none" strike="noStrike" cap="none" spc="0" normalizeH="0" baseline="0">
              <a:ln>
                <a:noFill/>
              </a:ln>
              <a:solidFill>
                <a:schemeClr val="accent1">
                  <a:lumOff val="-57413"/>
                </a:schemeClr>
              </a:solidFill>
              <a:effectLst/>
              <a:uFill>
                <a:solidFill>
                  <a:schemeClr val="accent1">
                    <a:lumOff val="-57413"/>
                  </a:schemeClr>
                </a:solidFill>
              </a:uFill>
              <a:latin typeface="Arial" panose="020B0604020202020204" pitchFamily="34" charset="0"/>
              <a:ea typeface="+mn-ea"/>
              <a:cs typeface="Arial" panose="020B0604020202020204" pitchFamily="34" charset="0"/>
              <a:sym typeface="BentonSansF Book"/>
            </a:endParaRPr>
          </a:p>
        </p:txBody>
      </p:sp>
      <p:sp>
        <p:nvSpPr>
          <p:cNvPr id="20" name="Text Placeholder 8">
            <a:extLst>
              <a:ext uri="{FF2B5EF4-FFF2-40B4-BE49-F238E27FC236}">
                <a16:creationId xmlns:a16="http://schemas.microsoft.com/office/drawing/2014/main" id="{D6446373-4D36-E34C-BFE9-79462B7F7024}"/>
              </a:ext>
            </a:extLst>
          </p:cNvPr>
          <p:cNvSpPr>
            <a:spLocks noGrp="1"/>
          </p:cNvSpPr>
          <p:nvPr>
            <p:ph type="body" sz="quarter" idx="37" hasCustomPrompt="1"/>
          </p:nvPr>
        </p:nvSpPr>
        <p:spPr>
          <a:xfrm>
            <a:off x="15971773" y="10481070"/>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OUTCOME</a:t>
            </a:r>
            <a:endParaRPr lang="de-DE"/>
          </a:p>
        </p:txBody>
      </p:sp>
      <p:sp>
        <p:nvSpPr>
          <p:cNvPr id="25" name="Image">
            <a:extLst>
              <a:ext uri="{FF2B5EF4-FFF2-40B4-BE49-F238E27FC236}">
                <a16:creationId xmlns:a16="http://schemas.microsoft.com/office/drawing/2014/main" id="{592CFC89-510B-D04F-8470-6A4A2FF4EA7D}"/>
              </a:ext>
            </a:extLst>
          </p:cNvPr>
          <p:cNvSpPr>
            <a:spLocks noGrp="1"/>
          </p:cNvSpPr>
          <p:nvPr>
            <p:ph type="pic" idx="38"/>
          </p:nvPr>
        </p:nvSpPr>
        <p:spPr>
          <a:xfrm>
            <a:off x="8128000" y="32800"/>
            <a:ext cx="8129863" cy="7534304"/>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6" name="Image">
            <a:extLst>
              <a:ext uri="{FF2B5EF4-FFF2-40B4-BE49-F238E27FC236}">
                <a16:creationId xmlns:a16="http://schemas.microsoft.com/office/drawing/2014/main" id="{C6DC57EF-7246-9A40-B216-52DAF3B68856}"/>
              </a:ext>
            </a:extLst>
          </p:cNvPr>
          <p:cNvSpPr>
            <a:spLocks noGrp="1"/>
          </p:cNvSpPr>
          <p:nvPr>
            <p:ph type="pic" idx="39"/>
          </p:nvPr>
        </p:nvSpPr>
        <p:spPr>
          <a:xfrm>
            <a:off x="16257863" y="32800"/>
            <a:ext cx="8129863" cy="7534304"/>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Tree>
    <p:extLst>
      <p:ext uri="{BB962C8B-B14F-4D97-AF65-F5344CB8AC3E}">
        <p14:creationId xmlns:p14="http://schemas.microsoft.com/office/powerpoint/2010/main" val="706514887"/>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Large text + image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9880600" y="0"/>
            <a:ext cx="14503400" cy="13716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6262727" cy="2991588"/>
          </a:xfrm>
        </p:spPr>
        <p:txBody>
          <a:bodyPr anchor="t">
            <a:noAutofit/>
          </a:bodyPr>
          <a:lstStyle>
            <a:lvl1pPr>
              <a:defRPr sz="7200">
                <a:solidFill>
                  <a:schemeClr val="bg1"/>
                </a:solidFill>
              </a:defRPr>
            </a:lvl1pPr>
          </a:lstStyle>
          <a:p>
            <a:r>
              <a:rPr lang="en-US"/>
              <a:t>Project name on multiple lines </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noAutofit/>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noAutofit/>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noAutofit/>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grpSp>
        <p:nvGrpSpPr>
          <p:cNvPr id="10" name="Group">
            <a:extLst>
              <a:ext uri="{FF2B5EF4-FFF2-40B4-BE49-F238E27FC236}">
                <a16:creationId xmlns:a16="http://schemas.microsoft.com/office/drawing/2014/main" id="{04FDF5FD-4C7F-4C0B-ACA0-C3E86212A6DC}"/>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BFD03780-5B86-4D22-9ABE-C7FF52957B1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B7C1CD4F-7251-4D14-8213-2BA5A85A90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14" name="Text Placeholder 8">
            <a:extLst>
              <a:ext uri="{FF2B5EF4-FFF2-40B4-BE49-F238E27FC236}">
                <a16:creationId xmlns:a16="http://schemas.microsoft.com/office/drawing/2014/main" id="{CE841700-3780-6448-B4D4-E4E8F0081225}"/>
              </a:ext>
            </a:extLst>
          </p:cNvPr>
          <p:cNvSpPr>
            <a:spLocks noGrp="1"/>
          </p:cNvSpPr>
          <p:nvPr>
            <p:ph type="body" sz="quarter" idx="27" hasCustomPrompt="1"/>
          </p:nvPr>
        </p:nvSpPr>
        <p:spPr>
          <a:xfrm>
            <a:off x="1771104" y="6223571"/>
            <a:ext cx="5874296" cy="1091629"/>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7" name="Text Placeholder 8">
            <a:extLst>
              <a:ext uri="{FF2B5EF4-FFF2-40B4-BE49-F238E27FC236}">
                <a16:creationId xmlns:a16="http://schemas.microsoft.com/office/drawing/2014/main" id="{E15039B9-08AD-A24D-BA71-4841EE2A83E0}"/>
              </a:ext>
            </a:extLst>
          </p:cNvPr>
          <p:cNvSpPr>
            <a:spLocks noGrp="1"/>
          </p:cNvSpPr>
          <p:nvPr>
            <p:ph type="body" sz="quarter" idx="35" hasCustomPrompt="1"/>
          </p:nvPr>
        </p:nvSpPr>
        <p:spPr>
          <a:xfrm>
            <a:off x="1771104" y="5735941"/>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CHALLENGE</a:t>
            </a:r>
            <a:endParaRPr lang="de-DE"/>
          </a:p>
        </p:txBody>
      </p:sp>
      <p:sp>
        <p:nvSpPr>
          <p:cNvPr id="22" name="Text Placeholder 8">
            <a:extLst>
              <a:ext uri="{FF2B5EF4-FFF2-40B4-BE49-F238E27FC236}">
                <a16:creationId xmlns:a16="http://schemas.microsoft.com/office/drawing/2014/main" id="{A6AD61D9-DE89-7742-82CB-70FF7F1A9571}"/>
              </a:ext>
            </a:extLst>
          </p:cNvPr>
          <p:cNvSpPr>
            <a:spLocks noGrp="1"/>
          </p:cNvSpPr>
          <p:nvPr>
            <p:ph type="body" sz="quarter" idx="38" hasCustomPrompt="1"/>
          </p:nvPr>
        </p:nvSpPr>
        <p:spPr>
          <a:xfrm>
            <a:off x="1771104" y="8463008"/>
            <a:ext cx="5823496" cy="1091629"/>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23" name="Text Placeholder 8">
            <a:extLst>
              <a:ext uri="{FF2B5EF4-FFF2-40B4-BE49-F238E27FC236}">
                <a16:creationId xmlns:a16="http://schemas.microsoft.com/office/drawing/2014/main" id="{964E4ABD-D692-9C4A-B4AD-1CEDD263B90C}"/>
              </a:ext>
            </a:extLst>
          </p:cNvPr>
          <p:cNvSpPr>
            <a:spLocks noGrp="1"/>
          </p:cNvSpPr>
          <p:nvPr>
            <p:ph type="body" sz="quarter" idx="39" hasCustomPrompt="1"/>
          </p:nvPr>
        </p:nvSpPr>
        <p:spPr>
          <a:xfrm>
            <a:off x="1771104" y="7975378"/>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APPROACH</a:t>
            </a:r>
            <a:endParaRPr lang="de-DE"/>
          </a:p>
        </p:txBody>
      </p:sp>
      <p:sp>
        <p:nvSpPr>
          <p:cNvPr id="24" name="Text Placeholder 8">
            <a:extLst>
              <a:ext uri="{FF2B5EF4-FFF2-40B4-BE49-F238E27FC236}">
                <a16:creationId xmlns:a16="http://schemas.microsoft.com/office/drawing/2014/main" id="{958D1C4C-263D-CB45-83A1-86488B8D58A1}"/>
              </a:ext>
            </a:extLst>
          </p:cNvPr>
          <p:cNvSpPr>
            <a:spLocks noGrp="1"/>
          </p:cNvSpPr>
          <p:nvPr>
            <p:ph type="body" sz="quarter" idx="40" hasCustomPrompt="1"/>
          </p:nvPr>
        </p:nvSpPr>
        <p:spPr>
          <a:xfrm>
            <a:off x="1763673" y="10891518"/>
            <a:ext cx="5830927" cy="1091629"/>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25" name="Text Placeholder 8">
            <a:extLst>
              <a:ext uri="{FF2B5EF4-FFF2-40B4-BE49-F238E27FC236}">
                <a16:creationId xmlns:a16="http://schemas.microsoft.com/office/drawing/2014/main" id="{CEAFC437-A1EE-304F-A292-BA958ECC4A94}"/>
              </a:ext>
            </a:extLst>
          </p:cNvPr>
          <p:cNvSpPr>
            <a:spLocks noGrp="1"/>
          </p:cNvSpPr>
          <p:nvPr>
            <p:ph type="body" sz="quarter" idx="41" hasCustomPrompt="1"/>
          </p:nvPr>
        </p:nvSpPr>
        <p:spPr>
          <a:xfrm>
            <a:off x="1763673" y="10403888"/>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OUTCOME</a:t>
            </a:r>
            <a:endParaRPr lang="de-DE"/>
          </a:p>
        </p:txBody>
      </p:sp>
    </p:spTree>
    <p:extLst>
      <p:ext uri="{BB962C8B-B14F-4D97-AF65-F5344CB8AC3E}">
        <p14:creationId xmlns:p14="http://schemas.microsoft.com/office/powerpoint/2010/main" val="1705868677"/>
      </p:ext>
    </p:extLst>
  </p:cSld>
  <p:clrMapOvr>
    <a:masterClrMapping/>
  </p:clrMapOvr>
  <p:transition spd="med"/>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Large text + image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6858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6262727" cy="2991588"/>
          </a:xfrm>
        </p:spPr>
        <p:txBody>
          <a:bodyPr anchor="t">
            <a:noAutofit/>
          </a:bodyPr>
          <a:lstStyle>
            <a:lvl1pPr>
              <a:defRPr sz="7200">
                <a:solidFill>
                  <a:schemeClr val="bg1"/>
                </a:solidFill>
              </a:defRPr>
            </a:lvl1pPr>
          </a:lstStyle>
          <a:p>
            <a:r>
              <a:rPr lang="en-US"/>
              <a:t>Project name on multiple lines </a:t>
            </a:r>
            <a:endParaRPr lang="de-DE"/>
          </a:p>
        </p:txBody>
      </p:sp>
      <p:sp>
        <p:nvSpPr>
          <p:cNvPr id="3" name="Date Placeholder 2">
            <a:extLst>
              <a:ext uri="{FF2B5EF4-FFF2-40B4-BE49-F238E27FC236}">
                <a16:creationId xmlns:a16="http://schemas.microsoft.com/office/drawing/2014/main" id="{34D3CA80-C380-4C39-A693-D8365F0EE05C}"/>
              </a:ext>
            </a:extLst>
          </p:cNvPr>
          <p:cNvSpPr>
            <a:spLocks noGrp="1"/>
          </p:cNvSpPr>
          <p:nvPr>
            <p:ph type="dt" sz="half" idx="10"/>
          </p:nvPr>
        </p:nvSpPr>
        <p:spPr>
          <a:xfrm>
            <a:off x="2134064" y="13025873"/>
            <a:ext cx="5486400" cy="369328"/>
          </a:xfrm>
          <a:prstGeom prst="rect">
            <a:avLst/>
          </a:prstGeom>
        </p:spPr>
        <p:txBody>
          <a:bodyPr>
            <a:noAutofit/>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noAutofit/>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noAutofit/>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Section</a:t>
            </a:r>
            <a:endParaRPr lang="de-DE"/>
          </a:p>
        </p:txBody>
      </p:sp>
      <p:grpSp>
        <p:nvGrpSpPr>
          <p:cNvPr id="10" name="Group">
            <a:extLst>
              <a:ext uri="{FF2B5EF4-FFF2-40B4-BE49-F238E27FC236}">
                <a16:creationId xmlns:a16="http://schemas.microsoft.com/office/drawing/2014/main" id="{04FDF5FD-4C7F-4C0B-ACA0-C3E86212A6DC}"/>
              </a:ext>
            </a:extLst>
          </p:cNvPr>
          <p:cNvGrpSpPr/>
          <p:nvPr userDrawn="1"/>
        </p:nvGrpSpPr>
        <p:grpSpPr>
          <a:xfrm>
            <a:off x="885450" y="12829819"/>
            <a:ext cx="885653" cy="885653"/>
            <a:chOff x="0" y="0"/>
            <a:chExt cx="885651" cy="885651"/>
          </a:xfrm>
        </p:grpSpPr>
        <p:sp>
          <p:nvSpPr>
            <p:cNvPr id="11" name="Square">
              <a:extLst>
                <a:ext uri="{FF2B5EF4-FFF2-40B4-BE49-F238E27FC236}">
                  <a16:creationId xmlns:a16="http://schemas.microsoft.com/office/drawing/2014/main" id="{BFD03780-5B86-4D22-9ABE-C7FF52957B1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b="0" i="0">
                <a:latin typeface="Arial" panose="020B0604020202020204" pitchFamily="34" charset="0"/>
                <a:cs typeface="Arial" panose="020B0604020202020204" pitchFamily="34" charset="0"/>
              </a:endParaRPr>
            </a:p>
          </p:txBody>
        </p:sp>
        <p:pic>
          <p:nvPicPr>
            <p:cNvPr id="12" name="Image">
              <a:extLst>
                <a:ext uri="{FF2B5EF4-FFF2-40B4-BE49-F238E27FC236}">
                  <a16:creationId xmlns:a16="http://schemas.microsoft.com/office/drawing/2014/main" id="{B7C1CD4F-7251-4D14-8213-2BA5A85A90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6766" y="274801"/>
              <a:ext cx="652120" cy="412249"/>
            </a:xfrm>
            <a:prstGeom prst="rect">
              <a:avLst/>
            </a:prstGeom>
            <a:ln w="12700" cap="flat">
              <a:noFill/>
              <a:miter lim="400000"/>
            </a:ln>
            <a:effectLst/>
          </p:spPr>
        </p:pic>
      </p:grpSp>
      <p:sp>
        <p:nvSpPr>
          <p:cNvPr id="14" name="Text Placeholder 8">
            <a:extLst>
              <a:ext uri="{FF2B5EF4-FFF2-40B4-BE49-F238E27FC236}">
                <a16:creationId xmlns:a16="http://schemas.microsoft.com/office/drawing/2014/main" id="{CE841700-3780-6448-B4D4-E4E8F0081225}"/>
              </a:ext>
            </a:extLst>
          </p:cNvPr>
          <p:cNvSpPr>
            <a:spLocks noGrp="1"/>
          </p:cNvSpPr>
          <p:nvPr>
            <p:ph type="body" sz="quarter" idx="27" hasCustomPrompt="1"/>
          </p:nvPr>
        </p:nvSpPr>
        <p:spPr>
          <a:xfrm>
            <a:off x="1771104" y="6223571"/>
            <a:ext cx="9404896" cy="1091629"/>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7" name="Text Placeholder 8">
            <a:extLst>
              <a:ext uri="{FF2B5EF4-FFF2-40B4-BE49-F238E27FC236}">
                <a16:creationId xmlns:a16="http://schemas.microsoft.com/office/drawing/2014/main" id="{E15039B9-08AD-A24D-BA71-4841EE2A83E0}"/>
              </a:ext>
            </a:extLst>
          </p:cNvPr>
          <p:cNvSpPr>
            <a:spLocks noGrp="1"/>
          </p:cNvSpPr>
          <p:nvPr>
            <p:ph type="body" sz="quarter" idx="35" hasCustomPrompt="1"/>
          </p:nvPr>
        </p:nvSpPr>
        <p:spPr>
          <a:xfrm>
            <a:off x="1771104" y="5735941"/>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CHALLENGE</a:t>
            </a:r>
            <a:endParaRPr lang="de-DE"/>
          </a:p>
        </p:txBody>
      </p:sp>
      <p:sp>
        <p:nvSpPr>
          <p:cNvPr id="22" name="Text Placeholder 8">
            <a:extLst>
              <a:ext uri="{FF2B5EF4-FFF2-40B4-BE49-F238E27FC236}">
                <a16:creationId xmlns:a16="http://schemas.microsoft.com/office/drawing/2014/main" id="{A6AD61D9-DE89-7742-82CB-70FF7F1A9571}"/>
              </a:ext>
            </a:extLst>
          </p:cNvPr>
          <p:cNvSpPr>
            <a:spLocks noGrp="1"/>
          </p:cNvSpPr>
          <p:nvPr>
            <p:ph type="body" sz="quarter" idx="38" hasCustomPrompt="1"/>
          </p:nvPr>
        </p:nvSpPr>
        <p:spPr>
          <a:xfrm>
            <a:off x="1771104" y="8463008"/>
            <a:ext cx="9404896" cy="1091629"/>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23" name="Text Placeholder 8">
            <a:extLst>
              <a:ext uri="{FF2B5EF4-FFF2-40B4-BE49-F238E27FC236}">
                <a16:creationId xmlns:a16="http://schemas.microsoft.com/office/drawing/2014/main" id="{964E4ABD-D692-9C4A-B4AD-1CEDD263B90C}"/>
              </a:ext>
            </a:extLst>
          </p:cNvPr>
          <p:cNvSpPr>
            <a:spLocks noGrp="1"/>
          </p:cNvSpPr>
          <p:nvPr>
            <p:ph type="body" sz="quarter" idx="39" hasCustomPrompt="1"/>
          </p:nvPr>
        </p:nvSpPr>
        <p:spPr>
          <a:xfrm>
            <a:off x="1771104" y="7975378"/>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APPROACH</a:t>
            </a:r>
            <a:endParaRPr lang="de-DE"/>
          </a:p>
        </p:txBody>
      </p:sp>
      <p:sp>
        <p:nvSpPr>
          <p:cNvPr id="24" name="Text Placeholder 8">
            <a:extLst>
              <a:ext uri="{FF2B5EF4-FFF2-40B4-BE49-F238E27FC236}">
                <a16:creationId xmlns:a16="http://schemas.microsoft.com/office/drawing/2014/main" id="{958D1C4C-263D-CB45-83A1-86488B8D58A1}"/>
              </a:ext>
            </a:extLst>
          </p:cNvPr>
          <p:cNvSpPr>
            <a:spLocks noGrp="1"/>
          </p:cNvSpPr>
          <p:nvPr>
            <p:ph type="body" sz="quarter" idx="40" hasCustomPrompt="1"/>
          </p:nvPr>
        </p:nvSpPr>
        <p:spPr>
          <a:xfrm>
            <a:off x="1763673" y="10891518"/>
            <a:ext cx="9404896" cy="1091629"/>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25" name="Text Placeholder 8">
            <a:extLst>
              <a:ext uri="{FF2B5EF4-FFF2-40B4-BE49-F238E27FC236}">
                <a16:creationId xmlns:a16="http://schemas.microsoft.com/office/drawing/2014/main" id="{CEAFC437-A1EE-304F-A292-BA958ECC4A94}"/>
              </a:ext>
            </a:extLst>
          </p:cNvPr>
          <p:cNvSpPr>
            <a:spLocks noGrp="1"/>
          </p:cNvSpPr>
          <p:nvPr>
            <p:ph type="body" sz="quarter" idx="41" hasCustomPrompt="1"/>
          </p:nvPr>
        </p:nvSpPr>
        <p:spPr>
          <a:xfrm>
            <a:off x="1763673" y="10403888"/>
            <a:ext cx="6637400" cy="239708"/>
          </a:xfrm>
        </p:spPr>
        <p:txBody>
          <a:bodyPr wrap="square">
            <a:noAutofit/>
          </a:bodyPr>
          <a:lstStyle>
            <a:lvl1pPr>
              <a:lnSpc>
                <a:spcPct val="130000"/>
              </a:lnSpc>
              <a:defRPr sz="1600" b="0" i="0">
                <a:solidFill>
                  <a:schemeClr val="accent6">
                    <a:lumMod val="90000"/>
                  </a:schemeClr>
                </a:solidFill>
              </a:defRPr>
            </a:lvl1pPr>
          </a:lstStyle>
          <a:p>
            <a:pPr lvl="0"/>
            <a:r>
              <a:rPr lang="en-US"/>
              <a:t>OUTCOME</a:t>
            </a:r>
            <a:endParaRPr lang="de-DE"/>
          </a:p>
        </p:txBody>
      </p:sp>
      <p:sp>
        <p:nvSpPr>
          <p:cNvPr id="20" name="Image">
            <a:extLst>
              <a:ext uri="{FF2B5EF4-FFF2-40B4-BE49-F238E27FC236}">
                <a16:creationId xmlns:a16="http://schemas.microsoft.com/office/drawing/2014/main" id="{8BD55E80-46E3-B946-B349-2F8708D84628}"/>
              </a:ext>
            </a:extLst>
          </p:cNvPr>
          <p:cNvSpPr>
            <a:spLocks noGrp="1"/>
          </p:cNvSpPr>
          <p:nvPr>
            <p:ph type="pic" idx="42"/>
          </p:nvPr>
        </p:nvSpPr>
        <p:spPr>
          <a:xfrm>
            <a:off x="12209969" y="6858000"/>
            <a:ext cx="12192000" cy="6858000"/>
          </a:xfrm>
          <a:prstGeom prst="rect">
            <a:avLst/>
          </a:prstGeom>
          <a:pattFill prst="pct90">
            <a:fgClr>
              <a:schemeClr val="tx1"/>
            </a:fgClr>
            <a:bgClr>
              <a:schemeClr val="accent5"/>
            </a:bgClr>
          </a:pattFill>
        </p:spPr>
        <p:txBody>
          <a:bodyPr lIns="91439" tIns="45719" rIns="91439" bIns="45719">
            <a:noAutofit/>
          </a:bodyPr>
          <a:lstStyle>
            <a:lvl1pPr algn="ctr">
              <a:defRPr b="0" i="0">
                <a:solidFill>
                  <a:schemeClr val="bg1"/>
                </a:solidFill>
              </a:defRPr>
            </a:lvl1pPr>
          </a:lstStyle>
          <a:p>
            <a:endParaRPr/>
          </a:p>
        </p:txBody>
      </p:sp>
    </p:spTree>
    <p:extLst>
      <p:ext uri="{BB962C8B-B14F-4D97-AF65-F5344CB8AC3E}">
        <p14:creationId xmlns:p14="http://schemas.microsoft.com/office/powerpoint/2010/main" val="989182018"/>
      </p:ext>
    </p:extLst>
  </p:cSld>
  <p:clrMapOvr>
    <a:masterClrMapping/>
  </p:clrMapOvr>
  <p:transition spd="med"/>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Case study grid (long)">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3918540" y="0"/>
            <a:ext cx="1046546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7" name="Image">
            <a:extLst>
              <a:ext uri="{FF2B5EF4-FFF2-40B4-BE49-F238E27FC236}">
                <a16:creationId xmlns:a16="http://schemas.microsoft.com/office/drawing/2014/main" id="{AA31D3B4-8DB6-4ABB-A684-918F256A9C08}"/>
              </a:ext>
            </a:extLst>
          </p:cNvPr>
          <p:cNvSpPr>
            <a:spLocks noGrp="1"/>
          </p:cNvSpPr>
          <p:nvPr>
            <p:ph type="pic" idx="51"/>
          </p:nvPr>
        </p:nvSpPr>
        <p:spPr>
          <a:xfrm>
            <a:off x="14810804" y="6858000"/>
            <a:ext cx="9573196"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19" name="Image">
            <a:extLst>
              <a:ext uri="{FF2B5EF4-FFF2-40B4-BE49-F238E27FC236}">
                <a16:creationId xmlns:a16="http://schemas.microsoft.com/office/drawing/2014/main" id="{2CFEE2B9-DCBA-4C9F-8A78-5A6B1A394A41}"/>
              </a:ext>
            </a:extLst>
          </p:cNvPr>
          <p:cNvSpPr>
            <a:spLocks noGrp="1"/>
          </p:cNvSpPr>
          <p:nvPr>
            <p:ph type="pic" idx="52"/>
          </p:nvPr>
        </p:nvSpPr>
        <p:spPr>
          <a:xfrm>
            <a:off x="7846044" y="6858000"/>
            <a:ext cx="6964760" cy="6858000"/>
          </a:xfrm>
          <a:prstGeom prst="rect">
            <a:avLst/>
          </a:prstGeom>
          <a:solidFill>
            <a:schemeClr val="accent6"/>
          </a:solidFill>
        </p:spPr>
        <p:txBody>
          <a:bodyPr lIns="91439" tIns="45719" rIns="91439" bIns="45719">
            <a:noAutofit/>
          </a:bodyPr>
          <a:lstStyle>
            <a:lvl1pPr algn="ctr">
              <a:defRPr b="0" i="0"/>
            </a:lvl1pPr>
          </a:lstStyle>
          <a:p>
            <a:endParaRPr/>
          </a:p>
        </p:txBody>
      </p:sp>
      <p:sp>
        <p:nvSpPr>
          <p:cNvPr id="21" name="Picture Placeholder 20">
            <a:extLst>
              <a:ext uri="{FF2B5EF4-FFF2-40B4-BE49-F238E27FC236}">
                <a16:creationId xmlns:a16="http://schemas.microsoft.com/office/drawing/2014/main" id="{048B61C8-9433-4C3D-8E99-7FED1A94395E}"/>
              </a:ext>
            </a:extLst>
          </p:cNvPr>
          <p:cNvSpPr>
            <a:spLocks noGrp="1"/>
          </p:cNvSpPr>
          <p:nvPr>
            <p:ph type="pic" idx="53"/>
          </p:nvPr>
        </p:nvSpPr>
        <p:spPr>
          <a:xfrm>
            <a:off x="0" y="6858000"/>
            <a:ext cx="7846045" cy="6858000"/>
          </a:xfrm>
          <a:custGeom>
            <a:avLst/>
            <a:gdLst>
              <a:gd name="connsiteX0" fmla="*/ 0 w 7846045"/>
              <a:gd name="connsiteY0" fmla="*/ 0 h 6858000"/>
              <a:gd name="connsiteX1" fmla="*/ 7846045 w 7846045"/>
              <a:gd name="connsiteY1" fmla="*/ 0 h 6858000"/>
              <a:gd name="connsiteX2" fmla="*/ 7846045 w 7846045"/>
              <a:gd name="connsiteY2" fmla="*/ 6858000 h 6858000"/>
              <a:gd name="connsiteX3" fmla="*/ 1771632 w 7846045"/>
              <a:gd name="connsiteY3" fmla="*/ 6858000 h 6858000"/>
              <a:gd name="connsiteX4" fmla="*/ 1771632 w 7846045"/>
              <a:gd name="connsiteY4" fmla="*/ 5971289 h 6858000"/>
              <a:gd name="connsiteX5" fmla="*/ 884921 w 7846045"/>
              <a:gd name="connsiteY5" fmla="*/ 5971289 h 6858000"/>
              <a:gd name="connsiteX6" fmla="*/ 884921 w 7846045"/>
              <a:gd name="connsiteY6" fmla="*/ 6858000 h 6858000"/>
              <a:gd name="connsiteX7" fmla="*/ 0 w 784604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6045" h="6858000">
                <a:moveTo>
                  <a:pt x="0" y="0"/>
                </a:moveTo>
                <a:lnTo>
                  <a:pt x="7846045" y="0"/>
                </a:lnTo>
                <a:lnTo>
                  <a:pt x="7846045"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b="0" i="0"/>
            </a:lvl1pPr>
          </a:lstStyle>
          <a:p>
            <a:endParaRPr/>
          </a:p>
        </p:txBody>
      </p:sp>
      <p:sp>
        <p:nvSpPr>
          <p:cNvPr id="1362" name="Rectangle"/>
          <p:cNvSpPr>
            <a:spLocks noGrp="1"/>
          </p:cNvSpPr>
          <p:nvPr>
            <p:ph type="body" sz="quarter" idx="22"/>
          </p:nvPr>
        </p:nvSpPr>
        <p:spPr>
          <a:xfrm>
            <a:off x="0" y="0"/>
            <a:ext cx="1391854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i="0">
                <a:solidFill>
                  <a:schemeClr val="accent1">
                    <a:lumOff val="-57413"/>
                  </a:schemeClr>
                </a:solidFill>
              </a:defRPr>
            </a:lvl1pPr>
          </a:lstStyle>
          <a:p>
            <a:r>
              <a:t> </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703284"/>
            <a:ext cx="5189137" cy="307777"/>
          </a:xfrm>
        </p:spPr>
        <p:txBody>
          <a:bodyPr>
            <a:spAutoFit/>
          </a:bodyPr>
          <a:lstStyle>
            <a:lvl1pPr>
              <a:lnSpc>
                <a:spcPct val="100000"/>
              </a:lnSpc>
              <a:defRPr sz="2000" b="0" i="0" cap="all" spc="200" baseline="0">
                <a:solidFill>
                  <a:schemeClr val="bg1"/>
                </a:solidFill>
                <a:latin typeface="Arial" panose="020B0604020202020204" pitchFamily="34" charset="0"/>
              </a:defRPr>
            </a:lvl1pPr>
          </a:lstStyle>
          <a:p>
            <a:pPr lvl="0"/>
            <a:r>
              <a:rPr lang="en-US"/>
              <a:t>Project / Studio</a:t>
            </a:r>
            <a:endParaRPr lang="de-DE"/>
          </a:p>
        </p:txBody>
      </p:sp>
      <p:pic>
        <p:nvPicPr>
          <p:cNvPr id="1367" name="friedolin_WB.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1305471"/>
            <a:ext cx="5189137" cy="1742529"/>
          </a:xfrm>
        </p:spPr>
        <p:txBody>
          <a:bodyPr anchor="t"/>
          <a:lstStyle>
            <a:lvl1pPr>
              <a:defRPr sz="6000">
                <a:solidFill>
                  <a:schemeClr val="bg1"/>
                </a:solidFill>
              </a:defRPr>
            </a:lvl1pPr>
          </a:lstStyle>
          <a:p>
            <a:r>
              <a:rPr lang="en-US"/>
              <a:t>Program title on </a:t>
            </a:r>
            <a:br>
              <a:rPr lang="en-US"/>
            </a:br>
            <a:r>
              <a:rPr lang="en-US"/>
              <a:t>two lines </a:t>
            </a:r>
          </a:p>
        </p:txBody>
      </p:sp>
      <p:sp>
        <p:nvSpPr>
          <p:cNvPr id="11" name="Text Placeholder 8">
            <a:extLst>
              <a:ext uri="{FF2B5EF4-FFF2-40B4-BE49-F238E27FC236}">
                <a16:creationId xmlns:a16="http://schemas.microsoft.com/office/drawing/2014/main" id="{12880DD2-2BAD-864D-8AA4-2C887F29D4A0}"/>
              </a:ext>
            </a:extLst>
          </p:cNvPr>
          <p:cNvSpPr>
            <a:spLocks noGrp="1"/>
          </p:cNvSpPr>
          <p:nvPr>
            <p:ph type="body" sz="quarter" idx="27" hasCustomPrompt="1"/>
          </p:nvPr>
        </p:nvSpPr>
        <p:spPr>
          <a:xfrm>
            <a:off x="884768" y="4166545"/>
            <a:ext cx="3712632" cy="1977246"/>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6" name="Text Placeholder 8">
            <a:extLst>
              <a:ext uri="{FF2B5EF4-FFF2-40B4-BE49-F238E27FC236}">
                <a16:creationId xmlns:a16="http://schemas.microsoft.com/office/drawing/2014/main" id="{F6CDD14D-7546-BD44-AEE2-4679A25E9E4F}"/>
              </a:ext>
            </a:extLst>
          </p:cNvPr>
          <p:cNvSpPr>
            <a:spLocks noGrp="1"/>
          </p:cNvSpPr>
          <p:nvPr>
            <p:ph type="body" sz="quarter" idx="35" hasCustomPrompt="1"/>
          </p:nvPr>
        </p:nvSpPr>
        <p:spPr>
          <a:xfrm>
            <a:off x="884768" y="3643921"/>
            <a:ext cx="3712632" cy="274701"/>
          </a:xfrm>
        </p:spPr>
        <p:txBody>
          <a:bodyPr wrap="square">
            <a:noAutofit/>
          </a:bodyPr>
          <a:lstStyle>
            <a:lvl1pPr>
              <a:lnSpc>
                <a:spcPct val="130000"/>
              </a:lnSpc>
              <a:defRPr sz="1600" b="0" i="0">
                <a:solidFill>
                  <a:schemeClr val="accent6">
                    <a:lumMod val="90000"/>
                  </a:schemeClr>
                </a:solidFill>
              </a:defRPr>
            </a:lvl1pPr>
          </a:lstStyle>
          <a:p>
            <a:pPr lvl="0"/>
            <a:r>
              <a:rPr lang="en-US"/>
              <a:t>CHALLENGE</a:t>
            </a:r>
            <a:endParaRPr lang="de-DE"/>
          </a:p>
        </p:txBody>
      </p:sp>
      <p:sp>
        <p:nvSpPr>
          <p:cNvPr id="18" name="Text Placeholder 8">
            <a:extLst>
              <a:ext uri="{FF2B5EF4-FFF2-40B4-BE49-F238E27FC236}">
                <a16:creationId xmlns:a16="http://schemas.microsoft.com/office/drawing/2014/main" id="{17501F9C-F009-104D-B37A-F6BBFFD2FA24}"/>
              </a:ext>
            </a:extLst>
          </p:cNvPr>
          <p:cNvSpPr>
            <a:spLocks noGrp="1"/>
          </p:cNvSpPr>
          <p:nvPr>
            <p:ph type="body" sz="quarter" idx="54" hasCustomPrompt="1"/>
          </p:nvPr>
        </p:nvSpPr>
        <p:spPr>
          <a:xfrm>
            <a:off x="5102954" y="4165645"/>
            <a:ext cx="3712632" cy="1977246"/>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20" name="Text Placeholder 8">
            <a:extLst>
              <a:ext uri="{FF2B5EF4-FFF2-40B4-BE49-F238E27FC236}">
                <a16:creationId xmlns:a16="http://schemas.microsoft.com/office/drawing/2014/main" id="{94689A42-A63D-084D-AA97-F7FB11CFBE45}"/>
              </a:ext>
            </a:extLst>
          </p:cNvPr>
          <p:cNvSpPr>
            <a:spLocks noGrp="1"/>
          </p:cNvSpPr>
          <p:nvPr>
            <p:ph type="body" sz="quarter" idx="55" hasCustomPrompt="1"/>
          </p:nvPr>
        </p:nvSpPr>
        <p:spPr>
          <a:xfrm>
            <a:off x="5102954" y="3643021"/>
            <a:ext cx="3712632" cy="274701"/>
          </a:xfrm>
        </p:spPr>
        <p:txBody>
          <a:bodyPr wrap="square">
            <a:noAutofit/>
          </a:bodyPr>
          <a:lstStyle>
            <a:lvl1pPr>
              <a:lnSpc>
                <a:spcPct val="130000"/>
              </a:lnSpc>
              <a:defRPr sz="1600" b="0" i="0">
                <a:solidFill>
                  <a:schemeClr val="accent6">
                    <a:lumMod val="90000"/>
                  </a:schemeClr>
                </a:solidFill>
              </a:defRPr>
            </a:lvl1pPr>
          </a:lstStyle>
          <a:p>
            <a:pPr lvl="0"/>
            <a:r>
              <a:rPr lang="en-US"/>
              <a:t>APPROACH</a:t>
            </a:r>
            <a:endParaRPr lang="de-DE"/>
          </a:p>
        </p:txBody>
      </p:sp>
      <p:sp>
        <p:nvSpPr>
          <p:cNvPr id="22" name="Text Placeholder 8">
            <a:extLst>
              <a:ext uri="{FF2B5EF4-FFF2-40B4-BE49-F238E27FC236}">
                <a16:creationId xmlns:a16="http://schemas.microsoft.com/office/drawing/2014/main" id="{B619D859-BCF0-5546-B98C-8EDFB97615FE}"/>
              </a:ext>
            </a:extLst>
          </p:cNvPr>
          <p:cNvSpPr>
            <a:spLocks noGrp="1"/>
          </p:cNvSpPr>
          <p:nvPr>
            <p:ph type="body" sz="quarter" idx="56" hasCustomPrompt="1"/>
          </p:nvPr>
        </p:nvSpPr>
        <p:spPr>
          <a:xfrm>
            <a:off x="9321140" y="4165645"/>
            <a:ext cx="3712632" cy="1977246"/>
          </a:xfrm>
        </p:spPr>
        <p:txBody>
          <a:bodyPr wrap="square">
            <a:noAutofit/>
          </a:bodyPr>
          <a:lstStyle>
            <a:lvl1pPr>
              <a:lnSpc>
                <a:spcPct val="130000"/>
              </a:lnSpc>
              <a:defRPr sz="1600" b="0" i="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23" name="Text Placeholder 8">
            <a:extLst>
              <a:ext uri="{FF2B5EF4-FFF2-40B4-BE49-F238E27FC236}">
                <a16:creationId xmlns:a16="http://schemas.microsoft.com/office/drawing/2014/main" id="{19045E9A-9A85-1A49-86F4-2532FAEE5861}"/>
              </a:ext>
            </a:extLst>
          </p:cNvPr>
          <p:cNvSpPr>
            <a:spLocks noGrp="1"/>
          </p:cNvSpPr>
          <p:nvPr>
            <p:ph type="body" sz="quarter" idx="57" hasCustomPrompt="1"/>
          </p:nvPr>
        </p:nvSpPr>
        <p:spPr>
          <a:xfrm>
            <a:off x="9321140" y="3643021"/>
            <a:ext cx="3712632" cy="274701"/>
          </a:xfrm>
        </p:spPr>
        <p:txBody>
          <a:bodyPr wrap="square">
            <a:noAutofit/>
          </a:bodyPr>
          <a:lstStyle>
            <a:lvl1pPr>
              <a:lnSpc>
                <a:spcPct val="130000"/>
              </a:lnSpc>
              <a:defRPr sz="1600" b="0" i="0">
                <a:solidFill>
                  <a:schemeClr val="accent6">
                    <a:lumMod val="90000"/>
                  </a:schemeClr>
                </a:solidFill>
              </a:defRPr>
            </a:lvl1pPr>
          </a:lstStyle>
          <a:p>
            <a:pPr lvl="0"/>
            <a:r>
              <a:rPr lang="en-US"/>
              <a:t>OUTCOME</a:t>
            </a:r>
            <a:endParaRPr lang="de-DE"/>
          </a:p>
        </p:txBody>
      </p:sp>
    </p:spTree>
    <p:extLst>
      <p:ext uri="{BB962C8B-B14F-4D97-AF65-F5344CB8AC3E}">
        <p14:creationId xmlns:p14="http://schemas.microsoft.com/office/powerpoint/2010/main" val="2143004805"/>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ongform case study outcome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p:txBody>
          <a:bodyPr/>
          <a:lstStyle/>
          <a:p>
            <a:r>
              <a:rPr lang="en-US"/>
              <a:t>Client Outcomes</a:t>
            </a:r>
          </a:p>
        </p:txBody>
      </p:sp>
      <p:sp>
        <p:nvSpPr>
          <p:cNvPr id="3" name="Date Placeholder 2">
            <a:extLst>
              <a:ext uri="{FF2B5EF4-FFF2-40B4-BE49-F238E27FC236}">
                <a16:creationId xmlns:a16="http://schemas.microsoft.com/office/drawing/2014/main" id="{45AE3FB7-84C5-44B8-92CF-AD18F6DB4E08}"/>
              </a:ext>
            </a:extLst>
          </p:cNvPr>
          <p:cNvSpPr>
            <a:spLocks noGrp="1"/>
          </p:cNvSpPr>
          <p:nvPr>
            <p:ph type="dt" sz="half" idx="10"/>
          </p:nvPr>
        </p:nvSpPr>
        <p:spPr>
          <a:xfrm>
            <a:off x="2134064" y="13025873"/>
            <a:ext cx="5486400" cy="369328"/>
          </a:xfrm>
          <a:prstGeom prst="rect">
            <a:avLst/>
          </a:prstGeom>
        </p:spPr>
        <p:txBody>
          <a:bodyPr/>
          <a:lstStyle>
            <a:lvl1pPr>
              <a:defRPr b="0" i="0">
                <a:latin typeface="Arial" panose="020B0604020202020204" pitchFamily="34" charset="0"/>
                <a:cs typeface="Arial" panose="020B0604020202020204" pitchFamily="34" charset="0"/>
              </a:defRPr>
            </a:lvl1pPr>
          </a:lstStyle>
          <a:p>
            <a:endParaRPr lang="de-DE"/>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lvl1pPr>
              <a:defRPr b="0" i="0"/>
            </a:lvl1pPr>
          </a:lstStyle>
          <a:p>
            <a:r>
              <a:rPr lang="en-US"/>
              <a:t>AI Genies | Claire the Car Repair Assessment Agent</a:t>
            </a:r>
            <a:endParaRPr lang="de-DE"/>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lvl1pPr>
              <a:defRPr b="0" i="0"/>
            </a:lvl1p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b="0" i="0" cap="all" spc="200" baseline="0">
                <a:latin typeface="Arial" panose="020B0604020202020204" pitchFamily="34" charset="0"/>
              </a:defRPr>
            </a:lvl1pPr>
          </a:lstStyle>
          <a:p>
            <a:pPr lvl="0"/>
            <a:r>
              <a:rPr lang="en-US"/>
              <a:t>Section</a:t>
            </a:r>
            <a:endParaRPr lang="de-DE"/>
          </a:p>
        </p:txBody>
      </p:sp>
      <p:sp>
        <p:nvSpPr>
          <p:cNvPr id="8" name="Text Placeholder 8">
            <a:extLst>
              <a:ext uri="{FF2B5EF4-FFF2-40B4-BE49-F238E27FC236}">
                <a16:creationId xmlns:a16="http://schemas.microsoft.com/office/drawing/2014/main" id="{63CAC65F-22CE-4D43-AB26-EA5F35B2118B}"/>
              </a:ext>
            </a:extLst>
          </p:cNvPr>
          <p:cNvSpPr>
            <a:spLocks noGrp="1"/>
          </p:cNvSpPr>
          <p:nvPr>
            <p:ph type="body" sz="quarter" idx="29" hasCustomPrompt="1"/>
          </p:nvPr>
        </p:nvSpPr>
        <p:spPr>
          <a:xfrm>
            <a:off x="1763673" y="7695829"/>
            <a:ext cx="6055578" cy="388633"/>
          </a:xfrm>
        </p:spPr>
        <p:txBody>
          <a:bodyPr wrap="square" anchor="t">
            <a:spAutoFit/>
          </a:bodyPr>
          <a:lstStyle>
            <a:lvl1pPr>
              <a:defRPr sz="2000" b="0" i="0" cap="all" spc="200" baseline="0">
                <a:solidFill>
                  <a:schemeClr val="tx1"/>
                </a:solidFill>
                <a:latin typeface="Arial" panose="020B0604020202020204" pitchFamily="34" charset="0"/>
              </a:defRPr>
            </a:lvl1pPr>
          </a:lstStyle>
          <a:p>
            <a:pPr lvl="0"/>
            <a:r>
              <a:rPr lang="en-US"/>
              <a:t>SUPPORTING DESCRIPTOR</a:t>
            </a:r>
          </a:p>
        </p:txBody>
      </p:sp>
      <p:sp>
        <p:nvSpPr>
          <p:cNvPr id="7" name="Text Placeholder 8">
            <a:extLst>
              <a:ext uri="{FF2B5EF4-FFF2-40B4-BE49-F238E27FC236}">
                <a16:creationId xmlns:a16="http://schemas.microsoft.com/office/drawing/2014/main" id="{53A5EBFD-096D-478E-B3EB-B8BE38A56A35}"/>
              </a:ext>
            </a:extLst>
          </p:cNvPr>
          <p:cNvSpPr>
            <a:spLocks noGrp="1"/>
          </p:cNvSpPr>
          <p:nvPr>
            <p:ph type="body" sz="quarter" idx="27" hasCustomPrompt="1"/>
          </p:nvPr>
        </p:nvSpPr>
        <p:spPr>
          <a:xfrm>
            <a:off x="1761449" y="9462033"/>
            <a:ext cx="6055578" cy="1750607"/>
          </a:xfrm>
        </p:spPr>
        <p:txBody>
          <a:bodyPr wrap="square">
            <a:spAutoFit/>
          </a:bodyPr>
          <a:lstStyle>
            <a:lvl1pPr>
              <a:defRPr sz="2800" b="0" i="0">
                <a:solidFill>
                  <a:schemeClr val="tx1"/>
                </a:solidFill>
              </a:defRPr>
            </a:lvl1pPr>
          </a:lstStyle>
          <a:p>
            <a:pPr lvl="0"/>
            <a:r>
              <a:rPr lang="en-US"/>
              <a:t>Multi-line description of key data point or figure from the program that represents an outcome or KPI.</a:t>
            </a:r>
          </a:p>
        </p:txBody>
      </p:sp>
      <p:sp>
        <p:nvSpPr>
          <p:cNvPr id="13" name="Text Placeholder 8">
            <a:extLst>
              <a:ext uri="{FF2B5EF4-FFF2-40B4-BE49-F238E27FC236}">
                <a16:creationId xmlns:a16="http://schemas.microsoft.com/office/drawing/2014/main" id="{ABFA24E5-6993-494F-A8E5-6A1A1D034CA3}"/>
              </a:ext>
            </a:extLst>
          </p:cNvPr>
          <p:cNvSpPr>
            <a:spLocks noGrp="1"/>
          </p:cNvSpPr>
          <p:nvPr>
            <p:ph type="body" sz="quarter" idx="30" hasCustomPrompt="1"/>
          </p:nvPr>
        </p:nvSpPr>
        <p:spPr>
          <a:xfrm>
            <a:off x="9158634" y="7695829"/>
            <a:ext cx="6055578" cy="388633"/>
          </a:xfrm>
        </p:spPr>
        <p:txBody>
          <a:bodyPr wrap="square" anchor="t">
            <a:spAutoFit/>
          </a:bodyPr>
          <a:lstStyle>
            <a:lvl1pPr>
              <a:defRPr sz="2000" b="0" i="0" cap="all" spc="200" baseline="0">
                <a:solidFill>
                  <a:schemeClr val="tx1"/>
                </a:solidFill>
                <a:latin typeface="Arial" panose="020B0604020202020204" pitchFamily="34" charset="0"/>
              </a:defRPr>
            </a:lvl1pPr>
          </a:lstStyle>
          <a:p>
            <a:pPr lvl="0"/>
            <a:r>
              <a:rPr lang="en-US"/>
              <a:t>SUPPORTING DESCRIPTOR</a:t>
            </a:r>
          </a:p>
        </p:txBody>
      </p:sp>
      <p:sp>
        <p:nvSpPr>
          <p:cNvPr id="14" name="Text Placeholder 8">
            <a:extLst>
              <a:ext uri="{FF2B5EF4-FFF2-40B4-BE49-F238E27FC236}">
                <a16:creationId xmlns:a16="http://schemas.microsoft.com/office/drawing/2014/main" id="{EF1B4F0F-AC8B-48F9-A5E8-FFD4B7EA7219}"/>
              </a:ext>
            </a:extLst>
          </p:cNvPr>
          <p:cNvSpPr>
            <a:spLocks noGrp="1"/>
          </p:cNvSpPr>
          <p:nvPr>
            <p:ph type="body" sz="quarter" idx="31" hasCustomPrompt="1"/>
          </p:nvPr>
        </p:nvSpPr>
        <p:spPr>
          <a:xfrm>
            <a:off x="9157522" y="9462033"/>
            <a:ext cx="6055578" cy="1750607"/>
          </a:xfrm>
        </p:spPr>
        <p:txBody>
          <a:bodyPr wrap="square">
            <a:spAutoFit/>
          </a:bodyPr>
          <a:lstStyle>
            <a:lvl1pPr>
              <a:defRPr sz="2800" b="0" i="0">
                <a:solidFill>
                  <a:schemeClr val="tx1"/>
                </a:solidFill>
              </a:defRPr>
            </a:lvl1pPr>
          </a:lstStyle>
          <a:p>
            <a:pPr lvl="0"/>
            <a:r>
              <a:rPr lang="en-US"/>
              <a:t>Multi-line description of key data point or figure from the program that represents an outcome or KPI.</a:t>
            </a:r>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6553594" y="7695829"/>
            <a:ext cx="6055578" cy="388633"/>
          </a:xfrm>
        </p:spPr>
        <p:txBody>
          <a:bodyPr wrap="square" anchor="t">
            <a:spAutoFit/>
          </a:bodyPr>
          <a:lstStyle>
            <a:lvl1pPr>
              <a:defRPr sz="2000" b="0" i="0" cap="all" spc="200" baseline="0">
                <a:solidFill>
                  <a:schemeClr val="tx1"/>
                </a:solidFill>
                <a:latin typeface="Arial" panose="020B0604020202020204" pitchFamily="34" charset="0"/>
              </a:defRPr>
            </a:lvl1pPr>
          </a:lstStyle>
          <a:p>
            <a:pPr lvl="0"/>
            <a:r>
              <a:rPr lang="en-US"/>
              <a:t>SUPPORTING DESCRIPTOR</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6553594" y="9462033"/>
            <a:ext cx="6055578" cy="1750607"/>
          </a:xfrm>
        </p:spPr>
        <p:txBody>
          <a:bodyPr wrap="square">
            <a:spAutoFit/>
          </a:bodyPr>
          <a:lstStyle>
            <a:lvl1pPr>
              <a:defRPr sz="2800" b="0" i="0">
                <a:solidFill>
                  <a:schemeClr val="tx1"/>
                </a:solidFill>
              </a:defRPr>
            </a:lvl1pPr>
          </a:lstStyle>
          <a:p>
            <a:pPr lvl="0"/>
            <a:r>
              <a:rPr lang="en-US"/>
              <a:t>Multi-line description of key data point or figure from the program that represents an outcome or KPI.</a:t>
            </a:r>
          </a:p>
        </p:txBody>
      </p:sp>
      <p:sp>
        <p:nvSpPr>
          <p:cNvPr id="18" name="Text Placeholder 4">
            <a:extLst>
              <a:ext uri="{FF2B5EF4-FFF2-40B4-BE49-F238E27FC236}">
                <a16:creationId xmlns:a16="http://schemas.microsoft.com/office/drawing/2014/main" id="{828217A3-D77B-4812-8E52-61821D1AB97D}"/>
              </a:ext>
            </a:extLst>
          </p:cNvPr>
          <p:cNvSpPr>
            <a:spLocks noGrp="1"/>
          </p:cNvSpPr>
          <p:nvPr>
            <p:ph type="body" sz="quarter" idx="63" hasCustomPrompt="1"/>
          </p:nvPr>
        </p:nvSpPr>
        <p:spPr>
          <a:xfrm rot="10800000">
            <a:off x="1763673" y="8669932"/>
            <a:ext cx="648693" cy="72000"/>
          </a:xfrm>
          <a:solidFill>
            <a:srgbClr val="CCCCCC"/>
          </a:solidFill>
        </p:spPr>
        <p:txBody>
          <a:bodyPr>
            <a:noAutofit/>
          </a:bodyPr>
          <a:lstStyle>
            <a:lvl1pPr>
              <a:defRPr b="0" i="0"/>
            </a:lvl1pPr>
          </a:lstStyle>
          <a:p>
            <a:pPr lvl="0"/>
            <a:r>
              <a:rPr lang="en-US"/>
              <a:t> </a:t>
            </a:r>
            <a:endParaRPr lang="de-DE"/>
          </a:p>
        </p:txBody>
      </p:sp>
      <p:sp>
        <p:nvSpPr>
          <p:cNvPr id="19" name="Text Placeholder 4">
            <a:extLst>
              <a:ext uri="{FF2B5EF4-FFF2-40B4-BE49-F238E27FC236}">
                <a16:creationId xmlns:a16="http://schemas.microsoft.com/office/drawing/2014/main" id="{E0A7EBEF-D443-4EBD-A2A0-88511CC27DFA}"/>
              </a:ext>
            </a:extLst>
          </p:cNvPr>
          <p:cNvSpPr>
            <a:spLocks noGrp="1"/>
          </p:cNvSpPr>
          <p:nvPr>
            <p:ph type="body" sz="quarter" idx="64" hasCustomPrompt="1"/>
          </p:nvPr>
        </p:nvSpPr>
        <p:spPr>
          <a:xfrm rot="10800000">
            <a:off x="9158632" y="8669932"/>
            <a:ext cx="648693" cy="72000"/>
          </a:xfrm>
          <a:solidFill>
            <a:srgbClr val="CCCCCC"/>
          </a:solidFill>
        </p:spPr>
        <p:txBody>
          <a:bodyPr>
            <a:noAutofit/>
          </a:bodyPr>
          <a:lstStyle>
            <a:lvl1pPr>
              <a:defRPr b="0" i="0"/>
            </a:lvl1pPr>
          </a:lstStyle>
          <a:p>
            <a:pPr lvl="0"/>
            <a:r>
              <a:rPr lang="en-US"/>
              <a:t> </a:t>
            </a:r>
            <a:endParaRPr lang="de-DE"/>
          </a:p>
        </p:txBody>
      </p:sp>
      <p:sp>
        <p:nvSpPr>
          <p:cNvPr id="20" name="Text Placeholder 4">
            <a:extLst>
              <a:ext uri="{FF2B5EF4-FFF2-40B4-BE49-F238E27FC236}">
                <a16:creationId xmlns:a16="http://schemas.microsoft.com/office/drawing/2014/main" id="{B3BEA46B-7846-4F5E-8471-96BD5258EFE6}"/>
              </a:ext>
            </a:extLst>
          </p:cNvPr>
          <p:cNvSpPr>
            <a:spLocks noGrp="1"/>
          </p:cNvSpPr>
          <p:nvPr>
            <p:ph type="body" sz="quarter" idx="65" hasCustomPrompt="1"/>
          </p:nvPr>
        </p:nvSpPr>
        <p:spPr>
          <a:xfrm rot="10800000">
            <a:off x="16553596" y="8669932"/>
            <a:ext cx="648693" cy="72000"/>
          </a:xfrm>
          <a:solidFill>
            <a:srgbClr val="CCCCCC"/>
          </a:solidFill>
        </p:spPr>
        <p:txBody>
          <a:bodyPr>
            <a:noAutofit/>
          </a:bodyPr>
          <a:lstStyle>
            <a:lvl1pPr>
              <a:defRPr b="0" i="0"/>
            </a:lvl1pPr>
          </a:lstStyle>
          <a:p>
            <a:pPr lvl="0"/>
            <a:r>
              <a:rPr lang="en-US"/>
              <a:t> </a:t>
            </a:r>
            <a:endParaRPr lang="de-DE"/>
          </a:p>
        </p:txBody>
      </p:sp>
      <p:sp>
        <p:nvSpPr>
          <p:cNvPr id="21" name="Text Placeholder 8">
            <a:extLst>
              <a:ext uri="{FF2B5EF4-FFF2-40B4-BE49-F238E27FC236}">
                <a16:creationId xmlns:a16="http://schemas.microsoft.com/office/drawing/2014/main" id="{28AC4E19-9886-4A6C-B456-53E919430CCA}"/>
              </a:ext>
            </a:extLst>
          </p:cNvPr>
          <p:cNvSpPr>
            <a:spLocks noGrp="1"/>
          </p:cNvSpPr>
          <p:nvPr>
            <p:ph type="body" sz="quarter" idx="66" hasCustomPrompt="1"/>
          </p:nvPr>
        </p:nvSpPr>
        <p:spPr>
          <a:xfrm>
            <a:off x="1763673" y="4253967"/>
            <a:ext cx="6055578" cy="2827127"/>
          </a:xfrm>
        </p:spPr>
        <p:txBody>
          <a:bodyPr wrap="square" anchor="b">
            <a:noAutofit/>
          </a:bodyPr>
          <a:lstStyle>
            <a:lvl1pPr>
              <a:defRPr sz="18200" b="0" i="0">
                <a:solidFill>
                  <a:schemeClr val="tx1"/>
                </a:solidFill>
                <a:latin typeface="Times New Roman" panose="02020603050405020304" pitchFamily="18" charset="0"/>
              </a:defRPr>
            </a:lvl1pPr>
          </a:lstStyle>
          <a:p>
            <a:pPr lvl="0"/>
            <a:r>
              <a:rPr lang="en-US"/>
              <a:t>+x%</a:t>
            </a:r>
          </a:p>
        </p:txBody>
      </p:sp>
      <p:sp>
        <p:nvSpPr>
          <p:cNvPr id="23" name="Text Placeholder 8">
            <a:extLst>
              <a:ext uri="{FF2B5EF4-FFF2-40B4-BE49-F238E27FC236}">
                <a16:creationId xmlns:a16="http://schemas.microsoft.com/office/drawing/2014/main" id="{D463160F-8E7F-4CC8-A6F2-A36BE4105FE1}"/>
              </a:ext>
            </a:extLst>
          </p:cNvPr>
          <p:cNvSpPr>
            <a:spLocks noGrp="1"/>
          </p:cNvSpPr>
          <p:nvPr>
            <p:ph type="body" sz="quarter" idx="67" hasCustomPrompt="1"/>
          </p:nvPr>
        </p:nvSpPr>
        <p:spPr>
          <a:xfrm>
            <a:off x="9158633" y="4253967"/>
            <a:ext cx="6055578" cy="2827127"/>
          </a:xfrm>
        </p:spPr>
        <p:txBody>
          <a:bodyPr wrap="square" anchor="b">
            <a:noAutofit/>
          </a:bodyPr>
          <a:lstStyle>
            <a:lvl1pPr>
              <a:defRPr sz="18200" b="0" i="0">
                <a:solidFill>
                  <a:schemeClr val="tx1"/>
                </a:solidFill>
                <a:latin typeface="Times New Roman" panose="02020603050405020304" pitchFamily="18" charset="0"/>
              </a:defRPr>
            </a:lvl1pPr>
          </a:lstStyle>
          <a:p>
            <a:pPr lvl="0"/>
            <a:r>
              <a:rPr lang="en-US" err="1"/>
              <a:t>xk</a:t>
            </a:r>
            <a:endParaRPr lang="en-US"/>
          </a:p>
        </p:txBody>
      </p:sp>
      <p:sp>
        <p:nvSpPr>
          <p:cNvPr id="24" name="Text Placeholder 8">
            <a:extLst>
              <a:ext uri="{FF2B5EF4-FFF2-40B4-BE49-F238E27FC236}">
                <a16:creationId xmlns:a16="http://schemas.microsoft.com/office/drawing/2014/main" id="{00C2B73F-3340-401B-83CB-D19615E33E77}"/>
              </a:ext>
            </a:extLst>
          </p:cNvPr>
          <p:cNvSpPr>
            <a:spLocks noGrp="1"/>
          </p:cNvSpPr>
          <p:nvPr>
            <p:ph type="body" sz="quarter" idx="68" hasCustomPrompt="1"/>
          </p:nvPr>
        </p:nvSpPr>
        <p:spPr>
          <a:xfrm>
            <a:off x="16553596" y="4253967"/>
            <a:ext cx="6055578" cy="2827127"/>
          </a:xfrm>
        </p:spPr>
        <p:txBody>
          <a:bodyPr wrap="square" anchor="b">
            <a:noAutofit/>
          </a:bodyPr>
          <a:lstStyle>
            <a:lvl1pPr>
              <a:defRPr sz="18200" b="0" i="0">
                <a:solidFill>
                  <a:schemeClr val="tx1"/>
                </a:solidFill>
                <a:latin typeface="Times New Roman" panose="02020603050405020304" pitchFamily="18" charset="0"/>
              </a:defRPr>
            </a:lvl1pPr>
          </a:lstStyle>
          <a:p>
            <a:pPr lvl="0"/>
            <a:r>
              <a:rPr lang="en-US"/>
              <a:t>xx</a:t>
            </a:r>
          </a:p>
        </p:txBody>
      </p:sp>
      <p:pic>
        <p:nvPicPr>
          <p:cNvPr id="25" name="friedolin_WB.jpg">
            <a:extLst>
              <a:ext uri="{FF2B5EF4-FFF2-40B4-BE49-F238E27FC236}">
                <a16:creationId xmlns:a16="http://schemas.microsoft.com/office/drawing/2014/main" id="{3A7611C2-D204-4FB8-B41E-ACA08E8B43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1102543944"/>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 name="Title Placeholder 5">
            <a:extLst>
              <a:ext uri="{FF2B5EF4-FFF2-40B4-BE49-F238E27FC236}">
                <a16:creationId xmlns:a16="http://schemas.microsoft.com/office/drawing/2014/main" id="{B4B37482-4AF7-4523-B8A9-AF0AC6457E42}"/>
              </a:ext>
            </a:extLst>
          </p:cNvPr>
          <p:cNvSpPr>
            <a:spLocks noGrp="1"/>
          </p:cNvSpPr>
          <p:nvPr>
            <p:ph type="title"/>
          </p:nvPr>
        </p:nvSpPr>
        <p:spPr>
          <a:xfrm>
            <a:off x="1763673" y="2313081"/>
            <a:ext cx="20845501" cy="997196"/>
          </a:xfrm>
          <a:prstGeom prst="rect">
            <a:avLst/>
          </a:prstGeom>
        </p:spPr>
        <p:txBody>
          <a:bodyPr vert="horz" wrap="square" lIns="0" tIns="0" rIns="0" bIns="0" rtlCol="0" anchor="ctr" anchorCtr="0">
            <a:noAutofit/>
          </a:bodyPr>
          <a:lstStyle/>
          <a:p>
            <a:r>
              <a:rPr lang="en-US"/>
              <a:t>Click to edit Master title style</a:t>
            </a:r>
            <a:endParaRPr lang="de-DE"/>
          </a:p>
        </p:txBody>
      </p:sp>
      <p:sp>
        <p:nvSpPr>
          <p:cNvPr id="7" name="Text Placeholder 6">
            <a:extLst>
              <a:ext uri="{FF2B5EF4-FFF2-40B4-BE49-F238E27FC236}">
                <a16:creationId xmlns:a16="http://schemas.microsoft.com/office/drawing/2014/main" id="{BED10F38-1C1B-4DA9-A322-DB65686FFAED}"/>
              </a:ext>
            </a:extLst>
          </p:cNvPr>
          <p:cNvSpPr>
            <a:spLocks noGrp="1"/>
          </p:cNvSpPr>
          <p:nvPr>
            <p:ph type="body" idx="1"/>
          </p:nvPr>
        </p:nvSpPr>
        <p:spPr>
          <a:xfrm>
            <a:off x="1763673" y="4259263"/>
            <a:ext cx="20845500" cy="74755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9" name="Footer Placeholder 8">
            <a:extLst>
              <a:ext uri="{FF2B5EF4-FFF2-40B4-BE49-F238E27FC236}">
                <a16:creationId xmlns:a16="http://schemas.microsoft.com/office/drawing/2014/main" id="{ED7759F0-2172-466B-B3CD-E6E15052F029}"/>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b="0" i="0" spc="48">
                <a:solidFill>
                  <a:schemeClr val="bg1">
                    <a:lumMod val="65000"/>
                  </a:schemeClr>
                </a:solidFill>
                <a:latin typeface="Arial" panose="020B0604020202020204" pitchFamily="34" charset="0"/>
                <a:cs typeface="Arial" panose="020B0604020202020204" pitchFamily="34" charset="0"/>
              </a:defRPr>
            </a:lvl1pPr>
          </a:lstStyle>
          <a:p>
            <a:r>
              <a:rPr lang="en-US"/>
              <a:t>AI Genies | Claire the Car Repair Assessment Agent</a:t>
            </a:r>
            <a:endParaRPr lang="de-DE"/>
          </a:p>
        </p:txBody>
      </p:sp>
      <p:sp>
        <p:nvSpPr>
          <p:cNvPr id="10" name="Slide Number Placeholder 9">
            <a:extLst>
              <a:ext uri="{FF2B5EF4-FFF2-40B4-BE49-F238E27FC236}">
                <a16:creationId xmlns:a16="http://schemas.microsoft.com/office/drawing/2014/main" id="{BD7048FB-734D-42B6-B88F-F7F9D4DAFFF0}"/>
              </a:ext>
            </a:extLst>
          </p:cNvPr>
          <p:cNvSpPr>
            <a:spLocks noGrp="1"/>
          </p:cNvSpPr>
          <p:nvPr>
            <p:ph type="sldNum" sz="quarter" idx="4"/>
          </p:nvPr>
        </p:nvSpPr>
        <p:spPr>
          <a:xfrm>
            <a:off x="23160901" y="13025876"/>
            <a:ext cx="554315" cy="369328"/>
          </a:xfrm>
          <a:prstGeom prst="rect">
            <a:avLst/>
          </a:prstGeom>
        </p:spPr>
        <p:txBody>
          <a:bodyPr vert="horz" wrap="none" lIns="45718" tIns="45718" rIns="45718" bIns="45718" rtlCol="0" anchor="ctr" anchorCtr="0">
            <a:noAutofit/>
          </a:bodyPr>
          <a:lstStyle>
            <a:lvl1pPr algn="l">
              <a:lnSpc>
                <a:spcPct val="100000"/>
              </a:lnSpc>
              <a:defRPr sz="1800" b="0" i="0" spc="180">
                <a:solidFill>
                  <a:schemeClr val="bg1">
                    <a:lumMod val="65000"/>
                  </a:schemeClr>
                </a:solidFill>
                <a:latin typeface="Arial" panose="020B0604020202020204" pitchFamily="34" charset="0"/>
                <a:cs typeface="Arial" panose="020B0604020202020204" pitchFamily="34" charset="0"/>
              </a:defRPr>
            </a:lvl1pPr>
          </a:lstStyle>
          <a:p>
            <a:fld id="{F4562D32-726A-4413-ACA3-4E6BD640C7C8}" type="slidenum">
              <a:rPr lang="de-DE" smtClean="0"/>
              <a:pPr/>
              <a:t>‹#›</a:t>
            </a:fld>
            <a:endParaRPr lang="de-DE"/>
          </a:p>
        </p:txBody>
      </p:sp>
    </p:spTree>
  </p:cSld>
  <p:clrMap bg1="lt1" tx1="dk1" bg2="lt2" tx2="dk2" accent1="accent1" accent2="accent2" accent3="accent3" accent4="accent4" accent5="accent5" accent6="accent6" hlink="hlink" folHlink="folHlink"/>
  <p:sldLayoutIdLst>
    <p:sldLayoutId id="2147483805" r:id="rId1"/>
    <p:sldLayoutId id="2147483804" r:id="rId2"/>
    <p:sldLayoutId id="2147483650" r:id="rId3"/>
    <p:sldLayoutId id="2147483811" r:id="rId4"/>
    <p:sldLayoutId id="2147483806" r:id="rId5"/>
    <p:sldLayoutId id="2147483807" r:id="rId6"/>
    <p:sldLayoutId id="2147483808" r:id="rId7"/>
    <p:sldLayoutId id="2147483809" r:id="rId8"/>
    <p:sldLayoutId id="2147483810"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673" r:id="rId21"/>
    <p:sldLayoutId id="2147483674" r:id="rId22"/>
    <p:sldLayoutId id="2147483675" r:id="rId23"/>
    <p:sldLayoutId id="2147483823" r:id="rId24"/>
    <p:sldLayoutId id="2147483824" r:id="rId25"/>
    <p:sldLayoutId id="2147483825" r:id="rId26"/>
    <p:sldLayoutId id="2147483826" r:id="rId27"/>
    <p:sldLayoutId id="2147483827" r:id="rId28"/>
    <p:sldLayoutId id="2147483828" r:id="rId29"/>
    <p:sldLayoutId id="2147483829" r:id="rId30"/>
    <p:sldLayoutId id="2147483830" r:id="rId31"/>
    <p:sldLayoutId id="2147483831" r:id="rId32"/>
    <p:sldLayoutId id="2147483832" r:id="rId33"/>
    <p:sldLayoutId id="2147483833" r:id="rId34"/>
    <p:sldLayoutId id="2147483834" r:id="rId35"/>
    <p:sldLayoutId id="2147483835" r:id="rId36"/>
    <p:sldLayoutId id="2147483836" r:id="rId37"/>
    <p:sldLayoutId id="2147483837" r:id="rId38"/>
    <p:sldLayoutId id="2147483838" r:id="rId39"/>
    <p:sldLayoutId id="2147483839" r:id="rId40"/>
    <p:sldLayoutId id="2147483840" r:id="rId41"/>
    <p:sldLayoutId id="2147483841" r:id="rId42"/>
    <p:sldLayoutId id="2147483842" r:id="rId43"/>
    <p:sldLayoutId id="2147483843" r:id="rId44"/>
    <p:sldLayoutId id="2147483845" r:id="rId45"/>
    <p:sldLayoutId id="2147483844" r:id="rId46"/>
    <p:sldLayoutId id="2147483846" r:id="rId47"/>
    <p:sldLayoutId id="2147483847" r:id="rId48"/>
    <p:sldLayoutId id="2147483848" r:id="rId49"/>
    <p:sldLayoutId id="2147483849" r:id="rId50"/>
    <p:sldLayoutId id="2147483850" r:id="rId51"/>
    <p:sldLayoutId id="2147483851" r:id="rId52"/>
    <p:sldLayoutId id="2147483852" r:id="rId53"/>
    <p:sldLayoutId id="2147483853" r:id="rId54"/>
    <p:sldLayoutId id="2147483854" r:id="rId55"/>
    <p:sldLayoutId id="2147483855" r:id="rId56"/>
    <p:sldLayoutId id="2147483856" r:id="rId57"/>
    <p:sldLayoutId id="2147483857" r:id="rId58"/>
    <p:sldLayoutId id="2147483858" r:id="rId59"/>
    <p:sldLayoutId id="2147483859" r:id="rId60"/>
    <p:sldLayoutId id="2147483860" r:id="rId61"/>
    <p:sldLayoutId id="2147483861" r:id="rId62"/>
    <p:sldLayoutId id="2147483862" r:id="rId63"/>
    <p:sldLayoutId id="2147483863" r:id="rId64"/>
    <p:sldLayoutId id="2147483864" r:id="rId65"/>
    <p:sldLayoutId id="2147483865" r:id="rId66"/>
    <p:sldLayoutId id="2147483866" r:id="rId67"/>
    <p:sldLayoutId id="2147483867" r:id="rId68"/>
    <p:sldLayoutId id="2147483868" r:id="rId69"/>
    <p:sldLayoutId id="2147483869" r:id="rId70"/>
    <p:sldLayoutId id="2147483870" r:id="rId71"/>
    <p:sldLayoutId id="2147483871" r:id="rId72"/>
    <p:sldLayoutId id="2147483872" r:id="rId73"/>
    <p:sldLayoutId id="2147483873" r:id="rId74"/>
    <p:sldLayoutId id="2147483874" r:id="rId75"/>
    <p:sldLayoutId id="2147483875" r:id="rId76"/>
    <p:sldLayoutId id="2147483877" r:id="rId77"/>
    <p:sldLayoutId id="2147483878" r:id="rId78"/>
    <p:sldLayoutId id="2147483735" r:id="rId79"/>
    <p:sldLayoutId id="2147483736" r:id="rId80"/>
    <p:sldLayoutId id="2147483737" r:id="rId81"/>
    <p:sldLayoutId id="2147483738" r:id="rId82"/>
    <p:sldLayoutId id="2147483739" r:id="rId83"/>
    <p:sldLayoutId id="2147483740" r:id="rId84"/>
    <p:sldLayoutId id="2147483790" r:id="rId85"/>
    <p:sldLayoutId id="2147483791" r:id="rId86"/>
    <p:sldLayoutId id="2147483744" r:id="rId87"/>
    <p:sldLayoutId id="2147483879" r:id="rId88"/>
    <p:sldLayoutId id="2147483880" r:id="rId89"/>
    <p:sldLayoutId id="2147483881" r:id="rId90"/>
    <p:sldLayoutId id="2147483882" r:id="rId91"/>
    <p:sldLayoutId id="2147483884" r:id="rId92"/>
    <p:sldLayoutId id="2147483906" r:id="rId93"/>
    <p:sldLayoutId id="2147483907" r:id="rId94"/>
    <p:sldLayoutId id="2147483908" r:id="rId95"/>
    <p:sldLayoutId id="2147483909" r:id="rId96"/>
    <p:sldLayoutId id="2147483910" r:id="rId97"/>
    <p:sldLayoutId id="2147483911" r:id="rId98"/>
    <p:sldLayoutId id="2147483885" r:id="rId99"/>
    <p:sldLayoutId id="2147483886" r:id="rId100"/>
    <p:sldLayoutId id="2147483913" r:id="rId101"/>
    <p:sldLayoutId id="2147483914" r:id="rId102"/>
    <p:sldLayoutId id="2147483912" r:id="rId103"/>
    <p:sldLayoutId id="2147483915" r:id="rId104"/>
    <p:sldLayoutId id="2147483887" r:id="rId105"/>
    <p:sldLayoutId id="2147483888" r:id="rId106"/>
    <p:sldLayoutId id="2147483889" r:id="rId107"/>
    <p:sldLayoutId id="2147483890" r:id="rId108"/>
    <p:sldLayoutId id="2147483891" r:id="rId109"/>
    <p:sldLayoutId id="2147483892" r:id="rId110"/>
    <p:sldLayoutId id="2147483893" r:id="rId111"/>
    <p:sldLayoutId id="2147483894" r:id="rId112"/>
    <p:sldLayoutId id="2147483895" r:id="rId113"/>
    <p:sldLayoutId id="2147483896" r:id="rId114"/>
    <p:sldLayoutId id="2147483898" r:id="rId115"/>
    <p:sldLayoutId id="2147483899" r:id="rId116"/>
    <p:sldLayoutId id="2147483900" r:id="rId117"/>
    <p:sldLayoutId id="2147483901" r:id="rId118"/>
    <p:sldLayoutId id="2147483902" r:id="rId119"/>
    <p:sldLayoutId id="2147483903" r:id="rId120"/>
    <p:sldLayoutId id="2147483904" r:id="rId121"/>
    <p:sldLayoutId id="2147483785" r:id="rId122"/>
    <p:sldLayoutId id="2147483905" r:id="rId123"/>
    <p:sldLayoutId id="2147483801" r:id="rId124"/>
  </p:sldLayoutIdLst>
  <p:transition spd="med"/>
  <p:hf hdr="0" ftr="0" dt="0"/>
  <p:txStyles>
    <p:titleStyle>
      <a:lvl1pPr marL="0" marR="0" indent="0" algn="l" defTabSz="1130300" latinLnBrk="0">
        <a:lnSpc>
          <a:spcPct val="90000"/>
        </a:lnSpc>
        <a:spcBef>
          <a:spcPts val="0"/>
        </a:spcBef>
        <a:spcAft>
          <a:spcPts val="0"/>
        </a:spcAft>
        <a:buClrTx/>
        <a:buSzTx/>
        <a:buFontTx/>
        <a:buNone/>
        <a:tabLst/>
        <a:defRPr sz="7200" b="1" i="0" u="none" strike="noStrike" cap="none" spc="-72" baseline="0">
          <a:solidFill>
            <a:schemeClr val="tx1"/>
          </a:solidFill>
          <a:uFill>
            <a:solidFill>
              <a:srgbClr val="FFFFFF"/>
            </a:solidFill>
          </a:uFill>
          <a:latin typeface="Times New Roman" panose="02020603050405020304" pitchFamily="18" charset="0"/>
          <a:ea typeface="Arial" panose="020B0604020202020204" pitchFamily="34" charset="0"/>
          <a:cs typeface="Arial" panose="020B0604020202020204" pitchFamily="34" charset="0"/>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p:titleStyle>
    <p:bodyStyle>
      <a:lvl1pPr marL="0" marR="0" indent="0" algn="l" defTabSz="1828432" latinLnBrk="0">
        <a:lnSpc>
          <a:spcPct val="140000"/>
        </a:lnSpc>
        <a:spcBef>
          <a:spcPts val="0"/>
        </a:spcBef>
        <a:spcAft>
          <a:spcPts val="0"/>
        </a:spcAft>
        <a:buClrTx/>
        <a:buSzTx/>
        <a:buFontTx/>
        <a:buNone/>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1pPr>
      <a:lvl2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2pPr>
      <a:lvl3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3pPr>
      <a:lvl4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4pPr>
      <a:lvl5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5pPr>
      <a:lvl6pPr marL="5180562"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p:bodyStyle>
    <p:otherStyle>
      <a:lvl1pPr marL="0" marR="0" indent="0" algn="r" defTabSz="1828432"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1pPr>
      <a:lvl2pPr marL="0" marR="0" indent="0" algn="r" defTabSz="1828432"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2pPr>
      <a:lvl3pPr marL="0" marR="0" indent="0" algn="r" defTabSz="1828432"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3pPr>
      <a:lvl4pPr marL="0" marR="0" indent="0" algn="r" defTabSz="1828432"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4pPr>
      <a:lvl5pPr marL="0" marR="0" indent="0" algn="r" defTabSz="1828432"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5pPr>
      <a:lvl6pPr marL="0" marR="0" indent="0" algn="r" defTabSz="1828432"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6pPr>
      <a:lvl7pPr marL="0" marR="0" indent="0" algn="r" defTabSz="1828432"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7pPr>
      <a:lvl8pPr marL="0" marR="0" indent="0" algn="r" defTabSz="1828432"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8pPr>
      <a:lvl9pPr marL="0" marR="0" indent="0" algn="r" defTabSz="1828432"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9pPr>
    </p:otherStyle>
  </p:txStyles>
  <p:extLst>
    <p:ext uri="{27BBF7A9-308A-43DC-89C8-2F10F3537804}">
      <p15:sldGuideLst xmlns:p15="http://schemas.microsoft.com/office/powerpoint/2012/main">
        <p15:guide id="1" orient="horz" pos="2683" userDrawn="1">
          <p15:clr>
            <a:srgbClr val="F26B43"/>
          </p15:clr>
        </p15:guide>
        <p15:guide id="2" orient="horz" pos="7392" userDrawn="1">
          <p15:clr>
            <a:srgbClr val="F26B43"/>
          </p15:clr>
        </p15:guide>
        <p15:guide id="3" pos="1104" userDrawn="1">
          <p15:clr>
            <a:srgbClr val="F26B43"/>
          </p15:clr>
        </p15:guide>
        <p15:guide id="4" pos="1424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jpeg"/><Relationship Id="rId7" Type="http://schemas.openxmlformats.org/officeDocument/2006/relationships/image" Target="../media/image29.svg"/><Relationship Id="rId2" Type="http://schemas.openxmlformats.org/officeDocument/2006/relationships/notesSlide" Target="../notesSlides/notesSlide1.xml"/><Relationship Id="rId1" Type="http://schemas.openxmlformats.org/officeDocument/2006/relationships/slideLayout" Target="../slideLayouts/slideLayout91.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png"/></Relationships>
</file>

<file path=ppt/slides/_rels/slide2.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notesSlide" Target="../notesSlides/notesSlide2.xml"/><Relationship Id="rId26" Type="http://schemas.openxmlformats.org/officeDocument/2006/relationships/image" Target="../media/image39.svg"/><Relationship Id="rId21" Type="http://schemas.openxmlformats.org/officeDocument/2006/relationships/image" Target="../media/image34.png"/><Relationship Id="rId34" Type="http://schemas.openxmlformats.org/officeDocument/2006/relationships/image" Target="../media/image47.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Layout" Target="../slideLayouts/slideLayout25.xml"/><Relationship Id="rId25" Type="http://schemas.openxmlformats.org/officeDocument/2006/relationships/image" Target="../media/image38.png"/><Relationship Id="rId33" Type="http://schemas.openxmlformats.org/officeDocument/2006/relationships/image" Target="../media/image46.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33.svg"/><Relationship Id="rId29" Type="http://schemas.openxmlformats.org/officeDocument/2006/relationships/image" Target="../media/image42.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37.svg"/><Relationship Id="rId32" Type="http://schemas.openxmlformats.org/officeDocument/2006/relationships/image" Target="../media/image45.svg"/><Relationship Id="rId37" Type="http://schemas.openxmlformats.org/officeDocument/2006/relationships/hyperlink" Target="https://gitnux.org/u-s-auto-repair-industry-statistics/" TargetMode="Externa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36.png"/><Relationship Id="rId28" Type="http://schemas.openxmlformats.org/officeDocument/2006/relationships/image" Target="../media/image41.svg"/><Relationship Id="rId36" Type="http://schemas.openxmlformats.org/officeDocument/2006/relationships/hyperlink" Target="https://valleycollision.com/blog/when-you-should-avoid-going-through-your-insurance-for-car-repair/" TargetMode="External"/><Relationship Id="rId10" Type="http://schemas.openxmlformats.org/officeDocument/2006/relationships/tags" Target="../tags/tag11.xml"/><Relationship Id="rId19" Type="http://schemas.openxmlformats.org/officeDocument/2006/relationships/image" Target="../media/image32.png"/><Relationship Id="rId31" Type="http://schemas.openxmlformats.org/officeDocument/2006/relationships/image" Target="../media/image44.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35.svg"/><Relationship Id="rId27" Type="http://schemas.openxmlformats.org/officeDocument/2006/relationships/image" Target="../media/image40.png"/><Relationship Id="rId30" Type="http://schemas.openxmlformats.org/officeDocument/2006/relationships/image" Target="../media/image43.svg"/><Relationship Id="rId35" Type="http://schemas.openxmlformats.org/officeDocument/2006/relationships/hyperlink" Target="https://www.ddlawtampa.com/resources/car-accident-statistics-you-need-to-know-in-2021/#:~:text=Total%20number%20of%20car%20accidents%20per%20year%20in%20the%20U.S.&amp;text=This%20is%20up%20from%20238.6,losing%20their%20lives%20each%20year." TargetMode="External"/><Relationship Id="rId8" Type="http://schemas.openxmlformats.org/officeDocument/2006/relationships/tags" Target="../tags/tag9.xml"/><Relationship Id="rId3" Type="http://schemas.openxmlformats.org/officeDocument/2006/relationships/tags" Target="../tags/tag4.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44.png"/><Relationship Id="rId18" Type="http://schemas.openxmlformats.org/officeDocument/2006/relationships/image" Target="../media/image49.png"/><Relationship Id="rId26" Type="http://schemas.openxmlformats.org/officeDocument/2006/relationships/image" Target="../media/image57.svg"/><Relationship Id="rId3" Type="http://schemas.openxmlformats.org/officeDocument/2006/relationships/tags" Target="../tags/tag20.xml"/><Relationship Id="rId21" Type="http://schemas.openxmlformats.org/officeDocument/2006/relationships/image" Target="../media/image52.png"/><Relationship Id="rId7" Type="http://schemas.openxmlformats.org/officeDocument/2006/relationships/slideLayout" Target="../slideLayouts/slideLayout25.xml"/><Relationship Id="rId12" Type="http://schemas.openxmlformats.org/officeDocument/2006/relationships/image" Target="../media/image41.svg"/><Relationship Id="rId17" Type="http://schemas.openxmlformats.org/officeDocument/2006/relationships/image" Target="../media/image48.png"/><Relationship Id="rId25" Type="http://schemas.openxmlformats.org/officeDocument/2006/relationships/image" Target="../media/image56.png"/><Relationship Id="rId2" Type="http://schemas.openxmlformats.org/officeDocument/2006/relationships/tags" Target="../tags/tag19.xml"/><Relationship Id="rId16" Type="http://schemas.openxmlformats.org/officeDocument/2006/relationships/image" Target="../media/image47.svg"/><Relationship Id="rId20" Type="http://schemas.openxmlformats.org/officeDocument/2006/relationships/image" Target="../media/image51.png"/><Relationship Id="rId29" Type="http://schemas.openxmlformats.org/officeDocument/2006/relationships/image" Target="../media/image60.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40.png"/><Relationship Id="rId24" Type="http://schemas.openxmlformats.org/officeDocument/2006/relationships/image" Target="../media/image55.svg"/><Relationship Id="rId32" Type="http://schemas.openxmlformats.org/officeDocument/2006/relationships/image" Target="../media/image63.svg"/><Relationship Id="rId5" Type="http://schemas.openxmlformats.org/officeDocument/2006/relationships/tags" Target="../tags/tag22.xml"/><Relationship Id="rId15" Type="http://schemas.openxmlformats.org/officeDocument/2006/relationships/image" Target="../media/image46.png"/><Relationship Id="rId23" Type="http://schemas.openxmlformats.org/officeDocument/2006/relationships/image" Target="../media/image54.png"/><Relationship Id="rId28" Type="http://schemas.openxmlformats.org/officeDocument/2006/relationships/image" Target="../media/image59.svg"/><Relationship Id="rId10" Type="http://schemas.openxmlformats.org/officeDocument/2006/relationships/image" Target="../media/image43.svg"/><Relationship Id="rId19" Type="http://schemas.openxmlformats.org/officeDocument/2006/relationships/image" Target="../media/image50.png"/><Relationship Id="rId31" Type="http://schemas.openxmlformats.org/officeDocument/2006/relationships/image" Target="../media/image62.png"/><Relationship Id="rId4" Type="http://schemas.openxmlformats.org/officeDocument/2006/relationships/tags" Target="../tags/tag21.xml"/><Relationship Id="rId9" Type="http://schemas.openxmlformats.org/officeDocument/2006/relationships/image" Target="../media/image42.png"/><Relationship Id="rId14" Type="http://schemas.openxmlformats.org/officeDocument/2006/relationships/image" Target="../media/image45.svg"/><Relationship Id="rId22" Type="http://schemas.openxmlformats.org/officeDocument/2006/relationships/image" Target="../media/image53.png"/><Relationship Id="rId27" Type="http://schemas.openxmlformats.org/officeDocument/2006/relationships/image" Target="../media/image58.png"/><Relationship Id="rId30" Type="http://schemas.openxmlformats.org/officeDocument/2006/relationships/image" Target="../media/image61.svg"/></Relationships>
</file>

<file path=ppt/slides/_rels/slide4.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svg"/><Relationship Id="rId18" Type="http://schemas.openxmlformats.org/officeDocument/2006/relationships/image" Target="../media/image79.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17" Type="http://schemas.openxmlformats.org/officeDocument/2006/relationships/image" Target="../media/image78.svg"/><Relationship Id="rId2" Type="http://schemas.openxmlformats.org/officeDocument/2006/relationships/notesSlide" Target="../notesSlides/notesSlide4.xml"/><Relationship Id="rId16" Type="http://schemas.openxmlformats.org/officeDocument/2006/relationships/image" Target="../media/image77.png"/><Relationship Id="rId1" Type="http://schemas.openxmlformats.org/officeDocument/2006/relationships/slideLayout" Target="../slideLayouts/slideLayout25.xml"/><Relationship Id="rId6" Type="http://schemas.openxmlformats.org/officeDocument/2006/relationships/image" Target="../media/image67.png"/><Relationship Id="rId11" Type="http://schemas.openxmlformats.org/officeDocument/2006/relationships/image" Target="../media/image72.svg"/><Relationship Id="rId5" Type="http://schemas.openxmlformats.org/officeDocument/2006/relationships/image" Target="../media/image66.png"/><Relationship Id="rId15" Type="http://schemas.openxmlformats.org/officeDocument/2006/relationships/image" Target="../media/image76.svg"/><Relationship Id="rId10" Type="http://schemas.openxmlformats.org/officeDocument/2006/relationships/image" Target="../media/image71.png"/><Relationship Id="rId19" Type="http://schemas.openxmlformats.org/officeDocument/2006/relationships/image" Target="../media/image80.svg"/><Relationship Id="rId4" Type="http://schemas.openxmlformats.org/officeDocument/2006/relationships/image" Target="../media/image65.svg"/><Relationship Id="rId9" Type="http://schemas.openxmlformats.org/officeDocument/2006/relationships/image" Target="../media/image70.png"/><Relationship Id="rId14" Type="http://schemas.openxmlformats.org/officeDocument/2006/relationships/image" Target="../media/image7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slideLayout" Target="../slideLayouts/slideLayout25.xml"/><Relationship Id="rId18" Type="http://schemas.openxmlformats.org/officeDocument/2006/relationships/image" Target="../media/image85.png"/><Relationship Id="rId26" Type="http://schemas.openxmlformats.org/officeDocument/2006/relationships/image" Target="../media/image93.svg"/><Relationship Id="rId3" Type="http://schemas.openxmlformats.org/officeDocument/2006/relationships/tags" Target="../tags/tag28.xml"/><Relationship Id="rId21" Type="http://schemas.openxmlformats.org/officeDocument/2006/relationships/image" Target="../media/image88.png"/><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image" Target="../media/image69.png"/><Relationship Id="rId25" Type="http://schemas.openxmlformats.org/officeDocument/2006/relationships/image" Target="../media/image92.png"/><Relationship Id="rId2" Type="http://schemas.openxmlformats.org/officeDocument/2006/relationships/tags" Target="../tags/tag27.xml"/><Relationship Id="rId16" Type="http://schemas.openxmlformats.org/officeDocument/2006/relationships/image" Target="../media/image84.svg"/><Relationship Id="rId20" Type="http://schemas.openxmlformats.org/officeDocument/2006/relationships/image" Target="../media/image87.png"/><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image" Target="../media/image91.svg"/><Relationship Id="rId5" Type="http://schemas.openxmlformats.org/officeDocument/2006/relationships/tags" Target="../tags/tag30.xml"/><Relationship Id="rId15" Type="http://schemas.openxmlformats.org/officeDocument/2006/relationships/image" Target="../media/image83.png"/><Relationship Id="rId23" Type="http://schemas.openxmlformats.org/officeDocument/2006/relationships/image" Target="../media/image90.png"/><Relationship Id="rId10" Type="http://schemas.openxmlformats.org/officeDocument/2006/relationships/tags" Target="../tags/tag35.xml"/><Relationship Id="rId19" Type="http://schemas.openxmlformats.org/officeDocument/2006/relationships/image" Target="../media/image86.png"/><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notesSlide" Target="../notesSlides/notesSlide6.xml"/><Relationship Id="rId22" Type="http://schemas.openxmlformats.org/officeDocument/2006/relationships/image" Target="../media/image89.svg"/></Relationships>
</file>

<file path=ppt/slides/_rels/slide7.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jpeg"/><Relationship Id="rId3" Type="http://schemas.openxmlformats.org/officeDocument/2006/relationships/slideLayout" Target="../slideLayouts/slideLayout22.xml"/><Relationship Id="rId7" Type="http://schemas.openxmlformats.org/officeDocument/2006/relationships/image" Target="../media/image95.emf"/><Relationship Id="rId12" Type="http://schemas.openxmlformats.org/officeDocument/2006/relationships/image" Target="../media/image100.jpe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1.bin"/><Relationship Id="rId11" Type="http://schemas.openxmlformats.org/officeDocument/2006/relationships/image" Target="../media/image99.jpeg"/><Relationship Id="rId5" Type="http://schemas.openxmlformats.org/officeDocument/2006/relationships/image" Target="../media/image94.jpeg"/><Relationship Id="rId10" Type="http://schemas.openxmlformats.org/officeDocument/2006/relationships/image" Target="../media/image98.jpeg"/><Relationship Id="rId4" Type="http://schemas.openxmlformats.org/officeDocument/2006/relationships/notesSlide" Target="../notesSlides/notesSlide7.xml"/><Relationship Id="rId9" Type="http://schemas.openxmlformats.org/officeDocument/2006/relationships/image" Target="../media/image97.png"/><Relationship Id="rId14" Type="http://schemas.openxmlformats.org/officeDocument/2006/relationships/image" Target="../media/image10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descr="A car repair shop with a lift&#10;&#10;Description automatically generated">
            <a:extLst>
              <a:ext uri="{FF2B5EF4-FFF2-40B4-BE49-F238E27FC236}">
                <a16:creationId xmlns:a16="http://schemas.microsoft.com/office/drawing/2014/main" id="{4CDC6CB6-8A6A-2651-D9BE-559BE17DF17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0"/>
            <a:ext cx="24431703" cy="13722825"/>
          </a:xfrm>
          <a:prstGeom prst="rect">
            <a:avLst/>
          </a:prstGeom>
        </p:spPr>
      </p:pic>
      <p:sp>
        <p:nvSpPr>
          <p:cNvPr id="17" name="Rectangle 16">
            <a:extLst>
              <a:ext uri="{FF2B5EF4-FFF2-40B4-BE49-F238E27FC236}">
                <a16:creationId xmlns:a16="http://schemas.microsoft.com/office/drawing/2014/main" id="{B1185A82-672B-88C6-E401-E38B3C916659}"/>
              </a:ext>
            </a:extLst>
          </p:cNvPr>
          <p:cNvSpPr/>
          <p:nvPr/>
        </p:nvSpPr>
        <p:spPr>
          <a:xfrm>
            <a:off x="4548" y="-6825"/>
            <a:ext cx="24371642" cy="13724236"/>
          </a:xfrm>
          <a:prstGeom prst="rect">
            <a:avLst/>
          </a:prstGeom>
          <a:solidFill>
            <a:srgbClr val="0E176D">
              <a:alpha val="78862"/>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L="0" marR="0" indent="0" algn="ctr" defTabSz="822960" rtl="0" fontAlgn="auto" latinLnBrk="0" hangingPunct="0">
              <a:lnSpc>
                <a:spcPct val="140000"/>
              </a:lnSpc>
              <a:spcBef>
                <a:spcPts val="0"/>
              </a:spcBef>
              <a:spcAft>
                <a:spcPts val="0"/>
              </a:spcAft>
              <a:buClrTx/>
              <a:buSzTx/>
              <a:buFontTx/>
              <a:buNone/>
              <a:tabLst/>
            </a:pPr>
            <a:endParaRPr kumimoji="0" lang="en-US" sz="2800" b="0" i="0" u="none" strike="noStrike" cap="none" spc="0" normalizeH="0" baseline="0">
              <a:ln>
                <a:noFill/>
              </a:ln>
              <a:solidFill>
                <a:schemeClr val="bg1"/>
              </a:solidFill>
              <a:effectLst/>
              <a:uFillTx/>
              <a:latin typeface="+mn-lt"/>
              <a:ea typeface="+mn-ea"/>
              <a:cs typeface="+mn-cs"/>
              <a:sym typeface="BentonSansF Book"/>
            </a:endParaRPr>
          </a:p>
        </p:txBody>
      </p:sp>
      <p:sp>
        <p:nvSpPr>
          <p:cNvPr id="34" name="Rectangle 33">
            <a:extLst>
              <a:ext uri="{FF2B5EF4-FFF2-40B4-BE49-F238E27FC236}">
                <a16:creationId xmlns:a16="http://schemas.microsoft.com/office/drawing/2014/main" id="{E85D75A9-B644-6372-A0B4-852E6C89BAB7}"/>
              </a:ext>
            </a:extLst>
          </p:cNvPr>
          <p:cNvSpPr/>
          <p:nvPr/>
        </p:nvSpPr>
        <p:spPr>
          <a:xfrm rot="10800000">
            <a:off x="63322" y="0"/>
            <a:ext cx="24368381" cy="13716000"/>
          </a:xfrm>
          <a:prstGeom prst="rect">
            <a:avLst/>
          </a:prstGeom>
          <a:gradFill flip="none" rotWithShape="0">
            <a:gsLst>
              <a:gs pos="0">
                <a:srgbClr val="416CF9">
                  <a:alpha val="59877"/>
                </a:srgbClr>
              </a:gs>
              <a:gs pos="100000">
                <a:srgbClr val="416CF9">
                  <a:alpha val="0"/>
                </a:srgbClr>
              </a:gs>
            </a:gsLst>
            <a:lin ang="8400000" scaled="0"/>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GB" sz="240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Book"/>
            </a:endParaRPr>
          </a:p>
        </p:txBody>
      </p:sp>
      <p:sp>
        <p:nvSpPr>
          <p:cNvPr id="3" name="Text Placeholder 2">
            <a:extLst>
              <a:ext uri="{FF2B5EF4-FFF2-40B4-BE49-F238E27FC236}">
                <a16:creationId xmlns:a16="http://schemas.microsoft.com/office/drawing/2014/main" id="{2106FB82-DBB7-2B48-874B-755A5711BA44}"/>
              </a:ext>
            </a:extLst>
          </p:cNvPr>
          <p:cNvSpPr>
            <a:spLocks noGrp="1"/>
          </p:cNvSpPr>
          <p:nvPr>
            <p:ph type="body" sz="quarter" idx="22"/>
          </p:nvPr>
        </p:nvSpPr>
        <p:spPr>
          <a:xfrm>
            <a:off x="1770476" y="2279145"/>
            <a:ext cx="8352419" cy="10480666"/>
          </a:xfrm>
          <a:solidFill>
            <a:schemeClr val="bg1"/>
          </a:solidFill>
        </p:spPr>
        <p:txBody>
          <a:bodyPr/>
          <a:lstStyle/>
          <a:p>
            <a:r>
              <a:rPr lang="en-US"/>
              <a:t> </a:t>
            </a:r>
          </a:p>
        </p:txBody>
      </p:sp>
      <p:sp>
        <p:nvSpPr>
          <p:cNvPr id="4" name="Text Placeholder 3">
            <a:extLst>
              <a:ext uri="{FF2B5EF4-FFF2-40B4-BE49-F238E27FC236}">
                <a16:creationId xmlns:a16="http://schemas.microsoft.com/office/drawing/2014/main" id="{53200DD1-8D50-1046-B42B-C673202804F5}"/>
              </a:ext>
            </a:extLst>
          </p:cNvPr>
          <p:cNvSpPr>
            <a:spLocks noGrp="1"/>
          </p:cNvSpPr>
          <p:nvPr>
            <p:ph type="body" sz="quarter" idx="26"/>
          </p:nvPr>
        </p:nvSpPr>
        <p:spPr>
          <a:xfrm>
            <a:off x="2379257" y="3153700"/>
            <a:ext cx="6794562" cy="307777"/>
          </a:xfrm>
        </p:spPr>
        <p:txBody>
          <a:bodyPr/>
          <a:lstStyle/>
          <a:p>
            <a:r>
              <a:rPr lang="en-GB">
                <a:solidFill>
                  <a:schemeClr val="tx1"/>
                </a:solidFill>
                <a:effectLst/>
                <a:latin typeface="Arial" panose="020B0604020202020204" pitchFamily="34" charset="0"/>
              </a:rPr>
              <a:t>Automobile</a:t>
            </a:r>
            <a:r>
              <a:rPr lang="en-US">
                <a:solidFill>
                  <a:schemeClr val="tx1"/>
                </a:solidFill>
              </a:rPr>
              <a:t> (A-4)</a:t>
            </a:r>
          </a:p>
        </p:txBody>
      </p:sp>
      <p:sp>
        <p:nvSpPr>
          <p:cNvPr id="5" name="Text Placeholder 4">
            <a:extLst>
              <a:ext uri="{FF2B5EF4-FFF2-40B4-BE49-F238E27FC236}">
                <a16:creationId xmlns:a16="http://schemas.microsoft.com/office/drawing/2014/main" id="{8CA4455A-E613-B143-AF9C-47807F9B32B6}"/>
              </a:ext>
            </a:extLst>
          </p:cNvPr>
          <p:cNvSpPr>
            <a:spLocks noGrp="1"/>
          </p:cNvSpPr>
          <p:nvPr>
            <p:ph type="body" sz="quarter" idx="47"/>
          </p:nvPr>
        </p:nvSpPr>
        <p:spPr>
          <a:xfrm>
            <a:off x="2379256" y="6094740"/>
            <a:ext cx="6794562" cy="2176493"/>
          </a:xfrm>
        </p:spPr>
        <p:txBody>
          <a:bodyPr vert="horz" wrap="square" lIns="0" tIns="0" rIns="0" bIns="0" rtlCol="0" anchor="t">
            <a:spAutoFit/>
          </a:bodyPr>
          <a:lstStyle/>
          <a:p>
            <a:r>
              <a:rPr lang="en-US">
                <a:solidFill>
                  <a:schemeClr val="tx1"/>
                </a:solidFill>
                <a:latin typeface="Arial"/>
                <a:cs typeface="Arial"/>
              </a:rPr>
              <a:t>Streamlining the damage and cost estimation process for repairing damaged vehicles by leveraging multi-modal generative AI capabilities with</a:t>
            </a:r>
          </a:p>
        </p:txBody>
      </p:sp>
      <p:sp>
        <p:nvSpPr>
          <p:cNvPr id="6" name="Title 5">
            <a:extLst>
              <a:ext uri="{FF2B5EF4-FFF2-40B4-BE49-F238E27FC236}">
                <a16:creationId xmlns:a16="http://schemas.microsoft.com/office/drawing/2014/main" id="{BEDD0B78-655D-ED48-968D-FAB2CC21A29B}"/>
              </a:ext>
            </a:extLst>
          </p:cNvPr>
          <p:cNvSpPr>
            <a:spLocks noGrp="1"/>
          </p:cNvSpPr>
          <p:nvPr>
            <p:ph type="title"/>
          </p:nvPr>
        </p:nvSpPr>
        <p:spPr>
          <a:xfrm>
            <a:off x="2379257" y="3905559"/>
            <a:ext cx="5733612" cy="1627963"/>
          </a:xfrm>
        </p:spPr>
        <p:txBody>
          <a:bodyPr/>
          <a:lstStyle/>
          <a:p>
            <a:r>
              <a:rPr lang="en-US" b="0">
                <a:solidFill>
                  <a:schemeClr val="tx1"/>
                </a:solidFill>
                <a:ea typeface="+mj-ea"/>
              </a:rPr>
              <a:t>AI Service for Car Workshops</a:t>
            </a:r>
            <a:endParaRPr lang="en-US" b="0" i="1">
              <a:solidFill>
                <a:schemeClr val="tx1"/>
              </a:solidFill>
              <a:ea typeface="+mj-ea"/>
            </a:endParaRPr>
          </a:p>
        </p:txBody>
      </p:sp>
      <p:sp>
        <p:nvSpPr>
          <p:cNvPr id="7" name="Text Placeholder 6">
            <a:extLst>
              <a:ext uri="{FF2B5EF4-FFF2-40B4-BE49-F238E27FC236}">
                <a16:creationId xmlns:a16="http://schemas.microsoft.com/office/drawing/2014/main" id="{076126AF-35A4-6B4B-BC25-CF365BAB373A}"/>
              </a:ext>
            </a:extLst>
          </p:cNvPr>
          <p:cNvSpPr>
            <a:spLocks noGrp="1"/>
          </p:cNvSpPr>
          <p:nvPr>
            <p:ph type="body" sz="quarter" idx="55"/>
          </p:nvPr>
        </p:nvSpPr>
        <p:spPr>
          <a:xfrm>
            <a:off x="2379256" y="11409720"/>
            <a:ext cx="7097545" cy="704680"/>
          </a:xfrm>
        </p:spPr>
        <p:txBody>
          <a:bodyPr/>
          <a:lstStyle/>
          <a:p>
            <a:pPr>
              <a:lnSpc>
                <a:spcPct val="120000"/>
              </a:lnSpc>
            </a:pPr>
            <a:r>
              <a:rPr lang="en-US" b="1" cap="none" spc="300">
                <a:solidFill>
                  <a:schemeClr val="tx1"/>
                </a:solidFill>
              </a:rPr>
              <a:t>Team AI </a:t>
            </a:r>
            <a:r>
              <a:rPr lang="en-US" b="1" cap="none" spc="300" err="1">
                <a:solidFill>
                  <a:schemeClr val="tx1"/>
                </a:solidFill>
              </a:rPr>
              <a:t>GENies</a:t>
            </a:r>
            <a:r>
              <a:rPr lang="en-US" b="1" cap="none" spc="300">
                <a:solidFill>
                  <a:schemeClr val="tx1"/>
                </a:solidFill>
              </a:rPr>
              <a:t>  </a:t>
            </a:r>
            <a:r>
              <a:rPr lang="en-US" cap="none" spc="300">
                <a:solidFill>
                  <a:schemeClr val="tx1"/>
                </a:solidFill>
              </a:rPr>
              <a:t>|  March 24, 2024</a:t>
            </a:r>
          </a:p>
          <a:p>
            <a:pPr>
              <a:lnSpc>
                <a:spcPct val="120000"/>
              </a:lnSpc>
            </a:pPr>
            <a:r>
              <a:rPr lang="en-US" cap="none" spc="300">
                <a:solidFill>
                  <a:schemeClr val="tx1"/>
                </a:solidFill>
              </a:rPr>
              <a:t>Google </a:t>
            </a:r>
            <a:r>
              <a:rPr lang="en-US" cap="none" spc="300" err="1">
                <a:solidFill>
                  <a:schemeClr val="tx1"/>
                </a:solidFill>
              </a:rPr>
              <a:t>Gloud</a:t>
            </a:r>
            <a:r>
              <a:rPr lang="en-US" cap="none" spc="300">
                <a:solidFill>
                  <a:schemeClr val="tx1"/>
                </a:solidFill>
              </a:rPr>
              <a:t> </a:t>
            </a:r>
            <a:r>
              <a:rPr lang="en-US" cap="none" spc="300" err="1">
                <a:solidFill>
                  <a:schemeClr val="tx1"/>
                </a:solidFill>
              </a:rPr>
              <a:t>GenAI</a:t>
            </a:r>
            <a:r>
              <a:rPr lang="en-US" cap="none" spc="300">
                <a:solidFill>
                  <a:schemeClr val="tx1"/>
                </a:solidFill>
              </a:rPr>
              <a:t> Hackathon 2024</a:t>
            </a:r>
          </a:p>
        </p:txBody>
      </p:sp>
      <p:sp>
        <p:nvSpPr>
          <p:cNvPr id="8" name="Text Placeholder 7">
            <a:extLst>
              <a:ext uri="{FF2B5EF4-FFF2-40B4-BE49-F238E27FC236}">
                <a16:creationId xmlns:a16="http://schemas.microsoft.com/office/drawing/2014/main" id="{74041BD9-48FF-564A-8687-B8CC7C1C0005}"/>
              </a:ext>
            </a:extLst>
          </p:cNvPr>
          <p:cNvSpPr>
            <a:spLocks noGrp="1"/>
          </p:cNvSpPr>
          <p:nvPr>
            <p:ph type="body" sz="quarter" idx="56"/>
          </p:nvPr>
        </p:nvSpPr>
        <p:spPr>
          <a:xfrm>
            <a:off x="2379256" y="10973076"/>
            <a:ext cx="1285801" cy="72000"/>
          </a:xfrm>
          <a:solidFill>
            <a:schemeClr val="tx1">
              <a:lumMod val="50000"/>
              <a:lumOff val="50000"/>
            </a:schemeClr>
          </a:solidFill>
        </p:spPr>
        <p:txBody>
          <a:bodyPr/>
          <a:lstStyle/>
          <a:p>
            <a:endParaRPr lang="en-US"/>
          </a:p>
        </p:txBody>
      </p:sp>
      <p:sp>
        <p:nvSpPr>
          <p:cNvPr id="20" name="TextBox 19">
            <a:extLst>
              <a:ext uri="{FF2B5EF4-FFF2-40B4-BE49-F238E27FC236}">
                <a16:creationId xmlns:a16="http://schemas.microsoft.com/office/drawing/2014/main" id="{62FCD4C5-FCAE-B840-A247-905FDA74A621}"/>
              </a:ext>
            </a:extLst>
          </p:cNvPr>
          <p:cNvSpPr txBox="1"/>
          <p:nvPr/>
        </p:nvSpPr>
        <p:spPr>
          <a:xfrm>
            <a:off x="2987040" y="-243840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US" sz="2800" u="none" strike="noStrike" cap="none" spc="0" normalizeH="0" baseline="0">
              <a:ln>
                <a:noFill/>
              </a:ln>
              <a:solidFill>
                <a:schemeClr val="accent1">
                  <a:lumOff val="-57413"/>
                </a:schemeClr>
              </a:solidFill>
              <a:effectLst/>
              <a:uFill>
                <a:solidFill>
                  <a:schemeClr val="accent1">
                    <a:lumOff val="-57413"/>
                  </a:schemeClr>
                </a:solidFill>
              </a:uFill>
              <a:latin typeface="Arial" panose="020B0604020202020204" pitchFamily="34" charset="0"/>
              <a:cs typeface="Arial" panose="020B0604020202020204" pitchFamily="34" charset="0"/>
              <a:sym typeface="BentonSansF Book"/>
            </a:endParaRPr>
          </a:p>
        </p:txBody>
      </p:sp>
      <p:grpSp>
        <p:nvGrpSpPr>
          <p:cNvPr id="2" name="Group 1">
            <a:extLst>
              <a:ext uri="{FF2B5EF4-FFF2-40B4-BE49-F238E27FC236}">
                <a16:creationId xmlns:a16="http://schemas.microsoft.com/office/drawing/2014/main" id="{2D7CB834-E161-B4AD-0293-C40923602D84}"/>
              </a:ext>
            </a:extLst>
          </p:cNvPr>
          <p:cNvGrpSpPr/>
          <p:nvPr/>
        </p:nvGrpSpPr>
        <p:grpSpPr>
          <a:xfrm>
            <a:off x="11101023" y="11796970"/>
            <a:ext cx="9531109" cy="1013368"/>
            <a:chOff x="10964834" y="11627658"/>
            <a:chExt cx="10696209" cy="1137244"/>
          </a:xfrm>
        </p:grpSpPr>
        <p:pic>
          <p:nvPicPr>
            <p:cNvPr id="9" name="Graphic 28">
              <a:extLst>
                <a:ext uri="{FF2B5EF4-FFF2-40B4-BE49-F238E27FC236}">
                  <a16:creationId xmlns:a16="http://schemas.microsoft.com/office/drawing/2014/main" id="{B65669BD-4B1F-FC39-C0B3-6261E881574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64834" y="11630403"/>
              <a:ext cx="1286639" cy="1134499"/>
            </a:xfrm>
            <a:prstGeom prst="rect">
              <a:avLst/>
            </a:prstGeom>
          </p:spPr>
        </p:pic>
        <p:grpSp>
          <p:nvGrpSpPr>
            <p:cNvPr id="10" name="Graphic 5">
              <a:extLst>
                <a:ext uri="{FF2B5EF4-FFF2-40B4-BE49-F238E27FC236}">
                  <a16:creationId xmlns:a16="http://schemas.microsoft.com/office/drawing/2014/main" id="{76CFC3DD-DA9E-6969-3A43-408801608ACF}"/>
                </a:ext>
              </a:extLst>
            </p:cNvPr>
            <p:cNvGrpSpPr/>
            <p:nvPr/>
          </p:nvGrpSpPr>
          <p:grpSpPr>
            <a:xfrm>
              <a:off x="13577251" y="11789639"/>
              <a:ext cx="4124156" cy="633218"/>
              <a:chOff x="3437255" y="17555528"/>
              <a:chExt cx="5719763" cy="878205"/>
            </a:xfrm>
          </p:grpSpPr>
          <p:sp>
            <p:nvSpPr>
              <p:cNvPr id="15" name="Freeform: Shape 54">
                <a:extLst>
                  <a:ext uri="{FF2B5EF4-FFF2-40B4-BE49-F238E27FC236}">
                    <a16:creationId xmlns:a16="http://schemas.microsoft.com/office/drawing/2014/main" id="{EAE6C169-F7AC-7D5C-1419-CC8AF7A84E4F}"/>
                  </a:ext>
                </a:extLst>
              </p:cNvPr>
              <p:cNvSpPr/>
              <p:nvPr/>
            </p:nvSpPr>
            <p:spPr>
              <a:xfrm>
                <a:off x="8928418" y="17659350"/>
                <a:ext cx="228600"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16" name="Freeform: Shape 55">
                <a:extLst>
                  <a:ext uri="{FF2B5EF4-FFF2-40B4-BE49-F238E27FC236}">
                    <a16:creationId xmlns:a16="http://schemas.microsoft.com/office/drawing/2014/main" id="{121115E5-CD01-6035-3233-3D0F7A0608BF}"/>
                  </a:ext>
                </a:extLst>
              </p:cNvPr>
              <p:cNvSpPr/>
              <p:nvPr/>
            </p:nvSpPr>
            <p:spPr>
              <a:xfrm>
                <a:off x="8234045" y="17759363"/>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18" name="Freeform: Shape 56">
                <a:extLst>
                  <a:ext uri="{FF2B5EF4-FFF2-40B4-BE49-F238E27FC236}">
                    <a16:creationId xmlns:a16="http://schemas.microsoft.com/office/drawing/2014/main" id="{FADC1D00-6A75-0034-7AD8-B7D9E2BBE5C6}"/>
                  </a:ext>
                </a:extLst>
              </p:cNvPr>
              <p:cNvSpPr/>
              <p:nvPr/>
            </p:nvSpPr>
            <p:spPr>
              <a:xfrm>
                <a:off x="7443470" y="17615535"/>
                <a:ext cx="114300" cy="114300"/>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19" name="Freeform: Shape 57">
                <a:extLst>
                  <a:ext uri="{FF2B5EF4-FFF2-40B4-BE49-F238E27FC236}">
                    <a16:creationId xmlns:a16="http://schemas.microsoft.com/office/drawing/2014/main" id="{185D3E35-517C-710A-9351-606773EE3C36}"/>
                  </a:ext>
                </a:extLst>
              </p:cNvPr>
              <p:cNvSpPr/>
              <p:nvPr/>
            </p:nvSpPr>
            <p:spPr>
              <a:xfrm>
                <a:off x="7453948" y="1777174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21" name="Freeform: Shape 58">
                <a:extLst>
                  <a:ext uri="{FF2B5EF4-FFF2-40B4-BE49-F238E27FC236}">
                    <a16:creationId xmlns:a16="http://schemas.microsoft.com/office/drawing/2014/main" id="{AA1F8B1C-5E61-EA56-9CCC-25FB49180C95}"/>
                  </a:ext>
                </a:extLst>
              </p:cNvPr>
              <p:cNvSpPr/>
              <p:nvPr/>
            </p:nvSpPr>
            <p:spPr>
              <a:xfrm>
                <a:off x="7898765" y="17772698"/>
                <a:ext cx="352425"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24" name="Freeform: Shape 59">
                <a:extLst>
                  <a:ext uri="{FF2B5EF4-FFF2-40B4-BE49-F238E27FC236}">
                    <a16:creationId xmlns:a16="http://schemas.microsoft.com/office/drawing/2014/main" id="{65CCCE50-8898-0FFD-B8F6-EA92D1C64B9D}"/>
                  </a:ext>
                </a:extLst>
              </p:cNvPr>
              <p:cNvSpPr/>
              <p:nvPr/>
            </p:nvSpPr>
            <p:spPr>
              <a:xfrm>
                <a:off x="7587298" y="17763173"/>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25" name="Freeform: Shape 60">
                <a:extLst>
                  <a:ext uri="{FF2B5EF4-FFF2-40B4-BE49-F238E27FC236}">
                    <a16:creationId xmlns:a16="http://schemas.microsoft.com/office/drawing/2014/main" id="{EF43C43B-69C6-37C9-47B9-64FE67F83CBE}"/>
                  </a:ext>
                </a:extLst>
              </p:cNvPr>
              <p:cNvSpPr/>
              <p:nvPr/>
            </p:nvSpPr>
            <p:spPr>
              <a:xfrm>
                <a:off x="8593138" y="17763173"/>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26" name="Freeform: Shape 61">
                <a:extLst>
                  <a:ext uri="{FF2B5EF4-FFF2-40B4-BE49-F238E27FC236}">
                    <a16:creationId xmlns:a16="http://schemas.microsoft.com/office/drawing/2014/main" id="{96BB23A6-D5F7-9A2E-1BA4-01A5B2C442B7}"/>
                  </a:ext>
                </a:extLst>
              </p:cNvPr>
              <p:cNvSpPr/>
              <p:nvPr/>
            </p:nvSpPr>
            <p:spPr>
              <a:xfrm>
                <a:off x="3437255" y="17566958"/>
                <a:ext cx="3171825" cy="8667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27" name="Freeform: Shape 62">
                <a:extLst>
                  <a:ext uri="{FF2B5EF4-FFF2-40B4-BE49-F238E27FC236}">
                    <a16:creationId xmlns:a16="http://schemas.microsoft.com/office/drawing/2014/main" id="{772A3BEC-C9B7-B3AC-642F-03A87A661973}"/>
                  </a:ext>
                </a:extLst>
              </p:cNvPr>
              <p:cNvSpPr/>
              <p:nvPr/>
            </p:nvSpPr>
            <p:spPr>
              <a:xfrm>
                <a:off x="5827047" y="1760978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28" name="Freeform: Shape 63">
                <a:extLst>
                  <a:ext uri="{FF2B5EF4-FFF2-40B4-BE49-F238E27FC236}">
                    <a16:creationId xmlns:a16="http://schemas.microsoft.com/office/drawing/2014/main" id="{781313D9-2D01-FD95-F14D-EF3A0FCDEDBA}"/>
                  </a:ext>
                </a:extLst>
              </p:cNvPr>
              <p:cNvSpPr/>
              <p:nvPr/>
            </p:nvSpPr>
            <p:spPr>
              <a:xfrm>
                <a:off x="6448108" y="17627883"/>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29" name="Freeform: Shape 64">
                <a:extLst>
                  <a:ext uri="{FF2B5EF4-FFF2-40B4-BE49-F238E27FC236}">
                    <a16:creationId xmlns:a16="http://schemas.microsoft.com/office/drawing/2014/main" id="{7415490B-2984-FEB8-0B60-74E8A446F93B}"/>
                  </a:ext>
                </a:extLst>
              </p:cNvPr>
              <p:cNvSpPr/>
              <p:nvPr/>
            </p:nvSpPr>
            <p:spPr>
              <a:xfrm>
                <a:off x="6647180" y="17555528"/>
                <a:ext cx="676275" cy="581025"/>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sp>
            <p:nvSpPr>
              <p:cNvPr id="30" name="Freeform: Shape 65">
                <a:extLst>
                  <a:ext uri="{FF2B5EF4-FFF2-40B4-BE49-F238E27FC236}">
                    <a16:creationId xmlns:a16="http://schemas.microsoft.com/office/drawing/2014/main" id="{A81B9451-8C2D-2501-715F-1777740DA38D}"/>
                  </a:ext>
                </a:extLst>
              </p:cNvPr>
              <p:cNvSpPr/>
              <p:nvPr/>
            </p:nvSpPr>
            <p:spPr>
              <a:xfrm>
                <a:off x="6886258" y="17824935"/>
                <a:ext cx="457200" cy="371475"/>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a:latin typeface="Arial" panose="020B0604020202020204" pitchFamily="34" charset="0"/>
                  <a:cs typeface="Arial" panose="020B0604020202020204" pitchFamily="34" charset="0"/>
                </a:endParaRPr>
              </a:p>
            </p:txBody>
          </p:sp>
        </p:grpSp>
        <p:pic>
          <p:nvPicPr>
            <p:cNvPr id="11" name="Graphic 10">
              <a:extLst>
                <a:ext uri="{FF2B5EF4-FFF2-40B4-BE49-F238E27FC236}">
                  <a16:creationId xmlns:a16="http://schemas.microsoft.com/office/drawing/2014/main" id="{97DAE833-AF58-66BD-B599-7DCF193897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41084" y="11789641"/>
              <a:ext cx="2819959" cy="628958"/>
            </a:xfrm>
            <a:prstGeom prst="rect">
              <a:avLst/>
            </a:prstGeom>
          </p:spPr>
        </p:pic>
        <p:sp>
          <p:nvSpPr>
            <p:cNvPr id="13" name="Date">
              <a:extLst>
                <a:ext uri="{FF2B5EF4-FFF2-40B4-BE49-F238E27FC236}">
                  <a16:creationId xmlns:a16="http://schemas.microsoft.com/office/drawing/2014/main" id="{B5E01F2A-21D7-5D05-F413-30DDF555FA3E}"/>
                </a:ext>
              </a:extLst>
            </p:cNvPr>
            <p:cNvSpPr txBox="1">
              <a:spLocks/>
            </p:cNvSpPr>
            <p:nvPr/>
          </p:nvSpPr>
          <p:spPr>
            <a:xfrm>
              <a:off x="12775353" y="11627658"/>
              <a:ext cx="422770" cy="7019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marL="0" marR="0" indent="0" algn="l" defTabSz="822960" latinLnBrk="0">
                <a:lnSpc>
                  <a:spcPct val="100000"/>
                </a:lnSpc>
                <a:spcBef>
                  <a:spcPts val="0"/>
                </a:spcBef>
                <a:spcAft>
                  <a:spcPts val="0"/>
                </a:spcAft>
                <a:buClrTx/>
                <a:buSzTx/>
                <a:buFontTx/>
                <a:buNone/>
                <a:tabLst/>
                <a:defRPr sz="2000" b="0" i="0" u="none" strike="noStrike" cap="all" spc="199" baseline="0">
                  <a:solidFill>
                    <a:srgbClr val="000000"/>
                  </a:solidFill>
                  <a:uFillTx/>
                  <a:latin typeface="BentonSansF Medium"/>
                  <a:ea typeface="BentonSansF Medium"/>
                  <a:cs typeface="BentonSansF Medium"/>
                  <a:sym typeface="BentonSansF Medium"/>
                </a:defRPr>
              </a:lvl1pPr>
              <a:lvl2pPr marL="1270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2pPr>
              <a:lvl3pPr marL="1905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3pPr>
              <a:lvl4pPr marL="2540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4pPr>
              <a:lvl5pPr marL="3175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5pPr>
              <a:lvl6pPr marL="3810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6pPr>
              <a:lvl7pPr marL="4445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7pPr>
              <a:lvl8pPr marL="5080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8pPr>
              <a:lvl9pPr marL="5715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9pPr>
            </a:lstStyle>
            <a:p>
              <a:pPr hangingPunct="1">
                <a:lnSpc>
                  <a:spcPct val="150000"/>
                </a:lnSpc>
              </a:pPr>
              <a:r>
                <a:rPr lang="de-DE" sz="3000">
                  <a:solidFill>
                    <a:srgbClr val="416CF9"/>
                  </a:solidFill>
                  <a:latin typeface="Arial" panose="020B0604020202020204" pitchFamily="34" charset="0"/>
                  <a:ea typeface="+mn-ea"/>
                  <a:cs typeface="Arial" panose="020B0604020202020204" pitchFamily="34" charset="0"/>
                </a:rPr>
                <a:t>X</a:t>
              </a:r>
            </a:p>
          </p:txBody>
        </p:sp>
        <p:sp>
          <p:nvSpPr>
            <p:cNvPr id="14" name="Date">
              <a:extLst>
                <a:ext uri="{FF2B5EF4-FFF2-40B4-BE49-F238E27FC236}">
                  <a16:creationId xmlns:a16="http://schemas.microsoft.com/office/drawing/2014/main" id="{766963E0-4F80-361D-6016-A2BDF003697A}"/>
                </a:ext>
              </a:extLst>
            </p:cNvPr>
            <p:cNvSpPr txBox="1">
              <a:spLocks/>
            </p:cNvSpPr>
            <p:nvPr/>
          </p:nvSpPr>
          <p:spPr>
            <a:xfrm>
              <a:off x="18116200" y="11627658"/>
              <a:ext cx="422770" cy="7019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marL="0" marR="0" indent="0" algn="l" defTabSz="822960" latinLnBrk="0">
                <a:lnSpc>
                  <a:spcPct val="100000"/>
                </a:lnSpc>
                <a:spcBef>
                  <a:spcPts val="0"/>
                </a:spcBef>
                <a:spcAft>
                  <a:spcPts val="0"/>
                </a:spcAft>
                <a:buClrTx/>
                <a:buSzTx/>
                <a:buFontTx/>
                <a:buNone/>
                <a:tabLst/>
                <a:defRPr sz="2000" b="0" i="0" u="none" strike="noStrike" cap="all" spc="199" baseline="0">
                  <a:solidFill>
                    <a:srgbClr val="000000"/>
                  </a:solidFill>
                  <a:uFillTx/>
                  <a:latin typeface="BentonSansF Medium"/>
                  <a:ea typeface="BentonSansF Medium"/>
                  <a:cs typeface="BentonSansF Medium"/>
                  <a:sym typeface="BentonSansF Medium"/>
                </a:defRPr>
              </a:lvl1pPr>
              <a:lvl2pPr marL="1270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2pPr>
              <a:lvl3pPr marL="1905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3pPr>
              <a:lvl4pPr marL="2540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4pPr>
              <a:lvl5pPr marL="3175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5pPr>
              <a:lvl6pPr marL="3810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6pPr>
              <a:lvl7pPr marL="4445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7pPr>
              <a:lvl8pPr marL="5080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8pPr>
              <a:lvl9pPr marL="5715000" marR="0" indent="-635000" algn="l" defTabSz="825500" latinLnBrk="0">
                <a:lnSpc>
                  <a:spcPct val="100000"/>
                </a:lnSpc>
                <a:spcBef>
                  <a:spcPts val="5200"/>
                </a:spcBef>
                <a:spcAft>
                  <a:spcPts val="0"/>
                </a:spcAft>
                <a:buClrTx/>
                <a:buSzPct val="75000"/>
                <a:buFontTx/>
                <a:buChar char="•"/>
                <a:tabLst/>
                <a:defRPr sz="5200" b="0" i="0" u="none" strike="noStrike" cap="none" spc="0" baseline="0">
                  <a:solidFill>
                    <a:srgbClr val="000000"/>
                  </a:solidFill>
                  <a:uFillTx/>
                  <a:latin typeface="Helvetica Light"/>
                  <a:ea typeface="Helvetica Light"/>
                  <a:cs typeface="Helvetica Light"/>
                  <a:sym typeface="Helvetica Light"/>
                </a:defRPr>
              </a:lvl9pPr>
            </a:lstStyle>
            <a:p>
              <a:pPr hangingPunct="1">
                <a:lnSpc>
                  <a:spcPct val="150000"/>
                </a:lnSpc>
              </a:pPr>
              <a:r>
                <a:rPr lang="de-DE" sz="3000">
                  <a:solidFill>
                    <a:srgbClr val="416CF9"/>
                  </a:solidFill>
                  <a:latin typeface="Arial" panose="020B0604020202020204" pitchFamily="34" charset="0"/>
                  <a:cs typeface="Arial" panose="020B0604020202020204" pitchFamily="34" charset="0"/>
                </a:rPr>
                <a:t>X</a:t>
              </a:r>
            </a:p>
          </p:txBody>
        </p:sp>
      </p:grpSp>
      <p:pic>
        <p:nvPicPr>
          <p:cNvPr id="12" name="Picture 11" descr="A computer monitor showing a damaged car&#10;&#10;Description automatically generated">
            <a:extLst>
              <a:ext uri="{FF2B5EF4-FFF2-40B4-BE49-F238E27FC236}">
                <a16:creationId xmlns:a16="http://schemas.microsoft.com/office/drawing/2014/main" id="{BDA8F52A-B56D-D6FC-63E3-48BAF0556F96}"/>
              </a:ext>
            </a:extLst>
          </p:cNvPr>
          <p:cNvPicPr>
            <a:picLocks noChangeAspect="1"/>
          </p:cNvPicPr>
          <p:nvPr/>
        </p:nvPicPr>
        <p:blipFill>
          <a:blip r:embed="rId8"/>
          <a:stretch>
            <a:fillRect/>
          </a:stretch>
        </p:blipFill>
        <p:spPr>
          <a:xfrm>
            <a:off x="11338196" y="1202935"/>
            <a:ext cx="11582130" cy="9527059"/>
          </a:xfrm>
          <a:prstGeom prst="rect">
            <a:avLst/>
          </a:prstGeom>
        </p:spPr>
      </p:pic>
      <p:pic>
        <p:nvPicPr>
          <p:cNvPr id="23" name="Picture 22" descr="A blue globe with black background&#10;&#10;Description automatically generated">
            <a:extLst>
              <a:ext uri="{FF2B5EF4-FFF2-40B4-BE49-F238E27FC236}">
                <a16:creationId xmlns:a16="http://schemas.microsoft.com/office/drawing/2014/main" id="{1F86D414-B40C-A0E4-F1BD-0F9E091B002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379256" y="8825550"/>
            <a:ext cx="3259999" cy="1138574"/>
          </a:xfrm>
          <a:prstGeom prst="rect">
            <a:avLst/>
          </a:prstGeom>
        </p:spPr>
      </p:pic>
    </p:spTree>
    <p:extLst>
      <p:ext uri="{BB962C8B-B14F-4D97-AF65-F5344CB8AC3E}">
        <p14:creationId xmlns:p14="http://schemas.microsoft.com/office/powerpoint/2010/main" val="229672693"/>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0D2E5-47F2-9FD0-62E9-2860C50D196B}"/>
              </a:ext>
            </a:extLst>
          </p:cNvPr>
          <p:cNvSpPr>
            <a:spLocks noGrp="1"/>
          </p:cNvSpPr>
          <p:nvPr>
            <p:ph type="title"/>
          </p:nvPr>
        </p:nvSpPr>
        <p:spPr>
          <a:xfrm>
            <a:off x="1763673" y="1828800"/>
            <a:ext cx="20845501" cy="997196"/>
          </a:xfrm>
        </p:spPr>
        <p:txBody>
          <a:bodyPr/>
          <a:lstStyle/>
          <a:p>
            <a:r>
              <a:rPr lang="en-US" b="0">
                <a:solidFill>
                  <a:schemeClr val="tx1"/>
                </a:solidFill>
                <a:effectLst/>
              </a:rPr>
              <a:t>We Examined the Challenges Confronting the Car Repair Estimation Process</a:t>
            </a:r>
            <a:endParaRPr lang="en-US"/>
          </a:p>
        </p:txBody>
      </p:sp>
      <p:sp>
        <p:nvSpPr>
          <p:cNvPr id="4" name="Text Placeholder 3">
            <a:extLst>
              <a:ext uri="{FF2B5EF4-FFF2-40B4-BE49-F238E27FC236}">
                <a16:creationId xmlns:a16="http://schemas.microsoft.com/office/drawing/2014/main" id="{3B667888-B63F-D3B4-D9B1-823EFD31CAEA}"/>
              </a:ext>
            </a:extLst>
          </p:cNvPr>
          <p:cNvSpPr>
            <a:spLocks noGrp="1"/>
          </p:cNvSpPr>
          <p:nvPr>
            <p:ph type="body" sz="quarter" idx="26"/>
          </p:nvPr>
        </p:nvSpPr>
        <p:spPr>
          <a:xfrm>
            <a:off x="1763673" y="914400"/>
            <a:ext cx="20845501" cy="307777"/>
          </a:xfrm>
        </p:spPr>
        <p:txBody>
          <a:bodyPr/>
          <a:lstStyle/>
          <a:p>
            <a:r>
              <a:rPr lang="en-US">
                <a:latin typeface="+mn-lt"/>
              </a:rPr>
              <a:t>Problem Statement</a:t>
            </a:r>
          </a:p>
        </p:txBody>
      </p:sp>
      <p:sp>
        <p:nvSpPr>
          <p:cNvPr id="10" name="Rectangle 9">
            <a:extLst>
              <a:ext uri="{FF2B5EF4-FFF2-40B4-BE49-F238E27FC236}">
                <a16:creationId xmlns:a16="http://schemas.microsoft.com/office/drawing/2014/main" id="{885D8D2C-9D3D-C48C-3A1A-2017DA39875D}"/>
              </a:ext>
            </a:extLst>
          </p:cNvPr>
          <p:cNvSpPr/>
          <p:nvPr/>
        </p:nvSpPr>
        <p:spPr>
          <a:xfrm>
            <a:off x="1542000" y="3810000"/>
            <a:ext cx="6984000" cy="2340000"/>
          </a:xfrm>
          <a:prstGeom prst="rect">
            <a:avLst/>
          </a:prstGeom>
          <a:solidFill>
            <a:srgbClr val="EFF2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0000" tIns="90000" rIns="90000" bIns="90000" numCol="1" spcCol="38100" rtlCol="0" anchor="ctr">
            <a:noAutofit/>
          </a:bodyPr>
          <a:lstStyle/>
          <a:p>
            <a:pPr marL="0" marR="0" indent="0" defTabSz="822960" rtl="0" fontAlgn="auto" latinLnBrk="0" hangingPunct="0">
              <a:lnSpc>
                <a:spcPct val="140000"/>
              </a:lnSpc>
              <a:spcBef>
                <a:spcPts val="0"/>
              </a:spcBef>
              <a:spcAft>
                <a:spcPts val="0"/>
              </a:spcAft>
              <a:buClrTx/>
              <a:buSzTx/>
              <a:buFontTx/>
              <a:buNone/>
              <a:tabLst/>
            </a:pPr>
            <a:r>
              <a:rPr lang="en-US" sz="3200" b="1">
                <a:solidFill>
                  <a:srgbClr val="416CF9"/>
                </a:solidFill>
                <a:uFillTx/>
                <a:cs typeface="Arial" panose="020B0604020202020204" pitchFamily="34" charset="0"/>
              </a:rPr>
              <a:t>High Demand: </a:t>
            </a:r>
          </a:p>
          <a:p>
            <a:pPr marL="0" marR="0" indent="0" defTabSz="822960" rtl="0" fontAlgn="auto" latinLnBrk="0" hangingPunct="0">
              <a:lnSpc>
                <a:spcPct val="120000"/>
              </a:lnSpc>
              <a:spcBef>
                <a:spcPts val="0"/>
              </a:spcBef>
              <a:spcAft>
                <a:spcPts val="0"/>
              </a:spcAft>
              <a:buClrTx/>
              <a:buSzTx/>
              <a:buFontTx/>
              <a:buNone/>
              <a:tabLst/>
            </a:pPr>
            <a:r>
              <a:rPr kumimoji="0" lang="en-US" sz="2800" b="1" i="0" u="none" strike="noStrike" cap="none" spc="0" normalizeH="0" baseline="0">
                <a:ln>
                  <a:noFill/>
                </a:ln>
                <a:solidFill>
                  <a:schemeClr val="tx1"/>
                </a:solidFill>
                <a:effectLst/>
                <a:uFillTx/>
                <a:cs typeface="Arial" panose="020B0604020202020204" pitchFamily="34" charset="0"/>
                <a:sym typeface="BentonSansF Book"/>
              </a:rPr>
              <a:t>6 million car accidents </a:t>
            </a:r>
            <a:r>
              <a:rPr kumimoji="0" lang="en-US" b="0" i="0" u="none" strike="noStrike" cap="none" spc="0" normalizeH="0" baseline="0">
                <a:ln>
                  <a:noFill/>
                </a:ln>
                <a:solidFill>
                  <a:schemeClr val="tx1"/>
                </a:solidFill>
                <a:effectLst/>
                <a:uFillTx/>
                <a:cs typeface="Arial" panose="020B0604020202020204" pitchFamily="34" charset="0"/>
                <a:sym typeface="BentonSansF Book"/>
              </a:rPr>
              <a:t>occur annually on average in the U.S.</a:t>
            </a:r>
            <a:r>
              <a:rPr kumimoji="0" lang="en-US" b="0" i="0" u="none" strike="noStrike" cap="none" spc="0" normalizeH="0" baseline="30000">
                <a:ln>
                  <a:noFill/>
                </a:ln>
                <a:solidFill>
                  <a:srgbClr val="416CF9"/>
                </a:solidFill>
                <a:effectLst/>
                <a:uFillTx/>
                <a:cs typeface="Arial" panose="020B0604020202020204" pitchFamily="34" charset="0"/>
                <a:sym typeface="BentonSansF Book"/>
              </a:rPr>
              <a:t>1</a:t>
            </a:r>
          </a:p>
        </p:txBody>
      </p:sp>
      <p:pic>
        <p:nvPicPr>
          <p:cNvPr id="18" name="Graphic 17" descr="Crash with solid fill">
            <a:extLst>
              <a:ext uri="{FF2B5EF4-FFF2-40B4-BE49-F238E27FC236}">
                <a16:creationId xmlns:a16="http://schemas.microsoft.com/office/drawing/2014/main" id="{C5B71CC8-F402-ED48-F8F6-EC5A66BB2846}"/>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788837" y="4400612"/>
            <a:ext cx="1260000" cy="1260000"/>
          </a:xfrm>
          <a:prstGeom prst="rect">
            <a:avLst/>
          </a:prstGeom>
        </p:spPr>
      </p:pic>
      <p:sp>
        <p:nvSpPr>
          <p:cNvPr id="11" name="Rectangle 10">
            <a:extLst>
              <a:ext uri="{FF2B5EF4-FFF2-40B4-BE49-F238E27FC236}">
                <a16:creationId xmlns:a16="http://schemas.microsoft.com/office/drawing/2014/main" id="{6E107582-E96A-FE79-8E96-8F3212528747}"/>
              </a:ext>
            </a:extLst>
          </p:cNvPr>
          <p:cNvSpPr/>
          <p:nvPr/>
        </p:nvSpPr>
        <p:spPr>
          <a:xfrm>
            <a:off x="16002000" y="3810000"/>
            <a:ext cx="6984000" cy="2340000"/>
          </a:xfrm>
          <a:prstGeom prst="rect">
            <a:avLst/>
          </a:prstGeom>
          <a:solidFill>
            <a:srgbClr val="EFF2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0000" tIns="90000" rIns="90000" bIns="90000" numCol="1" spcCol="38100" rtlCol="0" anchor="ctr">
            <a:noAutofit/>
          </a:bodyPr>
          <a:lstStyle/>
          <a:p>
            <a:pPr marL="0" marR="0" indent="0" defTabSz="822960" rtl="0" fontAlgn="auto" latinLnBrk="0" hangingPunct="0">
              <a:lnSpc>
                <a:spcPct val="140000"/>
              </a:lnSpc>
              <a:spcBef>
                <a:spcPts val="0"/>
              </a:spcBef>
              <a:spcAft>
                <a:spcPts val="0"/>
              </a:spcAft>
              <a:buClrTx/>
              <a:buSzTx/>
              <a:buFontTx/>
              <a:buNone/>
              <a:tabLst/>
            </a:pPr>
            <a:r>
              <a:rPr kumimoji="0" lang="en-US" sz="3200" b="1" i="0" u="none" strike="noStrike" cap="none" spc="0" normalizeH="0" baseline="0">
                <a:ln>
                  <a:noFill/>
                </a:ln>
                <a:solidFill>
                  <a:srgbClr val="416CF9"/>
                </a:solidFill>
                <a:effectLst/>
                <a:uFillTx/>
                <a:latin typeface="+mn-lt"/>
                <a:ea typeface="+mn-ea"/>
                <a:cs typeface="+mn-cs"/>
                <a:sym typeface="BentonSansF Book"/>
              </a:rPr>
              <a:t>Bureaucratic Hurdles:</a:t>
            </a:r>
          </a:p>
          <a:p>
            <a:pPr marL="0" marR="0" indent="0" defTabSz="822960" rtl="0" fontAlgn="auto" latinLnBrk="0" hangingPunct="0">
              <a:lnSpc>
                <a:spcPct val="120000"/>
              </a:lnSpc>
              <a:spcBef>
                <a:spcPts val="0"/>
              </a:spcBef>
              <a:spcAft>
                <a:spcPts val="0"/>
              </a:spcAft>
              <a:buClrTx/>
              <a:buSzTx/>
              <a:buFontTx/>
              <a:buNone/>
              <a:tabLst/>
            </a:pPr>
            <a:r>
              <a:rPr lang="en-US" sz="2800" b="1">
                <a:solidFill>
                  <a:schemeClr val="tx1"/>
                </a:solidFill>
                <a:uFillTx/>
              </a:rPr>
              <a:t>3 </a:t>
            </a:r>
            <a:r>
              <a:rPr kumimoji="0" lang="en-US" sz="2800" b="1" i="0" u="none" strike="noStrike" cap="none" spc="0" normalizeH="0" baseline="0">
                <a:ln>
                  <a:noFill/>
                </a:ln>
                <a:solidFill>
                  <a:schemeClr val="tx1"/>
                </a:solidFill>
                <a:effectLst/>
                <a:uFillTx/>
                <a:latin typeface="+mn-lt"/>
                <a:ea typeface="+mn-ea"/>
                <a:cs typeface="+mn-cs"/>
                <a:sym typeface="BentonSansF Book"/>
              </a:rPr>
              <a:t>different repair estimates </a:t>
            </a:r>
            <a:r>
              <a:rPr kumimoji="0" lang="en-US" b="0" i="0" u="none" strike="noStrike" cap="none" spc="0" normalizeH="0" baseline="0">
                <a:ln>
                  <a:noFill/>
                </a:ln>
                <a:solidFill>
                  <a:schemeClr val="tx1"/>
                </a:solidFill>
                <a:effectLst/>
                <a:uFillTx/>
                <a:latin typeface="+mn-lt"/>
                <a:ea typeface="+mn-ea"/>
                <a:cs typeface="+mn-cs"/>
                <a:sym typeface="BentonSansF Book"/>
              </a:rPr>
              <a:t>are typically claimed by Insurance.</a:t>
            </a:r>
            <a:r>
              <a:rPr lang="en-US" baseline="30000">
                <a:solidFill>
                  <a:srgbClr val="416CF9"/>
                </a:solidFill>
                <a:uFillTx/>
              </a:rPr>
              <a:t>3</a:t>
            </a:r>
            <a:endParaRPr kumimoji="0" lang="en-US" sz="2800" b="0" i="0" u="none" strike="noStrike" cap="none" spc="0" normalizeH="0" baseline="30000">
              <a:ln>
                <a:noFill/>
              </a:ln>
              <a:solidFill>
                <a:srgbClr val="416CF9"/>
              </a:solidFill>
              <a:effectLst/>
              <a:uFillTx/>
              <a:latin typeface="+mn-lt"/>
              <a:ea typeface="+mn-ea"/>
              <a:cs typeface="+mn-cs"/>
              <a:sym typeface="BentonSansF Book"/>
            </a:endParaRPr>
          </a:p>
        </p:txBody>
      </p:sp>
      <p:pic>
        <p:nvPicPr>
          <p:cNvPr id="24" name="Graphic 23" descr="Circles with arrows with solid fill">
            <a:extLst>
              <a:ext uri="{FF2B5EF4-FFF2-40B4-BE49-F238E27FC236}">
                <a16:creationId xmlns:a16="http://schemas.microsoft.com/office/drawing/2014/main" id="{2010020F-1152-2049-EA45-B031C26E0732}"/>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6171800" y="4438468"/>
            <a:ext cx="1260000" cy="1260000"/>
          </a:xfrm>
          <a:prstGeom prst="rect">
            <a:avLst/>
          </a:prstGeom>
        </p:spPr>
      </p:pic>
      <p:sp>
        <p:nvSpPr>
          <p:cNvPr id="5" name="Rectangle 4">
            <a:extLst>
              <a:ext uri="{FF2B5EF4-FFF2-40B4-BE49-F238E27FC236}">
                <a16:creationId xmlns:a16="http://schemas.microsoft.com/office/drawing/2014/main" id="{A507709E-0550-1CCB-1E17-1E670EA4549A}"/>
              </a:ext>
            </a:extLst>
          </p:cNvPr>
          <p:cNvSpPr/>
          <p:nvPr/>
        </p:nvSpPr>
        <p:spPr>
          <a:xfrm>
            <a:off x="8772000" y="3810000"/>
            <a:ext cx="6984000" cy="2340000"/>
          </a:xfrm>
          <a:prstGeom prst="rect">
            <a:avLst/>
          </a:prstGeom>
          <a:solidFill>
            <a:srgbClr val="EFF2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0000" tIns="90000" rIns="90000" bIns="90000" numCol="1" spcCol="38100" rtlCol="0" anchor="ctr">
            <a:noAutofit/>
          </a:bodyPr>
          <a:lstStyle/>
          <a:p>
            <a:pPr marL="0" marR="0" indent="0" defTabSz="822960" rtl="0" fontAlgn="auto" latinLnBrk="0" hangingPunct="0">
              <a:lnSpc>
                <a:spcPct val="140000"/>
              </a:lnSpc>
              <a:spcBef>
                <a:spcPts val="0"/>
              </a:spcBef>
              <a:spcAft>
                <a:spcPts val="0"/>
              </a:spcAft>
              <a:buClrTx/>
              <a:buSzTx/>
              <a:buFontTx/>
              <a:buNone/>
              <a:tabLst/>
            </a:pPr>
            <a:r>
              <a:rPr kumimoji="0" lang="en-US" sz="3200" b="1" i="0" u="none" strike="noStrike" cap="none" spc="0" normalizeH="0" baseline="0">
                <a:ln>
                  <a:noFill/>
                </a:ln>
                <a:solidFill>
                  <a:srgbClr val="416CF9"/>
                </a:solidFill>
                <a:effectLst/>
                <a:uFillTx/>
                <a:latin typeface="+mn-lt"/>
                <a:ea typeface="+mn-ea"/>
                <a:cs typeface="+mn-cs"/>
                <a:sym typeface="BentonSansF Book"/>
              </a:rPr>
              <a:t>Trust Gap: </a:t>
            </a:r>
          </a:p>
          <a:p>
            <a:pPr marL="0" marR="0" indent="0" defTabSz="822960" rtl="0" fontAlgn="auto" latinLnBrk="0" hangingPunct="0">
              <a:lnSpc>
                <a:spcPct val="120000"/>
              </a:lnSpc>
              <a:spcBef>
                <a:spcPts val="0"/>
              </a:spcBef>
              <a:spcAft>
                <a:spcPts val="0"/>
              </a:spcAft>
              <a:buClrTx/>
              <a:buSzTx/>
              <a:buFontTx/>
              <a:buNone/>
              <a:tabLst/>
            </a:pPr>
            <a:r>
              <a:rPr kumimoji="0" lang="en-US" sz="2800" b="1" i="0" u="none" strike="noStrike" cap="none" spc="0" normalizeH="0" baseline="0">
                <a:ln>
                  <a:noFill/>
                </a:ln>
                <a:solidFill>
                  <a:schemeClr val="tx1"/>
                </a:solidFill>
                <a:effectLst/>
                <a:uFillTx/>
                <a:latin typeface="+mn-lt"/>
                <a:ea typeface="+mn-ea"/>
                <a:cs typeface="+mn-cs"/>
                <a:sym typeface="BentonSansF Book"/>
              </a:rPr>
              <a:t>30% of customers </a:t>
            </a:r>
            <a:r>
              <a:rPr kumimoji="0" lang="en-US" i="0" u="none" strike="noStrike" cap="none" spc="0" normalizeH="0" baseline="0">
                <a:ln>
                  <a:noFill/>
                </a:ln>
                <a:solidFill>
                  <a:schemeClr val="tx1"/>
                </a:solidFill>
                <a:effectLst/>
                <a:uFillTx/>
                <a:latin typeface="+mn-lt"/>
                <a:ea typeface="+mn-ea"/>
                <a:cs typeface="+mn-cs"/>
                <a:sym typeface="BentonSansF Book"/>
              </a:rPr>
              <a:t>reported a lack of trust towards repair shops in the U.S</a:t>
            </a:r>
            <a:r>
              <a:rPr kumimoji="0" lang="en-US" i="0" u="none" strike="noStrike" cap="none" spc="0" normalizeH="0" baseline="0">
                <a:ln>
                  <a:noFill/>
                </a:ln>
                <a:solidFill>
                  <a:schemeClr val="tx2">
                    <a:lumMod val="75000"/>
                  </a:schemeClr>
                </a:solidFill>
                <a:effectLst/>
                <a:uFillTx/>
                <a:latin typeface="+mn-lt"/>
                <a:ea typeface="+mn-ea"/>
                <a:cs typeface="+mn-cs"/>
                <a:sym typeface="BentonSansF Book"/>
              </a:rPr>
              <a:t>.</a:t>
            </a:r>
            <a:r>
              <a:rPr lang="en-US" baseline="30000">
                <a:solidFill>
                  <a:srgbClr val="416CF9"/>
                </a:solidFill>
                <a:uFillTx/>
              </a:rPr>
              <a:t>2</a:t>
            </a:r>
            <a:endParaRPr kumimoji="0" lang="en-US" sz="2800" i="0" u="none" strike="noStrike" cap="none" spc="0" normalizeH="0" baseline="30000">
              <a:ln>
                <a:noFill/>
              </a:ln>
              <a:solidFill>
                <a:srgbClr val="416CF9"/>
              </a:solidFill>
              <a:effectLst/>
              <a:uFillTx/>
              <a:latin typeface="+mn-lt"/>
              <a:ea typeface="+mn-ea"/>
              <a:cs typeface="+mn-cs"/>
              <a:sym typeface="BentonSansF Book"/>
            </a:endParaRPr>
          </a:p>
        </p:txBody>
      </p:sp>
      <p:pic>
        <p:nvPicPr>
          <p:cNvPr id="29" name="Graphic 28" descr="Rating Star with solid fill">
            <a:extLst>
              <a:ext uri="{FF2B5EF4-FFF2-40B4-BE49-F238E27FC236}">
                <a16:creationId xmlns:a16="http://schemas.microsoft.com/office/drawing/2014/main" id="{04437D56-1F4A-6F33-36D2-C94B83BAEB67}"/>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079527" y="4503628"/>
            <a:ext cx="1080000" cy="1080000"/>
          </a:xfrm>
          <a:prstGeom prst="rect">
            <a:avLst/>
          </a:prstGeom>
        </p:spPr>
      </p:pic>
      <p:sp>
        <p:nvSpPr>
          <p:cNvPr id="46" name="TextBox 45">
            <a:extLst>
              <a:ext uri="{FF2B5EF4-FFF2-40B4-BE49-F238E27FC236}">
                <a16:creationId xmlns:a16="http://schemas.microsoft.com/office/drawing/2014/main" id="{143A518D-BB22-0D41-273A-630A0DC1932C}"/>
              </a:ext>
            </a:extLst>
          </p:cNvPr>
          <p:cNvSpPr txBox="1"/>
          <p:nvPr/>
        </p:nvSpPr>
        <p:spPr>
          <a:xfrm>
            <a:off x="1419489" y="6506559"/>
            <a:ext cx="12545720" cy="439224"/>
          </a:xfrm>
          <a:prstGeom prst="rect">
            <a:avLst/>
          </a:prstGeom>
          <a:noFill/>
        </p:spPr>
        <p:txBody>
          <a:bodyPr vert="horz" wrap="none" lIns="90000" tIns="46800" rIns="90000" bIns="46800" rtlCol="0" anchor="ctr">
            <a:spAutoFit/>
          </a:bodyPr>
          <a:lstStyle/>
          <a:p>
            <a:pPr algn="l">
              <a:spcBef>
                <a:spcPct val="0"/>
              </a:spcBef>
            </a:pPr>
            <a:r>
              <a:rPr lang="en-US" sz="2800" cap="all" spc="300">
                <a:solidFill>
                  <a:schemeClr val="tx1"/>
                </a:solidFill>
                <a:uFill>
                  <a:solidFill>
                    <a:srgbClr val="FFFFFF"/>
                  </a:solidFill>
                </a:uFill>
                <a:latin typeface="Arial" panose="020B0604020202020204" pitchFamily="34" charset="0"/>
                <a:cs typeface="Arial" panose="020B0604020202020204" pitchFamily="34" charset="0"/>
              </a:rPr>
              <a:t>Pain </a:t>
            </a:r>
            <a:r>
              <a:rPr lang="en-US" sz="2800" cap="all" spc="300">
                <a:solidFill>
                  <a:schemeClr val="tx1"/>
                </a:solidFill>
                <a:uFill>
                  <a:solidFill>
                    <a:srgbClr val="FFFFFF"/>
                  </a:solidFill>
                </a:uFill>
                <a:latin typeface="Arial" panose="020B0604020202020204" pitchFamily="34" charset="0"/>
                <a:cs typeface="Arial" panose="020B0604020202020204" pitchFamily="34" charset="0"/>
                <a:sym typeface="BentonSansF Medium"/>
              </a:rPr>
              <a:t>points of a typical repair estimation process</a:t>
            </a:r>
          </a:p>
        </p:txBody>
      </p:sp>
      <p:sp>
        <p:nvSpPr>
          <p:cNvPr id="33" name="Richtungspfeil 11">
            <a:extLst>
              <a:ext uri="{FF2B5EF4-FFF2-40B4-BE49-F238E27FC236}">
                <a16:creationId xmlns:a16="http://schemas.microsoft.com/office/drawing/2014/main" id="{3FA9C9F4-9ACE-C507-4BD0-C5B2725BB481}"/>
              </a:ext>
            </a:extLst>
          </p:cNvPr>
          <p:cNvSpPr/>
          <p:nvPr>
            <p:custDataLst>
              <p:tags r:id="rId1"/>
            </p:custDataLst>
          </p:nvPr>
        </p:nvSpPr>
        <p:spPr bwMode="auto">
          <a:xfrm>
            <a:off x="1542000" y="7106664"/>
            <a:ext cx="5343320" cy="936000"/>
          </a:xfrm>
          <a:prstGeom prst="homePlate">
            <a:avLst>
              <a:gd name="adj" fmla="val 18199"/>
            </a:avLst>
          </a:prstGeom>
          <a:solidFill>
            <a:srgbClr val="0E176D"/>
          </a:solidFill>
          <a:ln w="9525" cmpd="sng">
            <a:noFill/>
            <a:prstDash val="solid"/>
            <a:miter lim="800000"/>
            <a:headEnd/>
            <a:tailEnd/>
          </a:ln>
          <a:effectLst/>
        </p:spPr>
        <p:txBody>
          <a:bodyPr lIns="144000" tIns="108000" rIns="144000" bIns="108000" anchor="ctr"/>
          <a:lstStyle/>
          <a:p>
            <a:pPr algn="ctr">
              <a:spcBef>
                <a:spcPct val="0"/>
              </a:spcBef>
              <a:spcAft>
                <a:spcPct val="0"/>
              </a:spcAft>
            </a:pPr>
            <a:r>
              <a:rPr lang="en-US" sz="2800" b="1" i="0">
                <a:solidFill>
                  <a:schemeClr val="bg1"/>
                </a:solidFill>
                <a:effectLst/>
              </a:rPr>
              <a:t>Initial Inspection</a:t>
            </a:r>
            <a:endParaRPr lang="en-US" sz="3600" b="1">
              <a:solidFill>
                <a:schemeClr val="bg1"/>
              </a:solidFill>
            </a:endParaRPr>
          </a:p>
        </p:txBody>
      </p:sp>
      <p:sp>
        <p:nvSpPr>
          <p:cNvPr id="35" name="Eingekerbter Richtungspfeil 12">
            <a:extLst>
              <a:ext uri="{FF2B5EF4-FFF2-40B4-BE49-F238E27FC236}">
                <a16:creationId xmlns:a16="http://schemas.microsoft.com/office/drawing/2014/main" id="{94F8AB51-E5B8-5096-CDDF-3D3F0FEF75F3}"/>
              </a:ext>
            </a:extLst>
          </p:cNvPr>
          <p:cNvSpPr/>
          <p:nvPr>
            <p:custDataLst>
              <p:tags r:id="rId2"/>
            </p:custDataLst>
          </p:nvPr>
        </p:nvSpPr>
        <p:spPr bwMode="auto">
          <a:xfrm>
            <a:off x="17558892" y="7106664"/>
            <a:ext cx="5377308" cy="936000"/>
          </a:xfrm>
          <a:prstGeom prst="chevron">
            <a:avLst>
              <a:gd name="adj" fmla="val 18199"/>
            </a:avLst>
          </a:prstGeom>
          <a:solidFill>
            <a:schemeClr val="tx2">
              <a:lumMod val="50000"/>
            </a:schemeClr>
          </a:solidFill>
          <a:ln w="9525" cmpd="sng">
            <a:noFill/>
            <a:prstDash val="solid"/>
            <a:miter lim="800000"/>
            <a:headEnd/>
            <a:tailEnd/>
          </a:ln>
          <a:effectLst/>
        </p:spPr>
        <p:txBody>
          <a:bodyPr lIns="144000" tIns="108000" rIns="144000" bIns="108000" anchor="ctr"/>
          <a:lstStyle/>
          <a:p>
            <a:pPr algn="ctr">
              <a:spcBef>
                <a:spcPct val="0"/>
              </a:spcBef>
              <a:spcAft>
                <a:spcPct val="0"/>
              </a:spcAft>
            </a:pPr>
            <a:r>
              <a:rPr lang="en-US" sz="2800" b="1" i="0">
                <a:solidFill>
                  <a:schemeClr val="bg1"/>
                </a:solidFill>
                <a:effectLst/>
              </a:rPr>
              <a:t>Insurance Integration</a:t>
            </a:r>
            <a:endParaRPr lang="en-US" sz="3600" b="1">
              <a:solidFill>
                <a:schemeClr val="bg1"/>
              </a:solidFill>
            </a:endParaRPr>
          </a:p>
        </p:txBody>
      </p:sp>
      <p:sp>
        <p:nvSpPr>
          <p:cNvPr id="36" name="Eingekerbter Richtungspfeil 12">
            <a:extLst>
              <a:ext uri="{FF2B5EF4-FFF2-40B4-BE49-F238E27FC236}">
                <a16:creationId xmlns:a16="http://schemas.microsoft.com/office/drawing/2014/main" id="{A576DA3C-925D-4ECA-E54B-5331B5424ECC}"/>
              </a:ext>
            </a:extLst>
          </p:cNvPr>
          <p:cNvSpPr/>
          <p:nvPr>
            <p:custDataLst>
              <p:tags r:id="rId3"/>
            </p:custDataLst>
          </p:nvPr>
        </p:nvSpPr>
        <p:spPr bwMode="auto">
          <a:xfrm>
            <a:off x="12219926" y="7106664"/>
            <a:ext cx="5343320" cy="936000"/>
          </a:xfrm>
          <a:prstGeom prst="chevron">
            <a:avLst>
              <a:gd name="adj" fmla="val 18199"/>
            </a:avLst>
          </a:prstGeom>
          <a:solidFill>
            <a:schemeClr val="tx2">
              <a:lumMod val="50000"/>
            </a:schemeClr>
          </a:solidFill>
          <a:ln w="9525" cmpd="sng">
            <a:noFill/>
            <a:prstDash val="solid"/>
            <a:miter lim="800000"/>
            <a:headEnd/>
            <a:tailEnd/>
          </a:ln>
          <a:effectLst/>
        </p:spPr>
        <p:txBody>
          <a:bodyPr lIns="144000" tIns="108000" rIns="144000" bIns="108000" anchor="ctr"/>
          <a:lstStyle/>
          <a:p>
            <a:pPr algn="ctr"/>
            <a:r>
              <a:rPr lang="en-US" sz="2800" b="1">
                <a:solidFill>
                  <a:schemeClr val="bg1"/>
                </a:solidFill>
              </a:rPr>
              <a:t>Cost </a:t>
            </a:r>
            <a:r>
              <a:rPr lang="en-US" sz="2800" b="1" i="0">
                <a:solidFill>
                  <a:schemeClr val="bg1"/>
                </a:solidFill>
                <a:effectLst/>
              </a:rPr>
              <a:t>Estimate Preparation</a:t>
            </a:r>
            <a:endParaRPr lang="en-US" sz="2800" b="0" i="0">
              <a:solidFill>
                <a:schemeClr val="bg1"/>
              </a:solidFill>
              <a:effectLst/>
            </a:endParaRPr>
          </a:p>
        </p:txBody>
      </p:sp>
      <p:sp>
        <p:nvSpPr>
          <p:cNvPr id="37" name="Eingekerbter Richtungspfeil 12">
            <a:extLst>
              <a:ext uri="{FF2B5EF4-FFF2-40B4-BE49-F238E27FC236}">
                <a16:creationId xmlns:a16="http://schemas.microsoft.com/office/drawing/2014/main" id="{219831D2-23CC-702B-1EA1-A660AC8C9706}"/>
              </a:ext>
            </a:extLst>
          </p:cNvPr>
          <p:cNvSpPr/>
          <p:nvPr>
            <p:custDataLst>
              <p:tags r:id="rId4"/>
            </p:custDataLst>
          </p:nvPr>
        </p:nvSpPr>
        <p:spPr bwMode="auto">
          <a:xfrm>
            <a:off x="6880966" y="7106664"/>
            <a:ext cx="5343314" cy="936000"/>
          </a:xfrm>
          <a:prstGeom prst="chevron">
            <a:avLst>
              <a:gd name="adj" fmla="val 18199"/>
            </a:avLst>
          </a:prstGeom>
          <a:solidFill>
            <a:schemeClr val="tx2">
              <a:lumMod val="50000"/>
            </a:schemeClr>
          </a:solidFill>
          <a:ln w="9525" cmpd="sng">
            <a:noFill/>
            <a:prstDash val="solid"/>
            <a:miter lim="800000"/>
            <a:headEnd/>
            <a:tailEnd/>
          </a:ln>
          <a:effectLst/>
        </p:spPr>
        <p:txBody>
          <a:bodyPr lIns="144000" tIns="108000" rIns="144000" bIns="108000" anchor="ctr"/>
          <a:lstStyle/>
          <a:p>
            <a:pPr algn="ctr"/>
            <a:r>
              <a:rPr lang="en-US" sz="2800" b="1" i="0">
                <a:solidFill>
                  <a:schemeClr val="bg1"/>
                </a:solidFill>
                <a:effectLst/>
              </a:rPr>
              <a:t>Detailed Evaluation</a:t>
            </a:r>
            <a:endParaRPr lang="en-US" sz="2800" b="0" i="0">
              <a:solidFill>
                <a:schemeClr val="bg1"/>
              </a:solidFill>
              <a:effectLst/>
            </a:endParaRPr>
          </a:p>
        </p:txBody>
      </p:sp>
      <p:sp>
        <p:nvSpPr>
          <p:cNvPr id="38" name="Rectangle 15">
            <a:extLst>
              <a:ext uri="{FF2B5EF4-FFF2-40B4-BE49-F238E27FC236}">
                <a16:creationId xmlns:a16="http://schemas.microsoft.com/office/drawing/2014/main" id="{1CEC041A-1F42-A1B6-A5B4-0096CC8602C9}"/>
              </a:ext>
            </a:extLst>
          </p:cNvPr>
          <p:cNvSpPr txBox="1">
            <a:spLocks/>
          </p:cNvSpPr>
          <p:nvPr>
            <p:custDataLst>
              <p:tags r:id="rId5"/>
            </p:custDataLst>
          </p:nvPr>
        </p:nvSpPr>
        <p:spPr bwMode="auto">
          <a:xfrm>
            <a:off x="1542000" y="8249666"/>
            <a:ext cx="5178238" cy="2438400"/>
          </a:xfrm>
          <a:prstGeom prst="rect">
            <a:avLst/>
          </a:prstGeom>
          <a:solidFill>
            <a:srgbClr val="EFF2FF"/>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buFont typeface="Arial" panose="020B0604020202020204" pitchFamily="34" charset="0"/>
              <a:buChar char="•"/>
            </a:pPr>
            <a:r>
              <a:rPr lang="en-US" sz="2000" b="1" i="0" dirty="0">
                <a:solidFill>
                  <a:srgbClr val="0E176D"/>
                </a:solidFill>
                <a:effectLst/>
              </a:rPr>
              <a:t>Expertise required</a:t>
            </a:r>
            <a:r>
              <a:rPr lang="en-US" sz="2000" b="0" i="0" dirty="0">
                <a:solidFill>
                  <a:srgbClr val="0E176D"/>
                </a:solidFill>
                <a:effectLst/>
              </a:rPr>
              <a:t>: </a:t>
            </a:r>
            <a:r>
              <a:rPr lang="en-US" sz="2000" b="0" i="0" dirty="0">
                <a:solidFill>
                  <a:srgbClr val="0D0D0D"/>
                </a:solidFill>
                <a:effectLst/>
              </a:rPr>
              <a:t>Damage assessment needs an experienced inspector.</a:t>
            </a:r>
          </a:p>
          <a:p>
            <a:pPr marL="285750" indent="-285750">
              <a:buFont typeface="Arial" panose="020B0604020202020204" pitchFamily="34" charset="0"/>
              <a:buChar char="•"/>
            </a:pPr>
            <a:r>
              <a:rPr lang="en-US" sz="2000" b="1" i="0" dirty="0">
                <a:solidFill>
                  <a:srgbClr val="0E176D"/>
                </a:solidFill>
                <a:effectLst/>
              </a:rPr>
              <a:t>Oversight Risk</a:t>
            </a:r>
            <a:r>
              <a:rPr lang="en-US" sz="2000" b="0" i="0" dirty="0">
                <a:solidFill>
                  <a:srgbClr val="0E176D"/>
                </a:solidFill>
                <a:effectLst/>
              </a:rPr>
              <a:t>: </a:t>
            </a:r>
            <a:r>
              <a:rPr lang="en-US" sz="2000" b="0" i="0" dirty="0">
                <a:solidFill>
                  <a:srgbClr val="0D0D0D"/>
                </a:solidFill>
                <a:effectLst/>
              </a:rPr>
              <a:t>Potentially oversaw damages.</a:t>
            </a:r>
          </a:p>
          <a:p>
            <a:pPr marL="285750" indent="-285750">
              <a:buFont typeface="Arial" panose="020B0604020202020204" pitchFamily="34" charset="0"/>
              <a:buChar char="•"/>
            </a:pPr>
            <a:r>
              <a:rPr lang="en-US" sz="2000" b="1" i="0" dirty="0">
                <a:solidFill>
                  <a:srgbClr val="0E176D"/>
                </a:solidFill>
                <a:effectLst/>
              </a:rPr>
              <a:t>Time Constraints</a:t>
            </a:r>
            <a:r>
              <a:rPr lang="en-US" sz="2000" dirty="0">
                <a:solidFill>
                  <a:srgbClr val="0E176D"/>
                </a:solidFill>
              </a:rPr>
              <a:t>: </a:t>
            </a:r>
            <a:r>
              <a:rPr lang="en-US" sz="2000" dirty="0">
                <a:solidFill>
                  <a:srgbClr val="0D0D0D"/>
                </a:solidFill>
              </a:rPr>
              <a:t>High </a:t>
            </a:r>
            <a:r>
              <a:rPr lang="en-US" sz="2000" b="0" i="0" dirty="0">
                <a:solidFill>
                  <a:srgbClr val="0D0D0D"/>
                </a:solidFill>
                <a:effectLst/>
              </a:rPr>
              <a:t>volume delays.</a:t>
            </a:r>
          </a:p>
          <a:p>
            <a:pPr algn="l"/>
            <a:endParaRPr lang="en-US" sz="2000" dirty="0"/>
          </a:p>
        </p:txBody>
      </p:sp>
      <p:sp>
        <p:nvSpPr>
          <p:cNvPr id="39" name="Rectangle 15">
            <a:extLst>
              <a:ext uri="{FF2B5EF4-FFF2-40B4-BE49-F238E27FC236}">
                <a16:creationId xmlns:a16="http://schemas.microsoft.com/office/drawing/2014/main" id="{E269810F-82A5-0F95-C551-AC0FA129F72D}"/>
              </a:ext>
            </a:extLst>
          </p:cNvPr>
          <p:cNvSpPr txBox="1">
            <a:spLocks/>
          </p:cNvSpPr>
          <p:nvPr>
            <p:custDataLst>
              <p:tags r:id="rId6"/>
            </p:custDataLst>
          </p:nvPr>
        </p:nvSpPr>
        <p:spPr bwMode="auto">
          <a:xfrm>
            <a:off x="6892628" y="8249665"/>
            <a:ext cx="5178238" cy="2438400"/>
          </a:xfrm>
          <a:prstGeom prst="rect">
            <a:avLst/>
          </a:prstGeom>
          <a:solidFill>
            <a:srgbClr val="EFF2FF"/>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buFont typeface="Arial" panose="020B0604020202020204" pitchFamily="34" charset="0"/>
              <a:buChar char="•"/>
            </a:pPr>
            <a:r>
              <a:rPr lang="en-US" sz="2000" b="1" i="0" dirty="0">
                <a:solidFill>
                  <a:srgbClr val="0E176D"/>
                </a:solidFill>
                <a:effectLst/>
              </a:rPr>
              <a:t>Labor Intensive</a:t>
            </a:r>
            <a:r>
              <a:rPr lang="en-US" sz="2000" b="0" i="0" dirty="0">
                <a:solidFill>
                  <a:srgbClr val="0E176D"/>
                </a:solidFill>
                <a:effectLst/>
              </a:rPr>
              <a:t>: </a:t>
            </a:r>
            <a:r>
              <a:rPr lang="en-US" sz="2000" b="0" i="0" dirty="0">
                <a:solidFill>
                  <a:srgbClr val="0D0D0D"/>
                </a:solidFill>
                <a:effectLst/>
              </a:rPr>
              <a:t>Manual description of damages is a tedious routine.</a:t>
            </a:r>
          </a:p>
          <a:p>
            <a:pPr marL="285750" indent="-285750" algn="l">
              <a:buFont typeface="Arial" panose="020B0604020202020204" pitchFamily="34" charset="0"/>
              <a:buChar char="•"/>
            </a:pPr>
            <a:r>
              <a:rPr lang="en-US" sz="2000" b="1" i="0" dirty="0">
                <a:solidFill>
                  <a:srgbClr val="0E176D"/>
                </a:solidFill>
                <a:effectLst/>
              </a:rPr>
              <a:t>Hidden Damage Risk</a:t>
            </a:r>
            <a:r>
              <a:rPr lang="en-US" sz="2000" b="0" i="0" dirty="0">
                <a:solidFill>
                  <a:srgbClr val="0E176D"/>
                </a:solidFill>
                <a:effectLst/>
              </a:rPr>
              <a:t>: </a:t>
            </a:r>
            <a:r>
              <a:rPr lang="en-US" sz="2000" b="0" i="0" dirty="0">
                <a:solidFill>
                  <a:srgbClr val="0D0D0D"/>
                </a:solidFill>
                <a:effectLst/>
              </a:rPr>
              <a:t>Underestimation possible.</a:t>
            </a:r>
          </a:p>
          <a:p>
            <a:pPr marL="285750" indent="-285750" algn="l">
              <a:buFont typeface="Arial" panose="020B0604020202020204" pitchFamily="34" charset="0"/>
              <a:buChar char="•"/>
            </a:pPr>
            <a:r>
              <a:rPr lang="en-US" sz="2000" b="1" i="0" dirty="0">
                <a:solidFill>
                  <a:srgbClr val="0E176D"/>
                </a:solidFill>
                <a:effectLst/>
              </a:rPr>
              <a:t>Dependency</a:t>
            </a:r>
            <a:r>
              <a:rPr lang="en-US" sz="2000" b="0" i="0" dirty="0">
                <a:solidFill>
                  <a:srgbClr val="0E176D"/>
                </a:solidFill>
                <a:effectLst/>
              </a:rPr>
              <a:t>: </a:t>
            </a:r>
            <a:r>
              <a:rPr lang="en-US" sz="2000" b="0" i="0" dirty="0">
                <a:solidFill>
                  <a:srgbClr val="0D0D0D"/>
                </a:solidFill>
                <a:effectLst/>
              </a:rPr>
              <a:t>Expertise and advanced tools needed.</a:t>
            </a:r>
          </a:p>
        </p:txBody>
      </p:sp>
      <p:sp>
        <p:nvSpPr>
          <p:cNvPr id="50" name="Rectangle 15">
            <a:extLst>
              <a:ext uri="{FF2B5EF4-FFF2-40B4-BE49-F238E27FC236}">
                <a16:creationId xmlns:a16="http://schemas.microsoft.com/office/drawing/2014/main" id="{78331D9A-D7CC-C803-F3F6-4FD15E6252F9}"/>
              </a:ext>
            </a:extLst>
          </p:cNvPr>
          <p:cNvSpPr txBox="1">
            <a:spLocks/>
          </p:cNvSpPr>
          <p:nvPr>
            <p:custDataLst>
              <p:tags r:id="rId7"/>
            </p:custDataLst>
          </p:nvPr>
        </p:nvSpPr>
        <p:spPr bwMode="auto">
          <a:xfrm>
            <a:off x="12243256" y="8249666"/>
            <a:ext cx="5178238" cy="2438400"/>
          </a:xfrm>
          <a:prstGeom prst="rect">
            <a:avLst/>
          </a:prstGeom>
          <a:solidFill>
            <a:srgbClr val="EFF2FF"/>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buFont typeface="Arial" panose="020B0604020202020204" pitchFamily="34" charset="0"/>
              <a:buChar char="•"/>
            </a:pPr>
            <a:r>
              <a:rPr lang="en-US" sz="2000" b="1" i="0">
                <a:solidFill>
                  <a:srgbClr val="0E176D"/>
                </a:solidFill>
                <a:effectLst/>
              </a:rPr>
              <a:t>Error Prone</a:t>
            </a:r>
            <a:r>
              <a:rPr lang="en-US" sz="2000" b="0" i="0">
                <a:solidFill>
                  <a:srgbClr val="0E176D"/>
                </a:solidFill>
                <a:effectLst/>
              </a:rPr>
              <a:t>: </a:t>
            </a:r>
            <a:r>
              <a:rPr lang="en-US" sz="2000" b="0" i="0">
                <a:solidFill>
                  <a:srgbClr val="0D0D0D"/>
                </a:solidFill>
                <a:effectLst/>
              </a:rPr>
              <a:t>Manual calculations introduce mistakes.</a:t>
            </a:r>
          </a:p>
          <a:p>
            <a:pPr marL="285750" indent="-285750" algn="l">
              <a:buFont typeface="Arial" panose="020B0604020202020204" pitchFamily="34" charset="0"/>
              <a:buChar char="•"/>
            </a:pPr>
            <a:r>
              <a:rPr lang="en-US" sz="2000" b="1" i="0">
                <a:solidFill>
                  <a:srgbClr val="0E176D"/>
                </a:solidFill>
                <a:effectLst/>
              </a:rPr>
              <a:t>Price Volatility</a:t>
            </a:r>
            <a:r>
              <a:rPr lang="en-US" sz="2000" b="0" i="0">
                <a:solidFill>
                  <a:srgbClr val="0E176D"/>
                </a:solidFill>
                <a:effectLst/>
              </a:rPr>
              <a:t>: </a:t>
            </a:r>
            <a:r>
              <a:rPr lang="en-US" sz="2000" b="0" i="0">
                <a:solidFill>
                  <a:srgbClr val="0D0D0D"/>
                </a:solidFill>
                <a:effectLst/>
              </a:rPr>
              <a:t>Ever changing parts cost and labor rates.</a:t>
            </a:r>
          </a:p>
          <a:p>
            <a:pPr marL="285750" indent="-285750" algn="l">
              <a:buFont typeface="Arial" panose="020B0604020202020204" pitchFamily="34" charset="0"/>
              <a:buChar char="•"/>
            </a:pPr>
            <a:r>
              <a:rPr lang="en-US" sz="2000" b="1" i="0">
                <a:solidFill>
                  <a:srgbClr val="0E176D"/>
                </a:solidFill>
                <a:effectLst/>
              </a:rPr>
              <a:t>Clarity Issues</a:t>
            </a:r>
            <a:r>
              <a:rPr lang="en-US" sz="2000" b="0" i="0">
                <a:solidFill>
                  <a:srgbClr val="0E176D"/>
                </a:solidFill>
                <a:effectLst/>
              </a:rPr>
              <a:t>: </a:t>
            </a:r>
            <a:r>
              <a:rPr lang="en-US" sz="2000" b="0" i="0">
                <a:solidFill>
                  <a:srgbClr val="0D0D0D"/>
                </a:solidFill>
                <a:effectLst/>
              </a:rPr>
              <a:t>Misunderstandings about costs/details.</a:t>
            </a:r>
          </a:p>
        </p:txBody>
      </p:sp>
      <p:sp>
        <p:nvSpPr>
          <p:cNvPr id="51" name="Rectangle 15">
            <a:extLst>
              <a:ext uri="{FF2B5EF4-FFF2-40B4-BE49-F238E27FC236}">
                <a16:creationId xmlns:a16="http://schemas.microsoft.com/office/drawing/2014/main" id="{38D0737C-C005-DE68-8BF3-BF9BFBA5BD31}"/>
              </a:ext>
            </a:extLst>
          </p:cNvPr>
          <p:cNvSpPr txBox="1">
            <a:spLocks/>
          </p:cNvSpPr>
          <p:nvPr>
            <p:custDataLst>
              <p:tags r:id="rId8"/>
            </p:custDataLst>
          </p:nvPr>
        </p:nvSpPr>
        <p:spPr bwMode="auto">
          <a:xfrm>
            <a:off x="17593885" y="8249666"/>
            <a:ext cx="5178238" cy="2438400"/>
          </a:xfrm>
          <a:prstGeom prst="rect">
            <a:avLst/>
          </a:prstGeom>
          <a:solidFill>
            <a:srgbClr val="EFF2FF"/>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buFont typeface="Arial" panose="020B0604020202020204" pitchFamily="34" charset="0"/>
              <a:buChar char="•"/>
            </a:pPr>
            <a:r>
              <a:rPr lang="en-US" sz="2000" b="1" i="0">
                <a:solidFill>
                  <a:srgbClr val="0E176D"/>
                </a:solidFill>
                <a:effectLst/>
              </a:rPr>
              <a:t>Response Delays</a:t>
            </a:r>
            <a:r>
              <a:rPr lang="en-US" sz="2000" b="0" i="0">
                <a:solidFill>
                  <a:srgbClr val="0E176D"/>
                </a:solidFill>
                <a:effectLst/>
              </a:rPr>
              <a:t>: </a:t>
            </a:r>
            <a:r>
              <a:rPr lang="en-US" sz="2000" b="0" i="0">
                <a:solidFill>
                  <a:srgbClr val="0D0D0D"/>
                </a:solidFill>
                <a:effectLst/>
              </a:rPr>
              <a:t>Slow insurance feedback.</a:t>
            </a:r>
          </a:p>
          <a:p>
            <a:pPr marL="285750" indent="-285750" algn="l">
              <a:buFont typeface="Arial" panose="020B0604020202020204" pitchFamily="34" charset="0"/>
              <a:buChar char="•"/>
            </a:pPr>
            <a:r>
              <a:rPr lang="en-US" sz="2000" b="1" i="0">
                <a:solidFill>
                  <a:srgbClr val="0E176D"/>
                </a:solidFill>
                <a:effectLst/>
              </a:rPr>
              <a:t>Dispute Potential</a:t>
            </a:r>
            <a:r>
              <a:rPr lang="en-US" sz="2000" b="0" i="0">
                <a:solidFill>
                  <a:srgbClr val="0E176D"/>
                </a:solidFill>
                <a:effectLst/>
              </a:rPr>
              <a:t>: </a:t>
            </a:r>
            <a:r>
              <a:rPr lang="en-US" sz="2000" b="0" i="0">
                <a:solidFill>
                  <a:srgbClr val="0D0D0D"/>
                </a:solidFill>
                <a:effectLst/>
              </a:rPr>
              <a:t>Risk of estimate contention.</a:t>
            </a:r>
          </a:p>
          <a:p>
            <a:pPr marL="285750" indent="-285750" algn="l">
              <a:buFont typeface="Arial" panose="020B0604020202020204" pitchFamily="34" charset="0"/>
              <a:buChar char="•"/>
            </a:pPr>
            <a:r>
              <a:rPr lang="en-US" sz="2000" b="1" i="0">
                <a:solidFill>
                  <a:srgbClr val="0E176D"/>
                </a:solidFill>
                <a:effectLst/>
              </a:rPr>
              <a:t>Multiple Estimates</a:t>
            </a:r>
            <a:r>
              <a:rPr lang="en-US" sz="2000" b="0" i="0">
                <a:solidFill>
                  <a:srgbClr val="0E176D"/>
                </a:solidFill>
                <a:effectLst/>
              </a:rPr>
              <a:t>: </a:t>
            </a:r>
            <a:r>
              <a:rPr lang="en-US" sz="2000" b="0" i="0">
                <a:solidFill>
                  <a:srgbClr val="0D0D0D"/>
                </a:solidFill>
                <a:effectLst/>
              </a:rPr>
              <a:t>Extended approval times.</a:t>
            </a:r>
          </a:p>
        </p:txBody>
      </p:sp>
      <p:sp>
        <p:nvSpPr>
          <p:cNvPr id="7" name="Slide Number Placeholder 6">
            <a:extLst>
              <a:ext uri="{FF2B5EF4-FFF2-40B4-BE49-F238E27FC236}">
                <a16:creationId xmlns:a16="http://schemas.microsoft.com/office/drawing/2014/main" id="{659214A2-9950-465A-7809-E997685A8AB3}"/>
              </a:ext>
            </a:extLst>
          </p:cNvPr>
          <p:cNvSpPr>
            <a:spLocks noGrp="1"/>
          </p:cNvSpPr>
          <p:nvPr>
            <p:ph type="sldNum" sz="quarter" idx="12"/>
          </p:nvPr>
        </p:nvSpPr>
        <p:spPr/>
        <p:txBody>
          <a:bodyPr/>
          <a:lstStyle/>
          <a:p>
            <a:fld id="{F4562D32-726A-4413-ACA3-4E6BD640C7C8}" type="slidenum">
              <a:rPr lang="de-DE" smtClean="0"/>
              <a:pPr/>
              <a:t>2</a:t>
            </a:fld>
            <a:endParaRPr lang="de-DE"/>
          </a:p>
        </p:txBody>
      </p:sp>
      <p:sp>
        <p:nvSpPr>
          <p:cNvPr id="8" name="Rectangle 7">
            <a:extLst>
              <a:ext uri="{FF2B5EF4-FFF2-40B4-BE49-F238E27FC236}">
                <a16:creationId xmlns:a16="http://schemas.microsoft.com/office/drawing/2014/main" id="{278EE95E-4189-3910-6FF5-1DB46303CA23}"/>
              </a:ext>
            </a:extLst>
          </p:cNvPr>
          <p:cNvSpPr/>
          <p:nvPr/>
        </p:nvSpPr>
        <p:spPr>
          <a:xfrm>
            <a:off x="1542000" y="10933763"/>
            <a:ext cx="21230123" cy="1916645"/>
          </a:xfrm>
          <a:prstGeom prst="rect">
            <a:avLst/>
          </a:prstGeom>
          <a:solidFill>
            <a:srgbClr val="0E176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72000" tIns="90000" rIns="1800000" bIns="90000" numCol="1" spcCol="38100" rtlCol="0" anchor="ctr">
            <a:noAutofit/>
          </a:bodyPr>
          <a:lstStyle/>
          <a:p>
            <a:pPr marL="0" marR="0" indent="0" defTabSz="822960" rtl="0" fontAlgn="auto" latinLnBrk="0" hangingPunct="0">
              <a:lnSpc>
                <a:spcPct val="120000"/>
              </a:lnSpc>
              <a:spcBef>
                <a:spcPts val="0"/>
              </a:spcBef>
              <a:spcAft>
                <a:spcPts val="0"/>
              </a:spcAft>
              <a:buClrTx/>
              <a:buSzTx/>
              <a:buFontTx/>
              <a:buNone/>
              <a:tabLst/>
            </a:pPr>
            <a:r>
              <a:rPr lang="en-US" sz="2800" b="0" i="0" dirty="0">
                <a:solidFill>
                  <a:srgbClr val="C7D4FD"/>
                </a:solidFill>
                <a:effectLst/>
              </a:rPr>
              <a:t>Tackling these pain points in car estimation </a:t>
            </a:r>
            <a:r>
              <a:rPr lang="en-US" sz="2800" dirty="0">
                <a:solidFill>
                  <a:srgbClr val="C7D4FD"/>
                </a:solidFill>
              </a:rPr>
              <a:t>and automating key activities are</a:t>
            </a:r>
            <a:r>
              <a:rPr lang="en-US" sz="2800" b="0" i="0" dirty="0">
                <a:solidFill>
                  <a:srgbClr val="C7D4FD"/>
                </a:solidFill>
                <a:effectLst/>
              </a:rPr>
              <a:t> crucial to improve </a:t>
            </a:r>
            <a:r>
              <a:rPr lang="en-US" sz="2800" b="1" i="0" dirty="0">
                <a:solidFill>
                  <a:schemeClr val="bg1"/>
                </a:solidFill>
                <a:effectLst/>
              </a:rPr>
              <a:t>time efficiency</a:t>
            </a:r>
            <a:r>
              <a:rPr lang="en-US" sz="2800" b="0" i="0" dirty="0">
                <a:solidFill>
                  <a:schemeClr val="bg1"/>
                </a:solidFill>
                <a:effectLst/>
              </a:rPr>
              <a:t>, </a:t>
            </a:r>
            <a:r>
              <a:rPr lang="en-US" sz="2800" b="1" i="0" dirty="0">
                <a:solidFill>
                  <a:schemeClr val="bg1"/>
                </a:solidFill>
                <a:effectLst/>
              </a:rPr>
              <a:t>damage and cost estimation quality</a:t>
            </a:r>
            <a:r>
              <a:rPr lang="en-US" sz="2800" b="0" i="0" dirty="0">
                <a:solidFill>
                  <a:srgbClr val="C7D4FD"/>
                </a:solidFill>
                <a:effectLst/>
              </a:rPr>
              <a:t>, and create </a:t>
            </a:r>
            <a:r>
              <a:rPr lang="en-US" sz="2800" b="1" i="0" dirty="0">
                <a:solidFill>
                  <a:schemeClr val="bg1"/>
                </a:solidFill>
                <a:effectLst/>
              </a:rPr>
              <a:t>clarity</a:t>
            </a:r>
            <a:r>
              <a:rPr lang="en-US" sz="2800" b="0" i="0" dirty="0">
                <a:solidFill>
                  <a:srgbClr val="C7D4FD"/>
                </a:solidFill>
                <a:effectLst/>
              </a:rPr>
              <a:t> between workshop, customer</a:t>
            </a:r>
            <a:r>
              <a:rPr lang="en-US" sz="2800" dirty="0">
                <a:solidFill>
                  <a:srgbClr val="C7D4FD"/>
                </a:solidFill>
              </a:rPr>
              <a:t> and</a:t>
            </a:r>
            <a:r>
              <a:rPr lang="en-US" sz="2800" b="0" i="0" dirty="0">
                <a:solidFill>
                  <a:srgbClr val="C7D4FD"/>
                </a:solidFill>
                <a:effectLst/>
              </a:rPr>
              <a:t> insurance company.</a:t>
            </a:r>
            <a:endParaRPr kumimoji="0" lang="en-US" sz="3600" b="0" i="0" u="none" strike="noStrike" cap="none" spc="0" normalizeH="0" baseline="0" dirty="0">
              <a:ln>
                <a:noFill/>
              </a:ln>
              <a:solidFill>
                <a:srgbClr val="C7D4FD"/>
              </a:solidFill>
              <a:effectLst/>
              <a:uFillTx/>
              <a:ea typeface="+mn-ea"/>
              <a:cs typeface="+mn-cs"/>
              <a:sym typeface="BentonSansF Book"/>
            </a:endParaRPr>
          </a:p>
        </p:txBody>
      </p:sp>
      <p:pic>
        <p:nvPicPr>
          <p:cNvPr id="17" name="Graphic 16" descr="Lightbulb and pencil with solid fill">
            <a:extLst>
              <a:ext uri="{FF2B5EF4-FFF2-40B4-BE49-F238E27FC236}">
                <a16:creationId xmlns:a16="http://schemas.microsoft.com/office/drawing/2014/main" id="{BDD4EEEC-06C6-2B52-A274-9E03704BD540}"/>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961637" y="11430000"/>
            <a:ext cx="914400" cy="914400"/>
          </a:xfrm>
          <a:prstGeom prst="rect">
            <a:avLst/>
          </a:prstGeom>
        </p:spPr>
      </p:pic>
      <p:grpSp>
        <p:nvGrpSpPr>
          <p:cNvPr id="19" name="Group 18">
            <a:extLst>
              <a:ext uri="{FF2B5EF4-FFF2-40B4-BE49-F238E27FC236}">
                <a16:creationId xmlns:a16="http://schemas.microsoft.com/office/drawing/2014/main" id="{CE1C81A6-2D48-EE43-53D2-CC7A7469960C}"/>
              </a:ext>
            </a:extLst>
          </p:cNvPr>
          <p:cNvGrpSpPr/>
          <p:nvPr/>
        </p:nvGrpSpPr>
        <p:grpSpPr>
          <a:xfrm>
            <a:off x="26986575" y="2630384"/>
            <a:ext cx="6984000" cy="2340000"/>
            <a:chOff x="1542000" y="4114800"/>
            <a:chExt cx="6984000" cy="2340000"/>
          </a:xfrm>
        </p:grpSpPr>
        <p:sp>
          <p:nvSpPr>
            <p:cNvPr id="20" name="Rectangle 19">
              <a:extLst>
                <a:ext uri="{FF2B5EF4-FFF2-40B4-BE49-F238E27FC236}">
                  <a16:creationId xmlns:a16="http://schemas.microsoft.com/office/drawing/2014/main" id="{BA3ACCE2-AA77-3D80-2C13-7CC4B7FE6298}"/>
                </a:ext>
              </a:extLst>
            </p:cNvPr>
            <p:cNvSpPr/>
            <p:nvPr/>
          </p:nvSpPr>
          <p:spPr>
            <a:xfrm>
              <a:off x="1542000" y="4114800"/>
              <a:ext cx="6984000" cy="2340000"/>
            </a:xfrm>
            <a:prstGeom prst="rect">
              <a:avLst/>
            </a:prstGeom>
            <a:solidFill>
              <a:schemeClr val="accent2">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0000" tIns="90000" rIns="90000" bIns="90000" numCol="1" spcCol="38100" rtlCol="0" anchor="ctr">
              <a:noAutofit/>
            </a:bodyPr>
            <a:lstStyle/>
            <a:p>
              <a:pPr marL="0" marR="0" indent="0" defTabSz="822960" rtl="0" fontAlgn="auto" latinLnBrk="0" hangingPunct="0">
                <a:lnSpc>
                  <a:spcPct val="140000"/>
                </a:lnSpc>
                <a:spcBef>
                  <a:spcPts val="0"/>
                </a:spcBef>
                <a:spcAft>
                  <a:spcPts val="0"/>
                </a:spcAft>
                <a:buClrTx/>
                <a:buSzTx/>
                <a:buFontTx/>
                <a:buNone/>
                <a:tabLst/>
              </a:pPr>
              <a:r>
                <a:rPr lang="en-US" sz="3200" b="1">
                  <a:solidFill>
                    <a:schemeClr val="bg1"/>
                  </a:solidFill>
                  <a:uFillTx/>
                </a:rPr>
                <a:t>High Demand: </a:t>
              </a:r>
            </a:p>
            <a:p>
              <a:pPr marL="0" marR="0" indent="0" defTabSz="822960" rtl="0" fontAlgn="auto" latinLnBrk="0" hangingPunct="0">
                <a:lnSpc>
                  <a:spcPct val="140000"/>
                </a:lnSpc>
                <a:spcBef>
                  <a:spcPts val="0"/>
                </a:spcBef>
                <a:spcAft>
                  <a:spcPts val="0"/>
                </a:spcAft>
                <a:buClrTx/>
                <a:buSzTx/>
                <a:buFontTx/>
                <a:buNone/>
                <a:tabLst/>
              </a:pPr>
              <a:r>
                <a:rPr kumimoji="0" lang="en-US" sz="2800" b="1" i="0" u="none" strike="noStrike" cap="none" spc="0" normalizeH="0" baseline="0">
                  <a:ln>
                    <a:noFill/>
                  </a:ln>
                  <a:solidFill>
                    <a:schemeClr val="accent2">
                      <a:lumMod val="60000"/>
                      <a:lumOff val="40000"/>
                    </a:schemeClr>
                  </a:solidFill>
                  <a:effectLst/>
                  <a:uFillTx/>
                  <a:latin typeface="+mn-lt"/>
                  <a:ea typeface="+mn-ea"/>
                  <a:cs typeface="+mn-cs"/>
                  <a:sym typeface="BentonSansF Book"/>
                </a:rPr>
                <a:t>6 million car accidents </a:t>
              </a:r>
              <a:r>
                <a:rPr kumimoji="0" lang="en-US" b="0" i="0" u="none" strike="noStrike" cap="none" spc="0" normalizeH="0" baseline="0">
                  <a:ln>
                    <a:noFill/>
                  </a:ln>
                  <a:solidFill>
                    <a:schemeClr val="bg1"/>
                  </a:solidFill>
                  <a:effectLst/>
                  <a:uFillTx/>
                  <a:latin typeface="+mn-lt"/>
                  <a:ea typeface="+mn-ea"/>
                  <a:cs typeface="+mn-cs"/>
                  <a:sym typeface="BentonSansF Book"/>
                </a:rPr>
                <a:t>occur annually on average in the U.S.</a:t>
              </a:r>
            </a:p>
          </p:txBody>
        </p:sp>
        <p:pic>
          <p:nvPicPr>
            <p:cNvPr id="21" name="Graphic 20" descr="Crash with solid fill">
              <a:extLst>
                <a:ext uri="{FF2B5EF4-FFF2-40B4-BE49-F238E27FC236}">
                  <a16:creationId xmlns:a16="http://schemas.microsoft.com/office/drawing/2014/main" id="{C52AFF58-CFE5-66B8-0132-6812E853582F}"/>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788837" y="4705412"/>
              <a:ext cx="1260000" cy="1260000"/>
            </a:xfrm>
            <a:prstGeom prst="rect">
              <a:avLst/>
            </a:prstGeom>
          </p:spPr>
        </p:pic>
      </p:grpSp>
      <p:grpSp>
        <p:nvGrpSpPr>
          <p:cNvPr id="22" name="Group 21">
            <a:extLst>
              <a:ext uri="{FF2B5EF4-FFF2-40B4-BE49-F238E27FC236}">
                <a16:creationId xmlns:a16="http://schemas.microsoft.com/office/drawing/2014/main" id="{CF977C8C-A444-C696-4AAC-B4CA383CBF6F}"/>
              </a:ext>
            </a:extLst>
          </p:cNvPr>
          <p:cNvGrpSpPr/>
          <p:nvPr/>
        </p:nvGrpSpPr>
        <p:grpSpPr>
          <a:xfrm>
            <a:off x="41446575" y="2630384"/>
            <a:ext cx="6984000" cy="2340000"/>
            <a:chOff x="16096200" y="4114800"/>
            <a:chExt cx="6984000" cy="2340000"/>
          </a:xfrm>
        </p:grpSpPr>
        <p:sp>
          <p:nvSpPr>
            <p:cNvPr id="23" name="Rectangle 22">
              <a:extLst>
                <a:ext uri="{FF2B5EF4-FFF2-40B4-BE49-F238E27FC236}">
                  <a16:creationId xmlns:a16="http://schemas.microsoft.com/office/drawing/2014/main" id="{24869FB1-8A10-73E7-240D-CC0D3B107F2E}"/>
                </a:ext>
              </a:extLst>
            </p:cNvPr>
            <p:cNvSpPr/>
            <p:nvPr/>
          </p:nvSpPr>
          <p:spPr>
            <a:xfrm>
              <a:off x="16096200" y="4114800"/>
              <a:ext cx="6984000" cy="2340000"/>
            </a:xfrm>
            <a:prstGeom prst="rect">
              <a:avLst/>
            </a:prstGeom>
            <a:solidFill>
              <a:schemeClr val="accent2">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0000" tIns="90000" rIns="90000" bIns="90000" numCol="1" spcCol="38100" rtlCol="0" anchor="ctr">
              <a:noAutofit/>
            </a:bodyPr>
            <a:lstStyle/>
            <a:p>
              <a:pPr marL="0" marR="0" indent="0" defTabSz="822960" rtl="0" fontAlgn="auto" latinLnBrk="0" hangingPunct="0">
                <a:lnSpc>
                  <a:spcPct val="140000"/>
                </a:lnSpc>
                <a:spcBef>
                  <a:spcPts val="0"/>
                </a:spcBef>
                <a:spcAft>
                  <a:spcPts val="0"/>
                </a:spcAft>
                <a:buClrTx/>
                <a:buSzTx/>
                <a:buFontTx/>
                <a:buNone/>
                <a:tabLst/>
              </a:pPr>
              <a:r>
                <a:rPr kumimoji="0" lang="en-US" sz="3200" b="1" i="0" u="none" strike="noStrike" cap="none" spc="0" normalizeH="0" baseline="0">
                  <a:ln>
                    <a:noFill/>
                  </a:ln>
                  <a:solidFill>
                    <a:schemeClr val="bg1"/>
                  </a:solidFill>
                  <a:effectLst/>
                  <a:uFillTx/>
                  <a:latin typeface="+mn-lt"/>
                  <a:ea typeface="+mn-ea"/>
                  <a:cs typeface="+mn-cs"/>
                  <a:sym typeface="BentonSansF Book"/>
                </a:rPr>
                <a:t>Bureaucratic Hurdles:</a:t>
              </a:r>
            </a:p>
            <a:p>
              <a:pPr marL="0" marR="0" indent="0" defTabSz="822960" rtl="0" fontAlgn="auto" latinLnBrk="0" hangingPunct="0">
                <a:lnSpc>
                  <a:spcPct val="140000"/>
                </a:lnSpc>
                <a:spcBef>
                  <a:spcPts val="0"/>
                </a:spcBef>
                <a:spcAft>
                  <a:spcPts val="0"/>
                </a:spcAft>
                <a:buClrTx/>
                <a:buSzTx/>
                <a:buFontTx/>
                <a:buNone/>
                <a:tabLst/>
              </a:pPr>
              <a:r>
                <a:rPr lang="en-US" sz="2800" b="1">
                  <a:solidFill>
                    <a:schemeClr val="accent2">
                      <a:lumMod val="60000"/>
                      <a:lumOff val="40000"/>
                    </a:schemeClr>
                  </a:solidFill>
                  <a:uFillTx/>
                </a:rPr>
                <a:t>3 </a:t>
              </a:r>
              <a:r>
                <a:rPr kumimoji="0" lang="en-US" sz="2800" b="1" i="0" u="none" strike="noStrike" cap="none" spc="0" normalizeH="0" baseline="0">
                  <a:ln>
                    <a:noFill/>
                  </a:ln>
                  <a:solidFill>
                    <a:schemeClr val="accent2">
                      <a:lumMod val="60000"/>
                      <a:lumOff val="40000"/>
                    </a:schemeClr>
                  </a:solidFill>
                  <a:effectLst/>
                  <a:uFillTx/>
                  <a:latin typeface="+mn-lt"/>
                  <a:ea typeface="+mn-ea"/>
                  <a:cs typeface="+mn-cs"/>
                  <a:sym typeface="BentonSansF Book"/>
                </a:rPr>
                <a:t>different repair estimates</a:t>
              </a:r>
              <a:r>
                <a:rPr kumimoji="0" lang="en-US" sz="2800" b="1" i="0" u="none" strike="noStrike" cap="none" spc="0" normalizeH="0" baseline="0">
                  <a:ln>
                    <a:noFill/>
                  </a:ln>
                  <a:solidFill>
                    <a:schemeClr val="bg1"/>
                  </a:solidFill>
                  <a:effectLst/>
                  <a:uFillTx/>
                  <a:latin typeface="+mn-lt"/>
                  <a:ea typeface="+mn-ea"/>
                  <a:cs typeface="+mn-cs"/>
                  <a:sym typeface="BentonSansF Book"/>
                </a:rPr>
                <a:t> </a:t>
              </a:r>
              <a:r>
                <a:rPr kumimoji="0" lang="en-US" b="0" i="0" u="none" strike="noStrike" cap="none" spc="0" normalizeH="0" baseline="0">
                  <a:ln>
                    <a:noFill/>
                  </a:ln>
                  <a:solidFill>
                    <a:schemeClr val="bg1"/>
                  </a:solidFill>
                  <a:effectLst/>
                  <a:uFillTx/>
                  <a:latin typeface="+mn-lt"/>
                  <a:ea typeface="+mn-ea"/>
                  <a:cs typeface="+mn-cs"/>
                  <a:sym typeface="BentonSansF Book"/>
                </a:rPr>
                <a:t>are typically claimed by Insurance.</a:t>
              </a:r>
              <a:endParaRPr kumimoji="0" lang="en-US" sz="2800" b="0" i="0" u="none" strike="noStrike" cap="none" spc="0" normalizeH="0" baseline="0">
                <a:ln>
                  <a:noFill/>
                </a:ln>
                <a:solidFill>
                  <a:schemeClr val="bg1"/>
                </a:solidFill>
                <a:effectLst/>
                <a:uFillTx/>
                <a:latin typeface="+mn-lt"/>
                <a:ea typeface="+mn-ea"/>
                <a:cs typeface="+mn-cs"/>
                <a:sym typeface="BentonSansF Book"/>
              </a:endParaRPr>
            </a:p>
          </p:txBody>
        </p:sp>
        <p:pic>
          <p:nvPicPr>
            <p:cNvPr id="25" name="Graphic 24" descr="Circles with arrows with solid fill">
              <a:extLst>
                <a:ext uri="{FF2B5EF4-FFF2-40B4-BE49-F238E27FC236}">
                  <a16:creationId xmlns:a16="http://schemas.microsoft.com/office/drawing/2014/main" id="{DEE2916B-FE55-889C-EC2D-C8B0A2201162}"/>
                </a:ext>
              </a:extLst>
            </p:cNvPr>
            <p:cNvPicPr>
              <a:picLocks noChangeAspect="1"/>
            </p:cNvPicPr>
            <p:nvPr/>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6266000" y="4743268"/>
              <a:ext cx="1260000" cy="1260000"/>
            </a:xfrm>
            <a:prstGeom prst="rect">
              <a:avLst/>
            </a:prstGeom>
          </p:spPr>
        </p:pic>
      </p:grpSp>
      <p:grpSp>
        <p:nvGrpSpPr>
          <p:cNvPr id="26" name="Group 25">
            <a:extLst>
              <a:ext uri="{FF2B5EF4-FFF2-40B4-BE49-F238E27FC236}">
                <a16:creationId xmlns:a16="http://schemas.microsoft.com/office/drawing/2014/main" id="{268EDAAD-09D8-FD55-A9B7-BE5B0397661D}"/>
              </a:ext>
            </a:extLst>
          </p:cNvPr>
          <p:cNvGrpSpPr/>
          <p:nvPr/>
        </p:nvGrpSpPr>
        <p:grpSpPr>
          <a:xfrm>
            <a:off x="34216575" y="2630384"/>
            <a:ext cx="6984000" cy="2340000"/>
            <a:chOff x="8819100" y="4114800"/>
            <a:chExt cx="6984000" cy="2340000"/>
          </a:xfrm>
        </p:grpSpPr>
        <p:sp>
          <p:nvSpPr>
            <p:cNvPr id="27" name="Rectangle 26">
              <a:extLst>
                <a:ext uri="{FF2B5EF4-FFF2-40B4-BE49-F238E27FC236}">
                  <a16:creationId xmlns:a16="http://schemas.microsoft.com/office/drawing/2014/main" id="{B3F87174-C60D-6480-8A62-CFC99222C52E}"/>
                </a:ext>
              </a:extLst>
            </p:cNvPr>
            <p:cNvSpPr/>
            <p:nvPr/>
          </p:nvSpPr>
          <p:spPr>
            <a:xfrm>
              <a:off x="8819100" y="4114800"/>
              <a:ext cx="6984000" cy="2340000"/>
            </a:xfrm>
            <a:prstGeom prst="rect">
              <a:avLst/>
            </a:prstGeom>
            <a:solidFill>
              <a:schemeClr val="accent2">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0000" tIns="90000" rIns="90000" bIns="90000" numCol="1" spcCol="38100" rtlCol="0" anchor="ctr">
              <a:noAutofit/>
            </a:bodyPr>
            <a:lstStyle/>
            <a:p>
              <a:pPr marL="0" marR="0" indent="0" defTabSz="822960" rtl="0" fontAlgn="auto" latinLnBrk="0" hangingPunct="0">
                <a:lnSpc>
                  <a:spcPct val="140000"/>
                </a:lnSpc>
                <a:spcBef>
                  <a:spcPts val="0"/>
                </a:spcBef>
                <a:spcAft>
                  <a:spcPts val="0"/>
                </a:spcAft>
                <a:buClrTx/>
                <a:buSzTx/>
                <a:buFontTx/>
                <a:buNone/>
                <a:tabLst/>
              </a:pPr>
              <a:r>
                <a:rPr kumimoji="0" lang="en-US" sz="3200" b="1" i="0" u="none" strike="noStrike" cap="none" spc="0" normalizeH="0" baseline="0">
                  <a:ln>
                    <a:noFill/>
                  </a:ln>
                  <a:solidFill>
                    <a:schemeClr val="bg1"/>
                  </a:solidFill>
                  <a:effectLst/>
                  <a:uFillTx/>
                  <a:latin typeface="+mn-lt"/>
                  <a:ea typeface="+mn-ea"/>
                  <a:cs typeface="+mn-cs"/>
                  <a:sym typeface="BentonSansF Book"/>
                </a:rPr>
                <a:t>Trust Gap: </a:t>
              </a:r>
            </a:p>
            <a:p>
              <a:pPr marL="0" marR="0" indent="0" defTabSz="822960" rtl="0" fontAlgn="auto" latinLnBrk="0" hangingPunct="0">
                <a:lnSpc>
                  <a:spcPct val="140000"/>
                </a:lnSpc>
                <a:spcBef>
                  <a:spcPts val="0"/>
                </a:spcBef>
                <a:spcAft>
                  <a:spcPts val="0"/>
                </a:spcAft>
                <a:buClrTx/>
                <a:buSzTx/>
                <a:buFontTx/>
                <a:buNone/>
                <a:tabLst/>
              </a:pPr>
              <a:r>
                <a:rPr kumimoji="0" lang="en-US" sz="2800" b="1" i="0" u="none" strike="noStrike" cap="none" spc="0" normalizeH="0" baseline="0">
                  <a:ln>
                    <a:noFill/>
                  </a:ln>
                  <a:solidFill>
                    <a:schemeClr val="accent2">
                      <a:lumMod val="60000"/>
                      <a:lumOff val="40000"/>
                    </a:schemeClr>
                  </a:solidFill>
                  <a:effectLst/>
                  <a:uFillTx/>
                  <a:latin typeface="+mn-lt"/>
                  <a:ea typeface="+mn-ea"/>
                  <a:cs typeface="+mn-cs"/>
                  <a:sym typeface="BentonSansF Book"/>
                </a:rPr>
                <a:t>30% of customers </a:t>
              </a:r>
              <a:r>
                <a:rPr kumimoji="0" lang="en-US" i="0" u="none" strike="noStrike" cap="none" spc="0" normalizeH="0" baseline="0">
                  <a:ln>
                    <a:noFill/>
                  </a:ln>
                  <a:solidFill>
                    <a:schemeClr val="bg1"/>
                  </a:solidFill>
                  <a:effectLst/>
                  <a:uFillTx/>
                  <a:latin typeface="+mn-lt"/>
                  <a:ea typeface="+mn-ea"/>
                  <a:cs typeface="+mn-cs"/>
                  <a:sym typeface="BentonSansF Book"/>
                </a:rPr>
                <a:t>reported a lack of trust towards repair shops in the U.S.</a:t>
              </a:r>
              <a:endParaRPr kumimoji="0" lang="en-US" sz="2800" i="0" u="none" strike="noStrike" cap="none" spc="0" normalizeH="0" baseline="0">
                <a:ln>
                  <a:noFill/>
                </a:ln>
                <a:solidFill>
                  <a:schemeClr val="bg1"/>
                </a:solidFill>
                <a:effectLst/>
                <a:uFillTx/>
                <a:latin typeface="+mn-lt"/>
                <a:ea typeface="+mn-ea"/>
                <a:cs typeface="+mn-cs"/>
                <a:sym typeface="BentonSansF Book"/>
              </a:endParaRPr>
            </a:p>
          </p:txBody>
        </p:sp>
        <p:pic>
          <p:nvPicPr>
            <p:cNvPr id="28" name="Graphic 27" descr="Rating Star with solid fill">
              <a:extLst>
                <a:ext uri="{FF2B5EF4-FFF2-40B4-BE49-F238E27FC236}">
                  <a16:creationId xmlns:a16="http://schemas.microsoft.com/office/drawing/2014/main" id="{B395703B-F13F-CB98-F071-29C32EDF26F5}"/>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9126627" y="4808428"/>
              <a:ext cx="1080000" cy="1080000"/>
            </a:xfrm>
            <a:prstGeom prst="rect">
              <a:avLst/>
            </a:prstGeom>
          </p:spPr>
        </p:pic>
      </p:grpSp>
      <p:sp>
        <p:nvSpPr>
          <p:cNvPr id="30" name="TextBox 29">
            <a:extLst>
              <a:ext uri="{FF2B5EF4-FFF2-40B4-BE49-F238E27FC236}">
                <a16:creationId xmlns:a16="http://schemas.microsoft.com/office/drawing/2014/main" id="{6023FCF2-12AA-531B-3762-E577F8BA8981}"/>
              </a:ext>
            </a:extLst>
          </p:cNvPr>
          <p:cNvSpPr txBox="1"/>
          <p:nvPr/>
        </p:nvSpPr>
        <p:spPr>
          <a:xfrm>
            <a:off x="26864064" y="5297384"/>
            <a:ext cx="8530197" cy="498343"/>
          </a:xfrm>
          <a:prstGeom prst="rect">
            <a:avLst/>
          </a:prstGeom>
          <a:noFill/>
        </p:spPr>
        <p:txBody>
          <a:bodyPr vert="horz" wrap="none" lIns="90000" tIns="46800" rIns="90000" bIns="46800" rtlCol="0" anchor="ctr">
            <a:spAutoFit/>
          </a:bodyPr>
          <a:lstStyle/>
          <a:p>
            <a:pPr algn="l">
              <a:spcBef>
                <a:spcPct val="0"/>
              </a:spcBef>
            </a:pPr>
            <a:r>
              <a:rPr lang="en-US" sz="3200" b="1">
                <a:solidFill>
                  <a:schemeClr val="tx1"/>
                </a:solidFill>
                <a:latin typeface="+mj-lt"/>
              </a:rPr>
              <a:t>Pain points of a typical repair estimation process</a:t>
            </a:r>
          </a:p>
        </p:txBody>
      </p:sp>
      <p:sp>
        <p:nvSpPr>
          <p:cNvPr id="31" name="Richtungspfeil 11">
            <a:extLst>
              <a:ext uri="{FF2B5EF4-FFF2-40B4-BE49-F238E27FC236}">
                <a16:creationId xmlns:a16="http://schemas.microsoft.com/office/drawing/2014/main" id="{09424144-BC9F-A254-BCE7-4526C8AE1ECA}"/>
              </a:ext>
            </a:extLst>
          </p:cNvPr>
          <p:cNvSpPr/>
          <p:nvPr>
            <p:custDataLst>
              <p:tags r:id="rId9"/>
            </p:custDataLst>
          </p:nvPr>
        </p:nvSpPr>
        <p:spPr bwMode="auto">
          <a:xfrm>
            <a:off x="26986575" y="5927048"/>
            <a:ext cx="5343320" cy="936000"/>
          </a:xfrm>
          <a:prstGeom prst="homePlate">
            <a:avLst>
              <a:gd name="adj" fmla="val 18199"/>
            </a:avLst>
          </a:prstGeom>
          <a:solidFill>
            <a:schemeClr val="accent2">
              <a:lumMod val="75000"/>
            </a:schemeClr>
          </a:solidFill>
          <a:ln w="9525" cmpd="sng">
            <a:noFill/>
            <a:prstDash val="solid"/>
            <a:miter lim="800000"/>
            <a:headEnd/>
            <a:tailEnd/>
          </a:ln>
          <a:effectLst/>
        </p:spPr>
        <p:txBody>
          <a:bodyPr lIns="144000" tIns="108000" rIns="144000" bIns="108000" anchor="ctr"/>
          <a:lstStyle/>
          <a:p>
            <a:pPr algn="ctr">
              <a:spcBef>
                <a:spcPct val="0"/>
              </a:spcBef>
              <a:spcAft>
                <a:spcPct val="0"/>
              </a:spcAft>
            </a:pPr>
            <a:r>
              <a:rPr lang="en-US" sz="2800" b="1" i="0">
                <a:solidFill>
                  <a:schemeClr val="bg1"/>
                </a:solidFill>
                <a:effectLst/>
              </a:rPr>
              <a:t>Initial Inspection</a:t>
            </a:r>
            <a:endParaRPr lang="en-US" sz="3600" b="1">
              <a:solidFill>
                <a:schemeClr val="bg1"/>
              </a:solidFill>
            </a:endParaRPr>
          </a:p>
        </p:txBody>
      </p:sp>
      <p:sp>
        <p:nvSpPr>
          <p:cNvPr id="32" name="Eingekerbter Richtungspfeil 12">
            <a:extLst>
              <a:ext uri="{FF2B5EF4-FFF2-40B4-BE49-F238E27FC236}">
                <a16:creationId xmlns:a16="http://schemas.microsoft.com/office/drawing/2014/main" id="{CAD274E1-8B5A-E839-F5DB-F54DBC897ADE}"/>
              </a:ext>
            </a:extLst>
          </p:cNvPr>
          <p:cNvSpPr/>
          <p:nvPr>
            <p:custDataLst>
              <p:tags r:id="rId10"/>
            </p:custDataLst>
          </p:nvPr>
        </p:nvSpPr>
        <p:spPr bwMode="auto">
          <a:xfrm>
            <a:off x="43003467" y="5927048"/>
            <a:ext cx="5377308" cy="936000"/>
          </a:xfrm>
          <a:prstGeom prst="chevron">
            <a:avLst>
              <a:gd name="adj" fmla="val 18199"/>
            </a:avLst>
          </a:prstGeom>
          <a:solidFill>
            <a:schemeClr val="accent2">
              <a:lumMod val="75000"/>
            </a:schemeClr>
          </a:solidFill>
          <a:ln w="9525" cmpd="sng">
            <a:noFill/>
            <a:prstDash val="solid"/>
            <a:miter lim="800000"/>
            <a:headEnd/>
            <a:tailEnd/>
          </a:ln>
          <a:effectLst/>
        </p:spPr>
        <p:txBody>
          <a:bodyPr lIns="144000" tIns="108000" rIns="144000" bIns="108000" anchor="ctr"/>
          <a:lstStyle/>
          <a:p>
            <a:pPr algn="ctr">
              <a:spcBef>
                <a:spcPct val="0"/>
              </a:spcBef>
              <a:spcAft>
                <a:spcPct val="0"/>
              </a:spcAft>
            </a:pPr>
            <a:r>
              <a:rPr lang="en-US" sz="2800" b="1" i="0">
                <a:solidFill>
                  <a:schemeClr val="bg1"/>
                </a:solidFill>
                <a:effectLst/>
              </a:rPr>
              <a:t>Insurance Communication</a:t>
            </a:r>
            <a:endParaRPr lang="en-US" sz="3600" b="1">
              <a:solidFill>
                <a:schemeClr val="bg1"/>
              </a:solidFill>
            </a:endParaRPr>
          </a:p>
        </p:txBody>
      </p:sp>
      <p:sp>
        <p:nvSpPr>
          <p:cNvPr id="40" name="Eingekerbter Richtungspfeil 12">
            <a:extLst>
              <a:ext uri="{FF2B5EF4-FFF2-40B4-BE49-F238E27FC236}">
                <a16:creationId xmlns:a16="http://schemas.microsoft.com/office/drawing/2014/main" id="{F19D326A-8830-AA59-6D82-3BD955F7C5E2}"/>
              </a:ext>
            </a:extLst>
          </p:cNvPr>
          <p:cNvSpPr/>
          <p:nvPr>
            <p:custDataLst>
              <p:tags r:id="rId11"/>
            </p:custDataLst>
          </p:nvPr>
        </p:nvSpPr>
        <p:spPr bwMode="auto">
          <a:xfrm>
            <a:off x="37664501" y="5927048"/>
            <a:ext cx="5343320" cy="936000"/>
          </a:xfrm>
          <a:prstGeom prst="chevron">
            <a:avLst>
              <a:gd name="adj" fmla="val 18199"/>
            </a:avLst>
          </a:prstGeom>
          <a:solidFill>
            <a:schemeClr val="accent2">
              <a:lumMod val="75000"/>
            </a:schemeClr>
          </a:solidFill>
          <a:ln w="9525" cmpd="sng">
            <a:noFill/>
            <a:prstDash val="solid"/>
            <a:miter lim="800000"/>
            <a:headEnd/>
            <a:tailEnd/>
          </a:ln>
          <a:effectLst/>
        </p:spPr>
        <p:txBody>
          <a:bodyPr lIns="144000" tIns="108000" rIns="144000" bIns="108000" anchor="ctr"/>
          <a:lstStyle/>
          <a:p>
            <a:pPr algn="ctr"/>
            <a:r>
              <a:rPr lang="en-US" sz="2800" b="1">
                <a:solidFill>
                  <a:schemeClr val="bg1"/>
                </a:solidFill>
              </a:rPr>
              <a:t>Cost </a:t>
            </a:r>
            <a:r>
              <a:rPr lang="en-US" sz="2800" b="1" i="0">
                <a:solidFill>
                  <a:schemeClr val="bg1"/>
                </a:solidFill>
                <a:effectLst/>
              </a:rPr>
              <a:t>Estimate Preparation</a:t>
            </a:r>
            <a:endParaRPr lang="en-US" sz="2800" b="0" i="0">
              <a:solidFill>
                <a:schemeClr val="bg1"/>
              </a:solidFill>
              <a:effectLst/>
            </a:endParaRPr>
          </a:p>
        </p:txBody>
      </p:sp>
      <p:sp>
        <p:nvSpPr>
          <p:cNvPr id="41" name="Eingekerbter Richtungspfeil 12">
            <a:extLst>
              <a:ext uri="{FF2B5EF4-FFF2-40B4-BE49-F238E27FC236}">
                <a16:creationId xmlns:a16="http://schemas.microsoft.com/office/drawing/2014/main" id="{95BF087C-C182-60EC-9031-9E1331FCDC16}"/>
              </a:ext>
            </a:extLst>
          </p:cNvPr>
          <p:cNvSpPr/>
          <p:nvPr>
            <p:custDataLst>
              <p:tags r:id="rId12"/>
            </p:custDataLst>
          </p:nvPr>
        </p:nvSpPr>
        <p:spPr bwMode="auto">
          <a:xfrm>
            <a:off x="32325541" y="5927048"/>
            <a:ext cx="5343314" cy="936000"/>
          </a:xfrm>
          <a:prstGeom prst="chevron">
            <a:avLst>
              <a:gd name="adj" fmla="val 18199"/>
            </a:avLst>
          </a:prstGeom>
          <a:solidFill>
            <a:schemeClr val="accent2">
              <a:lumMod val="75000"/>
            </a:schemeClr>
          </a:solidFill>
          <a:ln w="9525" cmpd="sng">
            <a:noFill/>
            <a:prstDash val="solid"/>
            <a:miter lim="800000"/>
            <a:headEnd/>
            <a:tailEnd/>
          </a:ln>
          <a:effectLst/>
        </p:spPr>
        <p:txBody>
          <a:bodyPr lIns="144000" tIns="108000" rIns="144000" bIns="108000" anchor="ctr"/>
          <a:lstStyle/>
          <a:p>
            <a:pPr algn="ctr"/>
            <a:r>
              <a:rPr lang="en-US" sz="2800" b="1" i="0">
                <a:solidFill>
                  <a:schemeClr val="bg1"/>
                </a:solidFill>
                <a:effectLst/>
              </a:rPr>
              <a:t>Detailed Evaluation</a:t>
            </a:r>
            <a:endParaRPr lang="en-US" sz="2800" b="0" i="0">
              <a:solidFill>
                <a:schemeClr val="bg1"/>
              </a:solidFill>
              <a:effectLst/>
            </a:endParaRPr>
          </a:p>
        </p:txBody>
      </p:sp>
      <p:sp>
        <p:nvSpPr>
          <p:cNvPr id="42" name="Rectangle 15">
            <a:extLst>
              <a:ext uri="{FF2B5EF4-FFF2-40B4-BE49-F238E27FC236}">
                <a16:creationId xmlns:a16="http://schemas.microsoft.com/office/drawing/2014/main" id="{E92A7551-D905-EAB0-E91C-1ADA105E7B20}"/>
              </a:ext>
            </a:extLst>
          </p:cNvPr>
          <p:cNvSpPr txBox="1">
            <a:spLocks/>
          </p:cNvSpPr>
          <p:nvPr>
            <p:custDataLst>
              <p:tags r:id="rId13"/>
            </p:custDataLst>
          </p:nvPr>
        </p:nvSpPr>
        <p:spPr bwMode="auto">
          <a:xfrm>
            <a:off x="26986575" y="7070050"/>
            <a:ext cx="5178238" cy="2438400"/>
          </a:xfrm>
          <a:prstGeom prst="rect">
            <a:avLst/>
          </a:prstGeom>
          <a:solidFill>
            <a:schemeClr val="bg1">
              <a:lumMod val="95000"/>
            </a:schemeClr>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buFont typeface="Arial" panose="020B0604020202020204" pitchFamily="34" charset="0"/>
              <a:buChar char="•"/>
            </a:pPr>
            <a:r>
              <a:rPr lang="en-US" sz="2000" b="1" i="0">
                <a:solidFill>
                  <a:srgbClr val="0D0D0D"/>
                </a:solidFill>
                <a:effectLst/>
              </a:rPr>
              <a:t>Time Constraints</a:t>
            </a:r>
            <a:r>
              <a:rPr lang="en-US" sz="2000" b="0" i="0">
                <a:solidFill>
                  <a:srgbClr val="0D0D0D"/>
                </a:solidFill>
                <a:effectLst/>
              </a:rPr>
              <a:t>: High volume delays.</a:t>
            </a:r>
          </a:p>
          <a:p>
            <a:pPr marL="285750" indent="-285750" algn="l">
              <a:buFont typeface="Arial" panose="020B0604020202020204" pitchFamily="34" charset="0"/>
              <a:buChar char="•"/>
            </a:pPr>
            <a:r>
              <a:rPr lang="en-US" sz="2000" b="1" i="0">
                <a:solidFill>
                  <a:srgbClr val="0D0D0D"/>
                </a:solidFill>
                <a:effectLst/>
              </a:rPr>
              <a:t>Oversight Risk</a:t>
            </a:r>
            <a:r>
              <a:rPr lang="en-US" sz="2000" b="0" i="0">
                <a:solidFill>
                  <a:srgbClr val="0D0D0D"/>
                </a:solidFill>
                <a:effectLst/>
              </a:rPr>
              <a:t>: Potential missed damages.</a:t>
            </a:r>
          </a:p>
          <a:p>
            <a:pPr marL="285750" indent="-285750" algn="l">
              <a:buFont typeface="Arial" panose="020B0604020202020204" pitchFamily="34" charset="0"/>
              <a:buChar char="•"/>
            </a:pPr>
            <a:r>
              <a:rPr lang="en-US" sz="2000" b="1" i="0">
                <a:solidFill>
                  <a:srgbClr val="0D0D0D"/>
                </a:solidFill>
                <a:effectLst/>
              </a:rPr>
              <a:t>Physical Dependency</a:t>
            </a:r>
            <a:r>
              <a:rPr lang="en-US" sz="2000" b="0" i="0">
                <a:solidFill>
                  <a:srgbClr val="0D0D0D"/>
                </a:solidFill>
                <a:effectLst/>
              </a:rPr>
              <a:t>: In-person inspection needed.</a:t>
            </a:r>
          </a:p>
          <a:p>
            <a:pPr lvl="1"/>
            <a:endParaRPr lang="en-US" sz="2000"/>
          </a:p>
        </p:txBody>
      </p:sp>
      <p:sp>
        <p:nvSpPr>
          <p:cNvPr id="43" name="Rectangle 15">
            <a:extLst>
              <a:ext uri="{FF2B5EF4-FFF2-40B4-BE49-F238E27FC236}">
                <a16:creationId xmlns:a16="http://schemas.microsoft.com/office/drawing/2014/main" id="{1633A5AE-36C3-C684-BFCD-269C0DBE8DF1}"/>
              </a:ext>
            </a:extLst>
          </p:cNvPr>
          <p:cNvSpPr txBox="1">
            <a:spLocks/>
          </p:cNvSpPr>
          <p:nvPr>
            <p:custDataLst>
              <p:tags r:id="rId14"/>
            </p:custDataLst>
          </p:nvPr>
        </p:nvSpPr>
        <p:spPr bwMode="auto">
          <a:xfrm>
            <a:off x="32337203" y="7070049"/>
            <a:ext cx="5178238" cy="2438400"/>
          </a:xfrm>
          <a:prstGeom prst="rect">
            <a:avLst/>
          </a:prstGeom>
          <a:solidFill>
            <a:schemeClr val="bg1">
              <a:lumMod val="95000"/>
            </a:schemeClr>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buFont typeface="Arial" panose="020B0604020202020204" pitchFamily="34" charset="0"/>
              <a:buChar char="•"/>
            </a:pPr>
            <a:r>
              <a:rPr lang="en-US" sz="2000" b="1" i="0">
                <a:solidFill>
                  <a:srgbClr val="0D0D0D"/>
                </a:solidFill>
                <a:effectLst/>
              </a:rPr>
              <a:t>Labor Intensive</a:t>
            </a:r>
            <a:r>
              <a:rPr lang="en-US" sz="2000" b="0" i="0">
                <a:solidFill>
                  <a:srgbClr val="0D0D0D"/>
                </a:solidFill>
                <a:effectLst/>
              </a:rPr>
              <a:t>: Disassembly increases costs.</a:t>
            </a:r>
          </a:p>
          <a:p>
            <a:pPr marL="285750" indent="-285750" algn="l">
              <a:buFont typeface="Arial" panose="020B0604020202020204" pitchFamily="34" charset="0"/>
              <a:buChar char="•"/>
            </a:pPr>
            <a:r>
              <a:rPr lang="en-US" sz="2000" b="1" i="0">
                <a:solidFill>
                  <a:srgbClr val="0D0D0D"/>
                </a:solidFill>
                <a:effectLst/>
              </a:rPr>
              <a:t>Hidden Damage Risk</a:t>
            </a:r>
            <a:r>
              <a:rPr lang="en-US" sz="2000" b="0" i="0">
                <a:solidFill>
                  <a:srgbClr val="0D0D0D"/>
                </a:solidFill>
                <a:effectLst/>
              </a:rPr>
              <a:t>: Underestimation possible.</a:t>
            </a:r>
          </a:p>
          <a:p>
            <a:pPr marL="285750" indent="-285750" algn="l">
              <a:buFont typeface="Arial" panose="020B0604020202020204" pitchFamily="34" charset="0"/>
              <a:buChar char="•"/>
            </a:pPr>
            <a:r>
              <a:rPr lang="en-US" sz="2000" b="1" i="0">
                <a:solidFill>
                  <a:srgbClr val="0D0D0D"/>
                </a:solidFill>
                <a:effectLst/>
              </a:rPr>
              <a:t>Dependency</a:t>
            </a:r>
            <a:r>
              <a:rPr lang="en-US" sz="2000" b="0" i="0">
                <a:solidFill>
                  <a:srgbClr val="0D0D0D"/>
                </a:solidFill>
                <a:effectLst/>
              </a:rPr>
              <a:t>: Expertise and Advanced tools needed.</a:t>
            </a:r>
          </a:p>
        </p:txBody>
      </p:sp>
      <p:sp>
        <p:nvSpPr>
          <p:cNvPr id="44" name="Rectangle 15">
            <a:extLst>
              <a:ext uri="{FF2B5EF4-FFF2-40B4-BE49-F238E27FC236}">
                <a16:creationId xmlns:a16="http://schemas.microsoft.com/office/drawing/2014/main" id="{87CBDE49-B4B9-857F-D7A2-19DCA97B1030}"/>
              </a:ext>
            </a:extLst>
          </p:cNvPr>
          <p:cNvSpPr txBox="1">
            <a:spLocks/>
          </p:cNvSpPr>
          <p:nvPr>
            <p:custDataLst>
              <p:tags r:id="rId15"/>
            </p:custDataLst>
          </p:nvPr>
        </p:nvSpPr>
        <p:spPr bwMode="auto">
          <a:xfrm>
            <a:off x="37687831" y="7070050"/>
            <a:ext cx="5178238" cy="2438400"/>
          </a:xfrm>
          <a:prstGeom prst="rect">
            <a:avLst/>
          </a:prstGeom>
          <a:solidFill>
            <a:schemeClr val="bg1">
              <a:lumMod val="95000"/>
            </a:schemeClr>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buFont typeface="Arial" panose="020B0604020202020204" pitchFamily="34" charset="0"/>
              <a:buChar char="•"/>
            </a:pPr>
            <a:r>
              <a:rPr lang="en-US" sz="2000" b="1" i="0">
                <a:solidFill>
                  <a:srgbClr val="0D0D0D"/>
                </a:solidFill>
                <a:effectLst/>
              </a:rPr>
              <a:t>Error Prone</a:t>
            </a:r>
            <a:r>
              <a:rPr lang="en-US" sz="2000" b="0" i="0">
                <a:solidFill>
                  <a:srgbClr val="0D0D0D"/>
                </a:solidFill>
                <a:effectLst/>
              </a:rPr>
              <a:t>: Manual calculations introduce mistakes.</a:t>
            </a:r>
          </a:p>
          <a:p>
            <a:pPr marL="285750" indent="-285750" algn="l">
              <a:buFont typeface="Arial" panose="020B0604020202020204" pitchFamily="34" charset="0"/>
              <a:buChar char="•"/>
            </a:pPr>
            <a:r>
              <a:rPr lang="en-US" sz="2000" b="1" i="0">
                <a:solidFill>
                  <a:srgbClr val="0D0D0D"/>
                </a:solidFill>
                <a:effectLst/>
              </a:rPr>
              <a:t>Cost Variability</a:t>
            </a:r>
            <a:r>
              <a:rPr lang="en-US" sz="2000" b="0" i="0">
                <a:solidFill>
                  <a:srgbClr val="0D0D0D"/>
                </a:solidFill>
                <a:effectLst/>
              </a:rPr>
              <a:t>: Inconsistent parts and labor rates.</a:t>
            </a:r>
          </a:p>
          <a:p>
            <a:pPr marL="285750" indent="-285750" algn="l">
              <a:buFont typeface="Arial" panose="020B0604020202020204" pitchFamily="34" charset="0"/>
              <a:buChar char="•"/>
            </a:pPr>
            <a:r>
              <a:rPr lang="en-US" sz="2000" b="1" i="0">
                <a:solidFill>
                  <a:srgbClr val="0D0D0D"/>
                </a:solidFill>
                <a:effectLst/>
              </a:rPr>
              <a:t>Clarity Issues</a:t>
            </a:r>
            <a:r>
              <a:rPr lang="en-US" sz="2000" b="0" i="0">
                <a:solidFill>
                  <a:srgbClr val="0D0D0D"/>
                </a:solidFill>
                <a:effectLst/>
              </a:rPr>
              <a:t>: Misunderstandings about costs/details.</a:t>
            </a:r>
          </a:p>
        </p:txBody>
      </p:sp>
      <p:sp>
        <p:nvSpPr>
          <p:cNvPr id="45" name="Rectangle 15">
            <a:extLst>
              <a:ext uri="{FF2B5EF4-FFF2-40B4-BE49-F238E27FC236}">
                <a16:creationId xmlns:a16="http://schemas.microsoft.com/office/drawing/2014/main" id="{ECBB5260-6ACE-79D2-7B95-C1F318D88523}"/>
              </a:ext>
            </a:extLst>
          </p:cNvPr>
          <p:cNvSpPr txBox="1">
            <a:spLocks/>
          </p:cNvSpPr>
          <p:nvPr>
            <p:custDataLst>
              <p:tags r:id="rId16"/>
            </p:custDataLst>
          </p:nvPr>
        </p:nvSpPr>
        <p:spPr bwMode="auto">
          <a:xfrm>
            <a:off x="43038460" y="7070050"/>
            <a:ext cx="5178238" cy="2438400"/>
          </a:xfrm>
          <a:prstGeom prst="rect">
            <a:avLst/>
          </a:prstGeom>
          <a:solidFill>
            <a:schemeClr val="bg1">
              <a:lumMod val="95000"/>
            </a:schemeClr>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buFont typeface="Arial" panose="020B0604020202020204" pitchFamily="34" charset="0"/>
              <a:buChar char="•"/>
            </a:pPr>
            <a:r>
              <a:rPr lang="en-US" sz="2000" b="1" i="0">
                <a:solidFill>
                  <a:srgbClr val="0D0D0D"/>
                </a:solidFill>
                <a:effectLst/>
              </a:rPr>
              <a:t>Response Delays</a:t>
            </a:r>
            <a:r>
              <a:rPr lang="en-US" sz="2000" b="0" i="0">
                <a:solidFill>
                  <a:srgbClr val="0D0D0D"/>
                </a:solidFill>
                <a:effectLst/>
              </a:rPr>
              <a:t>: Slow insurance feedback.</a:t>
            </a:r>
          </a:p>
          <a:p>
            <a:pPr marL="285750" indent="-285750" algn="l">
              <a:buFont typeface="Arial" panose="020B0604020202020204" pitchFamily="34" charset="0"/>
              <a:buChar char="•"/>
            </a:pPr>
            <a:r>
              <a:rPr lang="en-US" sz="2000" b="1" i="0">
                <a:solidFill>
                  <a:srgbClr val="0D0D0D"/>
                </a:solidFill>
                <a:effectLst/>
              </a:rPr>
              <a:t>Dispute Potential</a:t>
            </a:r>
            <a:r>
              <a:rPr lang="en-US" sz="2000" b="0" i="0">
                <a:solidFill>
                  <a:srgbClr val="0D0D0D"/>
                </a:solidFill>
                <a:effectLst/>
              </a:rPr>
              <a:t>: Risk of estimate contention.</a:t>
            </a:r>
          </a:p>
          <a:p>
            <a:pPr marL="285750" indent="-285750" algn="l">
              <a:buFont typeface="Arial" panose="020B0604020202020204" pitchFamily="34" charset="0"/>
              <a:buChar char="•"/>
            </a:pPr>
            <a:r>
              <a:rPr lang="en-US" sz="2000" b="1" i="0">
                <a:solidFill>
                  <a:srgbClr val="0D0D0D"/>
                </a:solidFill>
                <a:effectLst/>
              </a:rPr>
              <a:t>Multiple Estimates</a:t>
            </a:r>
            <a:r>
              <a:rPr lang="en-US" sz="2000" b="0" i="0">
                <a:solidFill>
                  <a:srgbClr val="0D0D0D"/>
                </a:solidFill>
                <a:effectLst/>
              </a:rPr>
              <a:t>: Extended approval times.</a:t>
            </a:r>
          </a:p>
        </p:txBody>
      </p:sp>
      <p:sp>
        <p:nvSpPr>
          <p:cNvPr id="54" name="Rectangle 53">
            <a:extLst>
              <a:ext uri="{FF2B5EF4-FFF2-40B4-BE49-F238E27FC236}">
                <a16:creationId xmlns:a16="http://schemas.microsoft.com/office/drawing/2014/main" id="{91C475EB-E943-1046-FD31-1E69D120C11F}"/>
              </a:ext>
            </a:extLst>
          </p:cNvPr>
          <p:cNvSpPr/>
          <p:nvPr/>
        </p:nvSpPr>
        <p:spPr>
          <a:xfrm>
            <a:off x="26986575" y="9830348"/>
            <a:ext cx="21230123" cy="1410636"/>
          </a:xfrm>
          <a:prstGeom prst="rect">
            <a:avLst/>
          </a:prstGeom>
          <a:solidFill>
            <a:schemeClr val="accent2">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72000" tIns="90000" rIns="1800000" bIns="90000" numCol="1" spcCol="38100" rtlCol="0" anchor="ctr">
            <a:noAutofit/>
          </a:bodyPr>
          <a:lstStyle/>
          <a:p>
            <a:pPr marL="0" marR="0" indent="0" defTabSz="822960" rtl="0" fontAlgn="auto" latinLnBrk="0" hangingPunct="0">
              <a:lnSpc>
                <a:spcPct val="140000"/>
              </a:lnSpc>
              <a:spcBef>
                <a:spcPts val="0"/>
              </a:spcBef>
              <a:spcAft>
                <a:spcPts val="0"/>
              </a:spcAft>
              <a:buClrTx/>
              <a:buSzTx/>
              <a:buFontTx/>
              <a:buNone/>
              <a:tabLst/>
            </a:pPr>
            <a:r>
              <a:rPr lang="en-US" sz="2800" b="0" i="0">
                <a:solidFill>
                  <a:schemeClr val="bg1"/>
                </a:solidFill>
                <a:effectLst/>
              </a:rPr>
              <a:t>Tackling these pain points in car estimation is crucial for refining the process, leading to improved </a:t>
            </a:r>
            <a:r>
              <a:rPr lang="en-US" sz="2800" b="1" i="0">
                <a:solidFill>
                  <a:schemeClr val="accent2">
                    <a:lumMod val="60000"/>
                    <a:lumOff val="40000"/>
                  </a:schemeClr>
                </a:solidFill>
                <a:effectLst/>
              </a:rPr>
              <a:t>efficiency</a:t>
            </a:r>
            <a:r>
              <a:rPr lang="en-US" sz="2800" b="0" i="0">
                <a:solidFill>
                  <a:schemeClr val="bg1"/>
                </a:solidFill>
                <a:effectLst/>
              </a:rPr>
              <a:t>, </a:t>
            </a:r>
            <a:r>
              <a:rPr lang="en-US" sz="2800" b="1" i="0">
                <a:solidFill>
                  <a:schemeClr val="accent2">
                    <a:lumMod val="60000"/>
                    <a:lumOff val="40000"/>
                  </a:schemeClr>
                </a:solidFill>
                <a:effectLst/>
              </a:rPr>
              <a:t>precision</a:t>
            </a:r>
            <a:r>
              <a:rPr lang="en-US" sz="2800" b="0" i="0">
                <a:solidFill>
                  <a:schemeClr val="bg1"/>
                </a:solidFill>
                <a:effectLst/>
              </a:rPr>
              <a:t>, and </a:t>
            </a:r>
            <a:r>
              <a:rPr lang="en-US" sz="2800" b="1" i="0">
                <a:solidFill>
                  <a:schemeClr val="accent2">
                    <a:lumMod val="60000"/>
                    <a:lumOff val="40000"/>
                  </a:schemeClr>
                </a:solidFill>
                <a:effectLst/>
              </a:rPr>
              <a:t>clarity</a:t>
            </a:r>
            <a:r>
              <a:rPr lang="en-US" sz="2800" b="0" i="0">
                <a:solidFill>
                  <a:schemeClr val="bg1"/>
                </a:solidFill>
                <a:effectLst/>
              </a:rPr>
              <a:t> in assessing both damages and costs.</a:t>
            </a:r>
            <a:endParaRPr kumimoji="0" lang="en-US" sz="3600" b="0" i="0" u="none" strike="noStrike" cap="none" spc="0" normalizeH="0" baseline="0">
              <a:ln>
                <a:noFill/>
              </a:ln>
              <a:solidFill>
                <a:schemeClr val="bg1"/>
              </a:solidFill>
              <a:effectLst/>
              <a:uFillTx/>
              <a:ea typeface="+mn-ea"/>
              <a:cs typeface="+mn-cs"/>
              <a:sym typeface="BentonSansF Book"/>
            </a:endParaRPr>
          </a:p>
        </p:txBody>
      </p:sp>
      <p:pic>
        <p:nvPicPr>
          <p:cNvPr id="55" name="Graphic 54" descr="Lightbulb and pencil with solid fill">
            <a:extLst>
              <a:ext uri="{FF2B5EF4-FFF2-40B4-BE49-F238E27FC236}">
                <a16:creationId xmlns:a16="http://schemas.microsoft.com/office/drawing/2014/main" id="{39A7289C-48D4-4542-E7D7-FACC2DE59AB0}"/>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27406212" y="10078466"/>
            <a:ext cx="914400" cy="914400"/>
          </a:xfrm>
          <a:prstGeom prst="rect">
            <a:avLst/>
          </a:prstGeom>
        </p:spPr>
      </p:pic>
      <p:sp>
        <p:nvSpPr>
          <p:cNvPr id="6" name="TextBox 5">
            <a:extLst>
              <a:ext uri="{FF2B5EF4-FFF2-40B4-BE49-F238E27FC236}">
                <a16:creationId xmlns:a16="http://schemas.microsoft.com/office/drawing/2014/main" id="{607816EA-225F-5BB5-8BBE-C9455BD59FB0}"/>
              </a:ext>
            </a:extLst>
          </p:cNvPr>
          <p:cNvSpPr txBox="1"/>
          <p:nvPr/>
        </p:nvSpPr>
        <p:spPr>
          <a:xfrm>
            <a:off x="3640668" y="13080821"/>
            <a:ext cx="13161132" cy="4983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algn="r">
              <a:lnSpc>
                <a:spcPct val="120000"/>
              </a:lnSpc>
            </a:pPr>
            <a:r>
              <a:rPr kumimoji="0" lang="en-US" sz="1600" b="0" i="0" u="none" strike="noStrike" cap="none" spc="0" normalizeH="0" baseline="30000">
                <a:ln>
                  <a:noFill/>
                </a:ln>
                <a:solidFill>
                  <a:srgbClr val="6F6F6F"/>
                </a:solidFill>
                <a:effectLst/>
                <a:uFillTx/>
                <a:cs typeface="Arial" panose="020B0604020202020204" pitchFamily="34" charset="0"/>
                <a:sym typeface="BentonSansF Book"/>
              </a:rPr>
              <a:t>1</a:t>
            </a:r>
            <a:r>
              <a:rPr kumimoji="0" lang="en-US" sz="1600" b="0" i="0" strike="noStrike" cap="none" spc="0" normalizeH="0" baseline="0">
                <a:ln>
                  <a:noFill/>
                </a:ln>
                <a:solidFill>
                  <a:schemeClr val="accent6">
                    <a:lumMod val="50000"/>
                  </a:schemeClr>
                </a:solidFill>
                <a:effectLst/>
                <a:uFill>
                  <a:solidFill>
                    <a:schemeClr val="accent1">
                      <a:lumOff val="-57413"/>
                    </a:schemeClr>
                  </a:solidFill>
                </a:uFill>
                <a:sym typeface="BentonSansF Book"/>
                <a:hlinkClick r:id="rId35">
                  <a:extLst>
                    <a:ext uri="{A12FA001-AC4F-418D-AE19-62706E023703}">
                      <ahyp:hlinkClr xmlns:ahyp="http://schemas.microsoft.com/office/drawing/2018/hyperlinkcolor" val="tx"/>
                    </a:ext>
                  </a:extLst>
                </a:hlinkClick>
              </a:rPr>
              <a:t> Overview</a:t>
            </a:r>
            <a:r>
              <a:rPr lang="en-US" sz="1600">
                <a:solidFill>
                  <a:schemeClr val="accent6">
                    <a:lumMod val="50000"/>
                  </a:schemeClr>
                </a:solidFill>
                <a:hlinkClick r:id="rId35">
                  <a:extLst>
                    <a:ext uri="{A12FA001-AC4F-418D-AE19-62706E023703}">
                      <ahyp:hlinkClr xmlns:ahyp="http://schemas.microsoft.com/office/drawing/2018/hyperlinkcolor" val="tx"/>
                    </a:ext>
                  </a:extLst>
                </a:hlinkClick>
              </a:rPr>
              <a:t> Car Accident Statistics</a:t>
            </a:r>
            <a:r>
              <a:rPr lang="en-US" sz="1600">
                <a:solidFill>
                  <a:schemeClr val="accent6">
                    <a:lumMod val="50000"/>
                  </a:schemeClr>
                </a:solidFill>
              </a:rPr>
              <a:t>   | </a:t>
            </a:r>
            <a:r>
              <a:rPr lang="en-US" sz="1600" baseline="30000">
                <a:solidFill>
                  <a:srgbClr val="6F6F6F"/>
                </a:solidFill>
                <a:uFillTx/>
                <a:cs typeface="Arial" panose="020B0604020202020204" pitchFamily="34" charset="0"/>
              </a:rPr>
              <a:t>2</a:t>
            </a:r>
            <a:r>
              <a:rPr lang="en-US" sz="1600">
                <a:solidFill>
                  <a:schemeClr val="accent6">
                    <a:lumMod val="50000"/>
                  </a:schemeClr>
                </a:solidFill>
              </a:rPr>
              <a:t> </a:t>
            </a:r>
            <a:r>
              <a:rPr lang="en-US" sz="1600">
                <a:solidFill>
                  <a:schemeClr val="accent6">
                    <a:lumMod val="50000"/>
                  </a:schemeClr>
                </a:solidFill>
                <a:hlinkClick r:id="rId36">
                  <a:extLst>
                    <a:ext uri="{A12FA001-AC4F-418D-AE19-62706E023703}">
                      <ahyp:hlinkClr xmlns:ahyp="http://schemas.microsoft.com/office/drawing/2018/hyperlinkcolor" val="tx"/>
                    </a:ext>
                  </a:extLst>
                </a:hlinkClick>
              </a:rPr>
              <a:t>Car Insurance Trust Blog</a:t>
            </a:r>
            <a:r>
              <a:rPr lang="en-US" sz="1600">
                <a:solidFill>
                  <a:schemeClr val="accent6">
                    <a:lumMod val="50000"/>
                  </a:schemeClr>
                </a:solidFill>
              </a:rPr>
              <a:t>  | </a:t>
            </a:r>
            <a:r>
              <a:rPr lang="en-US" sz="1600" baseline="30000">
                <a:solidFill>
                  <a:srgbClr val="6F6F6F"/>
                </a:solidFill>
                <a:uFillTx/>
                <a:cs typeface="Arial" panose="020B0604020202020204" pitchFamily="34" charset="0"/>
              </a:rPr>
              <a:t>3</a:t>
            </a:r>
            <a:r>
              <a:rPr lang="en-US" sz="1600">
                <a:solidFill>
                  <a:schemeClr val="accent6">
                    <a:lumMod val="50000"/>
                  </a:schemeClr>
                </a:solidFill>
              </a:rPr>
              <a:t> </a:t>
            </a:r>
            <a:r>
              <a:rPr lang="en-US" sz="1600">
                <a:solidFill>
                  <a:schemeClr val="accent6">
                    <a:lumMod val="50000"/>
                  </a:schemeClr>
                </a:solidFill>
                <a:hlinkClick r:id="rId37">
                  <a:extLst>
                    <a:ext uri="{A12FA001-AC4F-418D-AE19-62706E023703}">
                      <ahyp:hlinkClr xmlns:ahyp="http://schemas.microsoft.com/office/drawing/2018/hyperlinkcolor" val="tx"/>
                    </a:ext>
                  </a:extLst>
                </a:hlinkClick>
              </a:rPr>
              <a:t>Auto Repair Industry Statistics</a:t>
            </a:r>
            <a:endParaRPr kumimoji="0" lang="en-US" sz="1600" b="0" i="0" strike="noStrike" cap="none" spc="0" normalizeH="0" baseline="0">
              <a:ln>
                <a:noFill/>
              </a:ln>
              <a:solidFill>
                <a:schemeClr val="accent6">
                  <a:lumMod val="50000"/>
                </a:schemeClr>
              </a:solidFill>
              <a:effectLst/>
              <a:uFill>
                <a:solidFill>
                  <a:schemeClr val="accent1">
                    <a:lumOff val="-57413"/>
                  </a:schemeClr>
                </a:solidFill>
              </a:uFill>
              <a:latin typeface="+mn-lt"/>
              <a:ea typeface="+mn-ea"/>
              <a:cs typeface="+mn-cs"/>
              <a:sym typeface="BentonSansF Book"/>
            </a:endParaRPr>
          </a:p>
        </p:txBody>
      </p:sp>
      <p:sp>
        <p:nvSpPr>
          <p:cNvPr id="9" name="TextBox 8">
            <a:extLst>
              <a:ext uri="{FF2B5EF4-FFF2-40B4-BE49-F238E27FC236}">
                <a16:creationId xmlns:a16="http://schemas.microsoft.com/office/drawing/2014/main" id="{6390BECD-8079-3079-D291-D398161EA248}"/>
              </a:ext>
            </a:extLst>
          </p:cNvPr>
          <p:cNvSpPr txBox="1"/>
          <p:nvPr/>
        </p:nvSpPr>
        <p:spPr>
          <a:xfrm>
            <a:off x="9407769" y="-1723292"/>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GB" sz="28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sp>
        <p:nvSpPr>
          <p:cNvPr id="3" name="Footer Placeholder 3">
            <a:extLst>
              <a:ext uri="{FF2B5EF4-FFF2-40B4-BE49-F238E27FC236}">
                <a16:creationId xmlns:a16="http://schemas.microsoft.com/office/drawing/2014/main" id="{B037263D-11A0-0964-8E02-DD363545923E}"/>
              </a:ext>
            </a:extLst>
          </p:cNvPr>
          <p:cNvSpPr>
            <a:spLocks noGrp="1"/>
          </p:cNvSpPr>
          <p:nvPr>
            <p:ph type="ftr" sz="quarter" idx="11"/>
          </p:nvPr>
        </p:nvSpPr>
        <p:spPr>
          <a:xfrm>
            <a:off x="17403229" y="13025875"/>
            <a:ext cx="5205944" cy="369328"/>
          </a:xfrm>
        </p:spPr>
        <p:txBody>
          <a:bodyPr/>
          <a:lstStyle>
            <a:lvl1pPr>
              <a:defRPr b="0" i="0"/>
            </a:lvl1pPr>
          </a:lstStyle>
          <a:p>
            <a:r>
              <a:rPr lang="en-US"/>
              <a:t>AI Genies | Claire the Car Repair Assessment Agent</a:t>
            </a:r>
            <a:endParaRPr lang="de-DE"/>
          </a:p>
        </p:txBody>
      </p:sp>
    </p:spTree>
    <p:extLst>
      <p:ext uri="{BB962C8B-B14F-4D97-AF65-F5344CB8AC3E}">
        <p14:creationId xmlns:p14="http://schemas.microsoft.com/office/powerpoint/2010/main" val="349598071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0D2E5-47F2-9FD0-62E9-2860C50D196B}"/>
              </a:ext>
            </a:extLst>
          </p:cNvPr>
          <p:cNvSpPr>
            <a:spLocks noGrp="1"/>
          </p:cNvSpPr>
          <p:nvPr>
            <p:ph type="title"/>
          </p:nvPr>
        </p:nvSpPr>
        <p:spPr>
          <a:xfrm>
            <a:off x="1763673" y="1828800"/>
            <a:ext cx="20845501" cy="997196"/>
          </a:xfrm>
        </p:spPr>
        <p:txBody>
          <a:bodyPr/>
          <a:lstStyle/>
          <a:p>
            <a:r>
              <a:rPr lang="en-US" b="0">
                <a:latin typeface="Times New Roman"/>
                <a:cs typeface="Arial"/>
              </a:rPr>
              <a:t>Various Users Could Benefit from Streamlining the Repair Estimation Process </a:t>
            </a:r>
            <a:endParaRPr lang="en-US"/>
          </a:p>
        </p:txBody>
      </p:sp>
      <p:sp>
        <p:nvSpPr>
          <p:cNvPr id="4" name="Text Placeholder 3">
            <a:extLst>
              <a:ext uri="{FF2B5EF4-FFF2-40B4-BE49-F238E27FC236}">
                <a16:creationId xmlns:a16="http://schemas.microsoft.com/office/drawing/2014/main" id="{3B667888-B63F-D3B4-D9B1-823EFD31CAEA}"/>
              </a:ext>
            </a:extLst>
          </p:cNvPr>
          <p:cNvSpPr>
            <a:spLocks noGrp="1"/>
          </p:cNvSpPr>
          <p:nvPr>
            <p:ph type="body" sz="quarter" idx="26"/>
          </p:nvPr>
        </p:nvSpPr>
        <p:spPr>
          <a:xfrm>
            <a:off x="1791401" y="859704"/>
            <a:ext cx="20845501" cy="307777"/>
          </a:xfrm>
        </p:spPr>
        <p:txBody>
          <a:bodyPr/>
          <a:lstStyle/>
          <a:p>
            <a:r>
              <a:rPr lang="en-US">
                <a:latin typeface="+mn-lt"/>
              </a:rPr>
              <a:t>Target Users</a:t>
            </a:r>
          </a:p>
        </p:txBody>
      </p:sp>
      <p:sp>
        <p:nvSpPr>
          <p:cNvPr id="7" name="Slide Number Placeholder 6">
            <a:extLst>
              <a:ext uri="{FF2B5EF4-FFF2-40B4-BE49-F238E27FC236}">
                <a16:creationId xmlns:a16="http://schemas.microsoft.com/office/drawing/2014/main" id="{659214A2-9950-465A-7809-E997685A8AB3}"/>
              </a:ext>
            </a:extLst>
          </p:cNvPr>
          <p:cNvSpPr>
            <a:spLocks noGrp="1"/>
          </p:cNvSpPr>
          <p:nvPr>
            <p:ph type="sldNum" sz="quarter" idx="12"/>
          </p:nvPr>
        </p:nvSpPr>
        <p:spPr/>
        <p:txBody>
          <a:bodyPr/>
          <a:lstStyle/>
          <a:p>
            <a:fld id="{F4562D32-726A-4413-ACA3-4E6BD640C7C8}" type="slidenum">
              <a:rPr lang="de-DE" smtClean="0"/>
              <a:pPr/>
              <a:t>3</a:t>
            </a:fld>
            <a:endParaRPr lang="de-DE"/>
          </a:p>
        </p:txBody>
      </p:sp>
      <p:grpSp>
        <p:nvGrpSpPr>
          <p:cNvPr id="22" name="Group 21">
            <a:extLst>
              <a:ext uri="{FF2B5EF4-FFF2-40B4-BE49-F238E27FC236}">
                <a16:creationId xmlns:a16="http://schemas.microsoft.com/office/drawing/2014/main" id="{CF977C8C-A444-C696-4AAC-B4CA383CBF6F}"/>
              </a:ext>
            </a:extLst>
          </p:cNvPr>
          <p:cNvGrpSpPr/>
          <p:nvPr/>
        </p:nvGrpSpPr>
        <p:grpSpPr>
          <a:xfrm>
            <a:off x="41446575" y="2630384"/>
            <a:ext cx="6984000" cy="2340000"/>
            <a:chOff x="16096200" y="4114800"/>
            <a:chExt cx="6984000" cy="2340000"/>
          </a:xfrm>
        </p:grpSpPr>
        <p:sp>
          <p:nvSpPr>
            <p:cNvPr id="23" name="Rectangle 22">
              <a:extLst>
                <a:ext uri="{FF2B5EF4-FFF2-40B4-BE49-F238E27FC236}">
                  <a16:creationId xmlns:a16="http://schemas.microsoft.com/office/drawing/2014/main" id="{24869FB1-8A10-73E7-240D-CC0D3B107F2E}"/>
                </a:ext>
              </a:extLst>
            </p:cNvPr>
            <p:cNvSpPr/>
            <p:nvPr/>
          </p:nvSpPr>
          <p:spPr>
            <a:xfrm>
              <a:off x="16096200" y="4114800"/>
              <a:ext cx="6984000" cy="2340000"/>
            </a:xfrm>
            <a:prstGeom prst="rect">
              <a:avLst/>
            </a:prstGeom>
            <a:solidFill>
              <a:schemeClr val="accent2">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0000" tIns="90000" rIns="90000" bIns="90000" numCol="1" spcCol="38100" rtlCol="0" anchor="ctr">
              <a:noAutofit/>
            </a:bodyPr>
            <a:lstStyle/>
            <a:p>
              <a:pPr marL="0" marR="0" indent="0" defTabSz="822960" rtl="0" fontAlgn="auto" latinLnBrk="0" hangingPunct="0">
                <a:lnSpc>
                  <a:spcPct val="140000"/>
                </a:lnSpc>
                <a:spcBef>
                  <a:spcPts val="0"/>
                </a:spcBef>
                <a:spcAft>
                  <a:spcPts val="0"/>
                </a:spcAft>
                <a:buClrTx/>
                <a:buSzTx/>
                <a:buFontTx/>
                <a:buNone/>
                <a:tabLst/>
              </a:pPr>
              <a:r>
                <a:rPr kumimoji="0" lang="en-US" sz="3200" b="1" i="0" u="none" strike="noStrike" cap="none" spc="0" normalizeH="0" baseline="0">
                  <a:ln>
                    <a:noFill/>
                  </a:ln>
                  <a:solidFill>
                    <a:schemeClr val="bg1"/>
                  </a:solidFill>
                  <a:effectLst/>
                  <a:uFillTx/>
                  <a:latin typeface="+mn-lt"/>
                  <a:ea typeface="+mn-ea"/>
                  <a:cs typeface="+mn-cs"/>
                  <a:sym typeface="BentonSansF Book"/>
                </a:rPr>
                <a:t>Bureaucratic Hurdles:</a:t>
              </a:r>
            </a:p>
            <a:p>
              <a:pPr marL="0" marR="0" indent="0" defTabSz="822960" rtl="0" fontAlgn="auto" latinLnBrk="0" hangingPunct="0">
                <a:lnSpc>
                  <a:spcPct val="140000"/>
                </a:lnSpc>
                <a:spcBef>
                  <a:spcPts val="0"/>
                </a:spcBef>
                <a:spcAft>
                  <a:spcPts val="0"/>
                </a:spcAft>
                <a:buClrTx/>
                <a:buSzTx/>
                <a:buFontTx/>
                <a:buNone/>
                <a:tabLst/>
              </a:pPr>
              <a:r>
                <a:rPr lang="en-US" sz="2800" b="1">
                  <a:solidFill>
                    <a:schemeClr val="accent2">
                      <a:lumMod val="60000"/>
                      <a:lumOff val="40000"/>
                    </a:schemeClr>
                  </a:solidFill>
                  <a:uFillTx/>
                </a:rPr>
                <a:t>3 </a:t>
              </a:r>
              <a:r>
                <a:rPr kumimoji="0" lang="en-US" sz="2800" b="1" i="0" u="none" strike="noStrike" cap="none" spc="0" normalizeH="0" baseline="0">
                  <a:ln>
                    <a:noFill/>
                  </a:ln>
                  <a:solidFill>
                    <a:schemeClr val="accent2">
                      <a:lumMod val="60000"/>
                      <a:lumOff val="40000"/>
                    </a:schemeClr>
                  </a:solidFill>
                  <a:effectLst/>
                  <a:uFillTx/>
                  <a:latin typeface="+mn-lt"/>
                  <a:ea typeface="+mn-ea"/>
                  <a:cs typeface="+mn-cs"/>
                  <a:sym typeface="BentonSansF Book"/>
                </a:rPr>
                <a:t>different repair estimates</a:t>
              </a:r>
              <a:r>
                <a:rPr kumimoji="0" lang="en-US" sz="2800" b="1" i="0" u="none" strike="noStrike" cap="none" spc="0" normalizeH="0" baseline="0">
                  <a:ln>
                    <a:noFill/>
                  </a:ln>
                  <a:solidFill>
                    <a:schemeClr val="bg1"/>
                  </a:solidFill>
                  <a:effectLst/>
                  <a:uFillTx/>
                  <a:latin typeface="+mn-lt"/>
                  <a:ea typeface="+mn-ea"/>
                  <a:cs typeface="+mn-cs"/>
                  <a:sym typeface="BentonSansF Book"/>
                </a:rPr>
                <a:t> </a:t>
              </a:r>
              <a:r>
                <a:rPr kumimoji="0" lang="en-US" b="0" i="0" u="none" strike="noStrike" cap="none" spc="0" normalizeH="0" baseline="0">
                  <a:ln>
                    <a:noFill/>
                  </a:ln>
                  <a:solidFill>
                    <a:schemeClr val="bg1"/>
                  </a:solidFill>
                  <a:effectLst/>
                  <a:uFillTx/>
                  <a:latin typeface="+mn-lt"/>
                  <a:ea typeface="+mn-ea"/>
                  <a:cs typeface="+mn-cs"/>
                  <a:sym typeface="BentonSansF Book"/>
                </a:rPr>
                <a:t>are typically claimed by Insurance.</a:t>
              </a:r>
              <a:endParaRPr kumimoji="0" lang="en-US" sz="2800" b="0" i="0" u="none" strike="noStrike" cap="none" spc="0" normalizeH="0" baseline="0">
                <a:ln>
                  <a:noFill/>
                </a:ln>
                <a:solidFill>
                  <a:schemeClr val="bg1"/>
                </a:solidFill>
                <a:effectLst/>
                <a:uFillTx/>
                <a:latin typeface="+mn-lt"/>
                <a:ea typeface="+mn-ea"/>
                <a:cs typeface="+mn-cs"/>
                <a:sym typeface="BentonSansF Book"/>
              </a:endParaRPr>
            </a:p>
          </p:txBody>
        </p:sp>
        <p:pic>
          <p:nvPicPr>
            <p:cNvPr id="25" name="Graphic 24" descr="Circles with arrows with solid fill">
              <a:extLst>
                <a:ext uri="{FF2B5EF4-FFF2-40B4-BE49-F238E27FC236}">
                  <a16:creationId xmlns:a16="http://schemas.microsoft.com/office/drawing/2014/main" id="{DEE2916B-FE55-889C-EC2D-C8B0A2201162}"/>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6266000" y="4743268"/>
              <a:ext cx="1260000" cy="1260000"/>
            </a:xfrm>
            <a:prstGeom prst="rect">
              <a:avLst/>
            </a:prstGeom>
          </p:spPr>
        </p:pic>
      </p:grpSp>
      <p:sp>
        <p:nvSpPr>
          <p:cNvPr id="32" name="Eingekerbter Richtungspfeil 12">
            <a:extLst>
              <a:ext uri="{FF2B5EF4-FFF2-40B4-BE49-F238E27FC236}">
                <a16:creationId xmlns:a16="http://schemas.microsoft.com/office/drawing/2014/main" id="{CAD274E1-8B5A-E839-F5DB-F54DBC897ADE}"/>
              </a:ext>
            </a:extLst>
          </p:cNvPr>
          <p:cNvSpPr/>
          <p:nvPr>
            <p:custDataLst>
              <p:tags r:id="rId1"/>
            </p:custDataLst>
          </p:nvPr>
        </p:nvSpPr>
        <p:spPr bwMode="auto">
          <a:xfrm>
            <a:off x="43003467" y="5927048"/>
            <a:ext cx="5377308" cy="936000"/>
          </a:xfrm>
          <a:prstGeom prst="chevron">
            <a:avLst>
              <a:gd name="adj" fmla="val 18199"/>
            </a:avLst>
          </a:prstGeom>
          <a:solidFill>
            <a:schemeClr val="accent2">
              <a:lumMod val="75000"/>
            </a:schemeClr>
          </a:solidFill>
          <a:ln w="9525" cmpd="sng">
            <a:noFill/>
            <a:prstDash val="solid"/>
            <a:miter lim="800000"/>
            <a:headEnd/>
            <a:tailEnd/>
          </a:ln>
          <a:effectLst/>
        </p:spPr>
        <p:txBody>
          <a:bodyPr lIns="144000" tIns="108000" rIns="144000" bIns="108000" anchor="ctr"/>
          <a:lstStyle/>
          <a:p>
            <a:pPr algn="ctr">
              <a:spcBef>
                <a:spcPct val="0"/>
              </a:spcBef>
              <a:spcAft>
                <a:spcPct val="0"/>
              </a:spcAft>
            </a:pPr>
            <a:r>
              <a:rPr lang="en-US" sz="2800" b="1" i="0">
                <a:solidFill>
                  <a:schemeClr val="bg1"/>
                </a:solidFill>
                <a:effectLst/>
              </a:rPr>
              <a:t>Insurance Communication</a:t>
            </a:r>
            <a:endParaRPr lang="en-US" sz="3600" b="1">
              <a:solidFill>
                <a:schemeClr val="bg1"/>
              </a:solidFill>
            </a:endParaRPr>
          </a:p>
        </p:txBody>
      </p:sp>
      <p:sp>
        <p:nvSpPr>
          <p:cNvPr id="45" name="Rectangle 15">
            <a:extLst>
              <a:ext uri="{FF2B5EF4-FFF2-40B4-BE49-F238E27FC236}">
                <a16:creationId xmlns:a16="http://schemas.microsoft.com/office/drawing/2014/main" id="{ECBB5260-6ACE-79D2-7B95-C1F318D88523}"/>
              </a:ext>
            </a:extLst>
          </p:cNvPr>
          <p:cNvSpPr txBox="1">
            <a:spLocks/>
          </p:cNvSpPr>
          <p:nvPr>
            <p:custDataLst>
              <p:tags r:id="rId2"/>
            </p:custDataLst>
          </p:nvPr>
        </p:nvSpPr>
        <p:spPr bwMode="auto">
          <a:xfrm>
            <a:off x="43038460" y="7070050"/>
            <a:ext cx="5178238" cy="2438400"/>
          </a:xfrm>
          <a:prstGeom prst="rect">
            <a:avLst/>
          </a:prstGeom>
          <a:solidFill>
            <a:schemeClr val="bg1">
              <a:lumMod val="95000"/>
            </a:schemeClr>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buFont typeface="Arial" panose="020B0604020202020204" pitchFamily="34" charset="0"/>
              <a:buChar char="•"/>
            </a:pPr>
            <a:r>
              <a:rPr lang="en-US" sz="2000" b="1" i="0">
                <a:solidFill>
                  <a:srgbClr val="0D0D0D"/>
                </a:solidFill>
                <a:effectLst/>
              </a:rPr>
              <a:t>Response Delays</a:t>
            </a:r>
            <a:r>
              <a:rPr lang="en-US" sz="2000" b="0" i="0">
                <a:solidFill>
                  <a:srgbClr val="0D0D0D"/>
                </a:solidFill>
                <a:effectLst/>
              </a:rPr>
              <a:t>: Slow insurance feedback.</a:t>
            </a:r>
          </a:p>
          <a:p>
            <a:pPr marL="285750" indent="-285750" algn="l">
              <a:buFont typeface="Arial" panose="020B0604020202020204" pitchFamily="34" charset="0"/>
              <a:buChar char="•"/>
            </a:pPr>
            <a:r>
              <a:rPr lang="en-US" sz="2000" b="1" i="0">
                <a:solidFill>
                  <a:srgbClr val="0D0D0D"/>
                </a:solidFill>
                <a:effectLst/>
              </a:rPr>
              <a:t>Dispute Potential</a:t>
            </a:r>
            <a:r>
              <a:rPr lang="en-US" sz="2000" b="0" i="0">
                <a:solidFill>
                  <a:srgbClr val="0D0D0D"/>
                </a:solidFill>
                <a:effectLst/>
              </a:rPr>
              <a:t>: Risk of estimate contention.</a:t>
            </a:r>
          </a:p>
          <a:p>
            <a:pPr marL="285750" indent="-285750" algn="l">
              <a:buFont typeface="Arial" panose="020B0604020202020204" pitchFamily="34" charset="0"/>
              <a:buChar char="•"/>
            </a:pPr>
            <a:r>
              <a:rPr lang="en-US" sz="2000" b="1" i="0">
                <a:solidFill>
                  <a:srgbClr val="0D0D0D"/>
                </a:solidFill>
                <a:effectLst/>
              </a:rPr>
              <a:t>Multiple Estimates</a:t>
            </a:r>
            <a:r>
              <a:rPr lang="en-US" sz="2000" b="0" i="0">
                <a:solidFill>
                  <a:srgbClr val="0D0D0D"/>
                </a:solidFill>
                <a:effectLst/>
              </a:rPr>
              <a:t>: Extended approval times.</a:t>
            </a:r>
          </a:p>
        </p:txBody>
      </p:sp>
      <p:pic>
        <p:nvPicPr>
          <p:cNvPr id="18" name="Graphic 17" descr="Crash with solid fill">
            <a:extLst>
              <a:ext uri="{FF2B5EF4-FFF2-40B4-BE49-F238E27FC236}">
                <a16:creationId xmlns:a16="http://schemas.microsoft.com/office/drawing/2014/main" id="{C5B71CC8-F402-ED48-F8F6-EC5A66BB2846}"/>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969857" y="4801814"/>
            <a:ext cx="1260000" cy="1260000"/>
          </a:xfrm>
          <a:prstGeom prst="rect">
            <a:avLst/>
          </a:prstGeom>
        </p:spPr>
      </p:pic>
      <p:sp>
        <p:nvSpPr>
          <p:cNvPr id="38" name="Rectangle 15">
            <a:extLst>
              <a:ext uri="{FF2B5EF4-FFF2-40B4-BE49-F238E27FC236}">
                <a16:creationId xmlns:a16="http://schemas.microsoft.com/office/drawing/2014/main" id="{1CEC041A-1F42-A1B6-A5B4-0096CC8602C9}"/>
              </a:ext>
            </a:extLst>
          </p:cNvPr>
          <p:cNvSpPr txBox="1">
            <a:spLocks/>
          </p:cNvSpPr>
          <p:nvPr>
            <p:custDataLst>
              <p:tags r:id="rId3"/>
            </p:custDataLst>
          </p:nvPr>
        </p:nvSpPr>
        <p:spPr bwMode="auto">
          <a:xfrm>
            <a:off x="1724538" y="4496525"/>
            <a:ext cx="6781802" cy="2752125"/>
          </a:xfrm>
          <a:prstGeom prst="rect">
            <a:avLst/>
          </a:prstGeom>
          <a:solidFill>
            <a:srgbClr val="EFF2FF"/>
          </a:solidFill>
          <a:ln w="50800">
            <a:solidFill>
              <a:srgbClr val="416CF9"/>
            </a:solidFill>
          </a:ln>
          <a:effectLst>
            <a:outerShdw blurRad="50800" dist="38100" dir="5400000" algn="t" rotWithShape="0">
              <a:prstClr val="black">
                <a:alpha val="40000"/>
              </a:prstClr>
            </a:outerShdw>
          </a:effectLst>
        </p:spPr>
        <p:txBody>
          <a:bodyPr vert="horz" wrap="square" lIns="1872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buFont typeface="Arial" panose="020B0604020202020204" pitchFamily="34" charset="0"/>
              <a:buChar char="•"/>
            </a:pPr>
            <a:r>
              <a:rPr lang="en-US" sz="2000" b="1">
                <a:solidFill>
                  <a:srgbClr val="0E176D"/>
                </a:solidFill>
                <a:effectLst/>
              </a:rPr>
              <a:t>Efficiency Boost</a:t>
            </a:r>
            <a:r>
              <a:rPr lang="en-US" sz="2000">
                <a:solidFill>
                  <a:srgbClr val="0E176D"/>
                </a:solidFill>
                <a:effectLst/>
              </a:rPr>
              <a:t>: </a:t>
            </a:r>
            <a:r>
              <a:rPr lang="en-US" sz="2000">
                <a:solidFill>
                  <a:srgbClr val="0D0D0D"/>
                </a:solidFill>
                <a:effectLst/>
              </a:rPr>
              <a:t>Speedier, more accurate estimate generation.</a:t>
            </a:r>
          </a:p>
          <a:p>
            <a:pPr marL="285750" indent="-285750" algn="l">
              <a:buFont typeface="Arial" panose="020B0604020202020204" pitchFamily="34" charset="0"/>
              <a:buChar char="•"/>
            </a:pPr>
            <a:r>
              <a:rPr lang="en-US" sz="2000" b="1">
                <a:solidFill>
                  <a:srgbClr val="0E176D"/>
                </a:solidFill>
                <a:effectLst/>
              </a:rPr>
              <a:t>Reputation Enhancement</a:t>
            </a:r>
            <a:r>
              <a:rPr lang="en-US" sz="2000">
                <a:solidFill>
                  <a:srgbClr val="0E176D"/>
                </a:solidFill>
                <a:effectLst/>
              </a:rPr>
              <a:t>: </a:t>
            </a:r>
            <a:r>
              <a:rPr lang="en-US" sz="2000">
                <a:solidFill>
                  <a:srgbClr val="0D0D0D"/>
                </a:solidFill>
                <a:effectLst/>
              </a:rPr>
              <a:t>Trustworthiness through precise estimates.</a:t>
            </a:r>
          </a:p>
          <a:p>
            <a:pPr marL="285750" indent="-285750" algn="l">
              <a:buFont typeface="Arial" panose="020B0604020202020204" pitchFamily="34" charset="0"/>
              <a:buChar char="•"/>
            </a:pPr>
            <a:r>
              <a:rPr lang="en-US" sz="2000" b="1">
                <a:solidFill>
                  <a:srgbClr val="0E176D"/>
                </a:solidFill>
                <a:effectLst/>
              </a:rPr>
              <a:t>Workflow Optimization</a:t>
            </a:r>
            <a:r>
              <a:rPr lang="en-US" sz="2000">
                <a:solidFill>
                  <a:srgbClr val="416CF9"/>
                </a:solidFill>
                <a:effectLst/>
              </a:rPr>
              <a:t>: </a:t>
            </a:r>
            <a:r>
              <a:rPr lang="en-US" sz="2000">
                <a:solidFill>
                  <a:srgbClr val="0D0D0D"/>
                </a:solidFill>
                <a:effectLst/>
              </a:rPr>
              <a:t>Streamlined processes reduce operational bottlenecks.</a:t>
            </a:r>
            <a:endParaRPr lang="en-US" sz="2000"/>
          </a:p>
        </p:txBody>
      </p:sp>
      <p:grpSp>
        <p:nvGrpSpPr>
          <p:cNvPr id="68" name="Graphic 7">
            <a:extLst>
              <a:ext uri="{FF2B5EF4-FFF2-40B4-BE49-F238E27FC236}">
                <a16:creationId xmlns:a16="http://schemas.microsoft.com/office/drawing/2014/main" id="{05CC3D7C-FDF1-BF8A-D9F0-1CE18EDD248D}"/>
              </a:ext>
            </a:extLst>
          </p:cNvPr>
          <p:cNvGrpSpPr>
            <a:grpSpLocks noChangeAspect="1"/>
          </p:cNvGrpSpPr>
          <p:nvPr/>
        </p:nvGrpSpPr>
        <p:grpSpPr>
          <a:xfrm>
            <a:off x="2139342" y="4800604"/>
            <a:ext cx="927555" cy="949783"/>
            <a:chOff x="5870452" y="3144979"/>
            <a:chExt cx="449639" cy="460408"/>
          </a:xfrm>
          <a:solidFill>
            <a:srgbClr val="0E176D"/>
          </a:solidFill>
        </p:grpSpPr>
        <p:sp>
          <p:nvSpPr>
            <p:cNvPr id="69" name="Freeform: Shape 68">
              <a:extLst>
                <a:ext uri="{FF2B5EF4-FFF2-40B4-BE49-F238E27FC236}">
                  <a16:creationId xmlns:a16="http://schemas.microsoft.com/office/drawing/2014/main" id="{F7E4B771-8A8E-8003-F8F8-8ACC9EC21181}"/>
                </a:ext>
              </a:extLst>
            </p:cNvPr>
            <p:cNvSpPr/>
            <p:nvPr/>
          </p:nvSpPr>
          <p:spPr>
            <a:xfrm>
              <a:off x="5957957" y="3144979"/>
              <a:ext cx="201934" cy="201933"/>
            </a:xfrm>
            <a:custGeom>
              <a:avLst/>
              <a:gdLst>
                <a:gd name="connsiteX0" fmla="*/ 100967 w 201933"/>
                <a:gd name="connsiteY0" fmla="*/ 201933 h 201933"/>
                <a:gd name="connsiteX1" fmla="*/ 0 w 201933"/>
                <a:gd name="connsiteY1" fmla="*/ 100967 h 201933"/>
                <a:gd name="connsiteX2" fmla="*/ 100967 w 201933"/>
                <a:gd name="connsiteY2" fmla="*/ 0 h 201933"/>
                <a:gd name="connsiteX3" fmla="*/ 201934 w 201933"/>
                <a:gd name="connsiteY3" fmla="*/ 100967 h 201933"/>
                <a:gd name="connsiteX4" fmla="*/ 100967 w 201933"/>
                <a:gd name="connsiteY4" fmla="*/ 201933 h 201933"/>
                <a:gd name="connsiteX5" fmla="*/ 100967 w 201933"/>
                <a:gd name="connsiteY5" fmla="*/ 13462 h 201933"/>
                <a:gd name="connsiteX6" fmla="*/ 13462 w 201933"/>
                <a:gd name="connsiteY6" fmla="*/ 100967 h 201933"/>
                <a:gd name="connsiteX7" fmla="*/ 100967 w 201933"/>
                <a:gd name="connsiteY7" fmla="*/ 188471 h 201933"/>
                <a:gd name="connsiteX8" fmla="*/ 188471 w 201933"/>
                <a:gd name="connsiteY8" fmla="*/ 100967 h 201933"/>
                <a:gd name="connsiteX9" fmla="*/ 100967 w 201933"/>
                <a:gd name="connsiteY9" fmla="*/ 13462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933" h="201933">
                  <a:moveTo>
                    <a:pt x="100967" y="201933"/>
                  </a:moveTo>
                  <a:cubicBezTo>
                    <a:pt x="45772" y="201933"/>
                    <a:pt x="0" y="156162"/>
                    <a:pt x="0" y="100967"/>
                  </a:cubicBezTo>
                  <a:cubicBezTo>
                    <a:pt x="0" y="45772"/>
                    <a:pt x="45772" y="0"/>
                    <a:pt x="100967" y="0"/>
                  </a:cubicBezTo>
                  <a:cubicBezTo>
                    <a:pt x="156162" y="0"/>
                    <a:pt x="201934" y="45772"/>
                    <a:pt x="201934" y="100967"/>
                  </a:cubicBezTo>
                  <a:cubicBezTo>
                    <a:pt x="201934" y="156162"/>
                    <a:pt x="156162" y="201933"/>
                    <a:pt x="100967" y="201933"/>
                  </a:cubicBezTo>
                  <a:close/>
                  <a:moveTo>
                    <a:pt x="100967" y="13462"/>
                  </a:moveTo>
                  <a:cubicBezTo>
                    <a:pt x="52503" y="13462"/>
                    <a:pt x="13462" y="52503"/>
                    <a:pt x="13462" y="100967"/>
                  </a:cubicBezTo>
                  <a:cubicBezTo>
                    <a:pt x="13462" y="149431"/>
                    <a:pt x="52503" y="188471"/>
                    <a:pt x="100967" y="188471"/>
                  </a:cubicBezTo>
                  <a:cubicBezTo>
                    <a:pt x="149431" y="188471"/>
                    <a:pt x="188471" y="149431"/>
                    <a:pt x="188471" y="100967"/>
                  </a:cubicBezTo>
                  <a:cubicBezTo>
                    <a:pt x="188471" y="52503"/>
                    <a:pt x="149431" y="13462"/>
                    <a:pt x="100967" y="13462"/>
                  </a:cubicBezTo>
                  <a:close/>
                </a:path>
              </a:pathLst>
            </a:custGeom>
            <a:grpFill/>
            <a:ln w="13447" cap="flat">
              <a:solidFill>
                <a:srgbClr val="0E176D"/>
              </a:solid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E614AF1-6048-0C39-04C4-D3755E6DBA6D}"/>
                </a:ext>
              </a:extLst>
            </p:cNvPr>
            <p:cNvSpPr/>
            <p:nvPr/>
          </p:nvSpPr>
          <p:spPr>
            <a:xfrm>
              <a:off x="5870452" y="3368452"/>
              <a:ext cx="309631" cy="215396"/>
            </a:xfrm>
            <a:custGeom>
              <a:avLst/>
              <a:gdLst>
                <a:gd name="connsiteX0" fmla="*/ 249051 w 309631"/>
                <a:gd name="connsiteY0" fmla="*/ 220781 h 215395"/>
                <a:gd name="connsiteX1" fmla="*/ 41733 w 309631"/>
                <a:gd name="connsiteY1" fmla="*/ 220781 h 215395"/>
                <a:gd name="connsiteX2" fmla="*/ 0 w 309631"/>
                <a:gd name="connsiteY2" fmla="*/ 180394 h 215395"/>
                <a:gd name="connsiteX3" fmla="*/ 0 w 309631"/>
                <a:gd name="connsiteY3" fmla="*/ 121160 h 215395"/>
                <a:gd name="connsiteX4" fmla="*/ 121160 w 309631"/>
                <a:gd name="connsiteY4" fmla="*/ 0 h 215395"/>
                <a:gd name="connsiteX5" fmla="*/ 255782 w 309631"/>
                <a:gd name="connsiteY5" fmla="*/ 0 h 215395"/>
                <a:gd name="connsiteX6" fmla="*/ 316363 w 309631"/>
                <a:gd name="connsiteY6" fmla="*/ 16155 h 215395"/>
                <a:gd name="connsiteX7" fmla="*/ 319055 w 309631"/>
                <a:gd name="connsiteY7" fmla="*/ 25578 h 215395"/>
                <a:gd name="connsiteX8" fmla="*/ 309631 w 309631"/>
                <a:gd name="connsiteY8" fmla="*/ 28271 h 215395"/>
                <a:gd name="connsiteX9" fmla="*/ 255782 w 309631"/>
                <a:gd name="connsiteY9" fmla="*/ 13462 h 215395"/>
                <a:gd name="connsiteX10" fmla="*/ 121160 w 309631"/>
                <a:gd name="connsiteY10" fmla="*/ 13462 h 215395"/>
                <a:gd name="connsiteX11" fmla="*/ 13462 w 309631"/>
                <a:gd name="connsiteY11" fmla="*/ 121160 h 215395"/>
                <a:gd name="connsiteX12" fmla="*/ 13462 w 309631"/>
                <a:gd name="connsiteY12" fmla="*/ 180394 h 215395"/>
                <a:gd name="connsiteX13" fmla="*/ 41733 w 309631"/>
                <a:gd name="connsiteY13" fmla="*/ 207318 h 215395"/>
                <a:gd name="connsiteX14" fmla="*/ 249051 w 309631"/>
                <a:gd name="connsiteY14" fmla="*/ 207318 h 215395"/>
                <a:gd name="connsiteX15" fmla="*/ 255782 w 309631"/>
                <a:gd name="connsiteY15" fmla="*/ 214049 h 215395"/>
                <a:gd name="connsiteX16" fmla="*/ 249051 w 309631"/>
                <a:gd name="connsiteY16" fmla="*/ 220781 h 215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9631" h="215395">
                  <a:moveTo>
                    <a:pt x="249051" y="220781"/>
                  </a:moveTo>
                  <a:lnTo>
                    <a:pt x="41733" y="220781"/>
                  </a:lnTo>
                  <a:cubicBezTo>
                    <a:pt x="18847" y="220781"/>
                    <a:pt x="0" y="203280"/>
                    <a:pt x="0" y="180394"/>
                  </a:cubicBezTo>
                  <a:lnTo>
                    <a:pt x="0" y="121160"/>
                  </a:lnTo>
                  <a:cubicBezTo>
                    <a:pt x="0" y="55195"/>
                    <a:pt x="53849" y="0"/>
                    <a:pt x="121160" y="0"/>
                  </a:cubicBezTo>
                  <a:lnTo>
                    <a:pt x="255782" y="0"/>
                  </a:lnTo>
                  <a:cubicBezTo>
                    <a:pt x="275976" y="0"/>
                    <a:pt x="297515" y="5385"/>
                    <a:pt x="316363" y="16155"/>
                  </a:cubicBezTo>
                  <a:cubicBezTo>
                    <a:pt x="319055" y="17501"/>
                    <a:pt x="320401" y="21540"/>
                    <a:pt x="319055" y="25578"/>
                  </a:cubicBezTo>
                  <a:cubicBezTo>
                    <a:pt x="317709" y="28271"/>
                    <a:pt x="313670" y="29617"/>
                    <a:pt x="309631" y="28271"/>
                  </a:cubicBezTo>
                  <a:cubicBezTo>
                    <a:pt x="292131" y="18847"/>
                    <a:pt x="274630" y="13462"/>
                    <a:pt x="255782" y="13462"/>
                  </a:cubicBezTo>
                  <a:lnTo>
                    <a:pt x="121160" y="13462"/>
                  </a:lnTo>
                  <a:cubicBezTo>
                    <a:pt x="61926" y="13462"/>
                    <a:pt x="13462" y="61926"/>
                    <a:pt x="13462" y="121160"/>
                  </a:cubicBezTo>
                  <a:lnTo>
                    <a:pt x="13462" y="180394"/>
                  </a:lnTo>
                  <a:cubicBezTo>
                    <a:pt x="13462" y="195202"/>
                    <a:pt x="25578" y="207318"/>
                    <a:pt x="41733" y="207318"/>
                  </a:cubicBezTo>
                  <a:lnTo>
                    <a:pt x="249051" y="207318"/>
                  </a:lnTo>
                  <a:cubicBezTo>
                    <a:pt x="253090" y="207318"/>
                    <a:pt x="255782" y="210011"/>
                    <a:pt x="255782" y="214049"/>
                  </a:cubicBezTo>
                  <a:cubicBezTo>
                    <a:pt x="255782" y="218088"/>
                    <a:pt x="253090" y="220781"/>
                    <a:pt x="249051" y="220781"/>
                  </a:cubicBezTo>
                  <a:close/>
                </a:path>
              </a:pathLst>
            </a:custGeom>
            <a:grpFill/>
            <a:ln w="13447" cap="flat">
              <a:solidFill>
                <a:srgbClr val="0E176D"/>
              </a:solid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1F65BF5-42CA-C056-7E5C-9604C01FA2BF}"/>
                </a:ext>
              </a:extLst>
            </p:cNvPr>
            <p:cNvSpPr/>
            <p:nvPr/>
          </p:nvSpPr>
          <p:spPr>
            <a:xfrm>
              <a:off x="6189507" y="3476150"/>
              <a:ext cx="67311" cy="67311"/>
            </a:xfrm>
            <a:custGeom>
              <a:avLst/>
              <a:gdLst>
                <a:gd name="connsiteX0" fmla="*/ 35002 w 67311"/>
                <a:gd name="connsiteY0" fmla="*/ 70004 h 67311"/>
                <a:gd name="connsiteX1" fmla="*/ 0 w 67311"/>
                <a:gd name="connsiteY1" fmla="*/ 35002 h 67311"/>
                <a:gd name="connsiteX2" fmla="*/ 35002 w 67311"/>
                <a:gd name="connsiteY2" fmla="*/ 0 h 67311"/>
                <a:gd name="connsiteX3" fmla="*/ 70004 w 67311"/>
                <a:gd name="connsiteY3" fmla="*/ 35002 h 67311"/>
                <a:gd name="connsiteX4" fmla="*/ 35002 w 67311"/>
                <a:gd name="connsiteY4" fmla="*/ 70004 h 67311"/>
                <a:gd name="connsiteX5" fmla="*/ 35002 w 67311"/>
                <a:gd name="connsiteY5" fmla="*/ 12116 h 67311"/>
                <a:gd name="connsiteX6" fmla="*/ 13462 w 67311"/>
                <a:gd name="connsiteY6" fmla="*/ 33656 h 67311"/>
                <a:gd name="connsiteX7" fmla="*/ 35002 w 67311"/>
                <a:gd name="connsiteY7" fmla="*/ 55195 h 67311"/>
                <a:gd name="connsiteX8" fmla="*/ 57888 w 67311"/>
                <a:gd name="connsiteY8" fmla="*/ 33656 h 67311"/>
                <a:gd name="connsiteX9" fmla="*/ 35002 w 67311"/>
                <a:gd name="connsiteY9" fmla="*/ 12116 h 6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11" h="67311">
                  <a:moveTo>
                    <a:pt x="35002" y="70004"/>
                  </a:moveTo>
                  <a:cubicBezTo>
                    <a:pt x="14808" y="70004"/>
                    <a:pt x="0" y="53849"/>
                    <a:pt x="0" y="35002"/>
                  </a:cubicBezTo>
                  <a:cubicBezTo>
                    <a:pt x="0" y="16155"/>
                    <a:pt x="16155" y="0"/>
                    <a:pt x="35002" y="0"/>
                  </a:cubicBezTo>
                  <a:cubicBezTo>
                    <a:pt x="55195" y="0"/>
                    <a:pt x="70004" y="16155"/>
                    <a:pt x="70004" y="35002"/>
                  </a:cubicBezTo>
                  <a:cubicBezTo>
                    <a:pt x="70004" y="53849"/>
                    <a:pt x="55195" y="70004"/>
                    <a:pt x="35002" y="70004"/>
                  </a:cubicBezTo>
                  <a:close/>
                  <a:moveTo>
                    <a:pt x="35002" y="12116"/>
                  </a:moveTo>
                  <a:cubicBezTo>
                    <a:pt x="22886" y="12116"/>
                    <a:pt x="13462" y="21540"/>
                    <a:pt x="13462" y="33656"/>
                  </a:cubicBezTo>
                  <a:cubicBezTo>
                    <a:pt x="13462" y="45772"/>
                    <a:pt x="22886" y="55195"/>
                    <a:pt x="35002" y="55195"/>
                  </a:cubicBezTo>
                  <a:cubicBezTo>
                    <a:pt x="47118" y="55195"/>
                    <a:pt x="57888" y="45772"/>
                    <a:pt x="57888" y="33656"/>
                  </a:cubicBezTo>
                  <a:cubicBezTo>
                    <a:pt x="57888" y="21540"/>
                    <a:pt x="47118" y="12116"/>
                    <a:pt x="35002" y="12116"/>
                  </a:cubicBezTo>
                  <a:close/>
                </a:path>
              </a:pathLst>
            </a:custGeom>
            <a:grpFill/>
            <a:ln w="13447" cap="flat">
              <a:solidFill>
                <a:srgbClr val="0E176D"/>
              </a:solid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AE62871B-F920-A920-3C1D-A0187C695386}"/>
                </a:ext>
              </a:extLst>
            </p:cNvPr>
            <p:cNvSpPr/>
            <p:nvPr/>
          </p:nvSpPr>
          <p:spPr>
            <a:xfrm>
              <a:off x="6118157" y="3403454"/>
              <a:ext cx="201934" cy="201933"/>
            </a:xfrm>
            <a:custGeom>
              <a:avLst/>
              <a:gdLst>
                <a:gd name="connsiteX0" fmla="*/ 117121 w 201933"/>
                <a:gd name="connsiteY0" fmla="*/ 214049 h 201933"/>
                <a:gd name="connsiteX1" fmla="*/ 96928 w 201933"/>
                <a:gd name="connsiteY1" fmla="*/ 214049 h 201933"/>
                <a:gd name="connsiteX2" fmla="*/ 90197 w 201933"/>
                <a:gd name="connsiteY2" fmla="*/ 210011 h 201933"/>
                <a:gd name="connsiteX3" fmla="*/ 82120 w 201933"/>
                <a:gd name="connsiteY3" fmla="*/ 185779 h 201933"/>
                <a:gd name="connsiteX4" fmla="*/ 67311 w 201933"/>
                <a:gd name="connsiteY4" fmla="*/ 181740 h 201933"/>
                <a:gd name="connsiteX5" fmla="*/ 41733 w 201933"/>
                <a:gd name="connsiteY5" fmla="*/ 191164 h 201933"/>
                <a:gd name="connsiteX6" fmla="*/ 35002 w 201933"/>
                <a:gd name="connsiteY6" fmla="*/ 189817 h 201933"/>
                <a:gd name="connsiteX7" fmla="*/ 24232 w 201933"/>
                <a:gd name="connsiteY7" fmla="*/ 179048 h 201933"/>
                <a:gd name="connsiteX8" fmla="*/ 22886 w 201933"/>
                <a:gd name="connsiteY8" fmla="*/ 172317 h 201933"/>
                <a:gd name="connsiteX9" fmla="*/ 32309 w 201933"/>
                <a:gd name="connsiteY9" fmla="*/ 146738 h 201933"/>
                <a:gd name="connsiteX10" fmla="*/ 28271 w 201933"/>
                <a:gd name="connsiteY10" fmla="*/ 131930 h 201933"/>
                <a:gd name="connsiteX11" fmla="*/ 4039 w 201933"/>
                <a:gd name="connsiteY11" fmla="*/ 123852 h 201933"/>
                <a:gd name="connsiteX12" fmla="*/ 0 w 201933"/>
                <a:gd name="connsiteY12" fmla="*/ 117121 h 201933"/>
                <a:gd name="connsiteX13" fmla="*/ 0 w 201933"/>
                <a:gd name="connsiteY13" fmla="*/ 96928 h 201933"/>
                <a:gd name="connsiteX14" fmla="*/ 4039 w 201933"/>
                <a:gd name="connsiteY14" fmla="*/ 90197 h 201933"/>
                <a:gd name="connsiteX15" fmla="*/ 28271 w 201933"/>
                <a:gd name="connsiteY15" fmla="*/ 82120 h 201933"/>
                <a:gd name="connsiteX16" fmla="*/ 32309 w 201933"/>
                <a:gd name="connsiteY16" fmla="*/ 67311 h 201933"/>
                <a:gd name="connsiteX17" fmla="*/ 22886 w 201933"/>
                <a:gd name="connsiteY17" fmla="*/ 41733 h 201933"/>
                <a:gd name="connsiteX18" fmla="*/ 24232 w 201933"/>
                <a:gd name="connsiteY18" fmla="*/ 35002 h 201933"/>
                <a:gd name="connsiteX19" fmla="*/ 35002 w 201933"/>
                <a:gd name="connsiteY19" fmla="*/ 24232 h 201933"/>
                <a:gd name="connsiteX20" fmla="*/ 41733 w 201933"/>
                <a:gd name="connsiteY20" fmla="*/ 22886 h 201933"/>
                <a:gd name="connsiteX21" fmla="*/ 67311 w 201933"/>
                <a:gd name="connsiteY21" fmla="*/ 32309 h 201933"/>
                <a:gd name="connsiteX22" fmla="*/ 82120 w 201933"/>
                <a:gd name="connsiteY22" fmla="*/ 28271 h 201933"/>
                <a:gd name="connsiteX23" fmla="*/ 90197 w 201933"/>
                <a:gd name="connsiteY23" fmla="*/ 4039 h 201933"/>
                <a:gd name="connsiteX24" fmla="*/ 96928 w 201933"/>
                <a:gd name="connsiteY24" fmla="*/ 0 h 201933"/>
                <a:gd name="connsiteX25" fmla="*/ 117121 w 201933"/>
                <a:gd name="connsiteY25" fmla="*/ 0 h 201933"/>
                <a:gd name="connsiteX26" fmla="*/ 123853 w 201933"/>
                <a:gd name="connsiteY26" fmla="*/ 4039 h 201933"/>
                <a:gd name="connsiteX27" fmla="*/ 131930 w 201933"/>
                <a:gd name="connsiteY27" fmla="*/ 28271 h 201933"/>
                <a:gd name="connsiteX28" fmla="*/ 146738 w 201933"/>
                <a:gd name="connsiteY28" fmla="*/ 32309 h 201933"/>
                <a:gd name="connsiteX29" fmla="*/ 172317 w 201933"/>
                <a:gd name="connsiteY29" fmla="*/ 22886 h 201933"/>
                <a:gd name="connsiteX30" fmla="*/ 179048 w 201933"/>
                <a:gd name="connsiteY30" fmla="*/ 24232 h 201933"/>
                <a:gd name="connsiteX31" fmla="*/ 189818 w 201933"/>
                <a:gd name="connsiteY31" fmla="*/ 35002 h 201933"/>
                <a:gd name="connsiteX32" fmla="*/ 191164 w 201933"/>
                <a:gd name="connsiteY32" fmla="*/ 41733 h 201933"/>
                <a:gd name="connsiteX33" fmla="*/ 181740 w 201933"/>
                <a:gd name="connsiteY33" fmla="*/ 67311 h 201933"/>
                <a:gd name="connsiteX34" fmla="*/ 185779 w 201933"/>
                <a:gd name="connsiteY34" fmla="*/ 82120 h 201933"/>
                <a:gd name="connsiteX35" fmla="*/ 210011 w 201933"/>
                <a:gd name="connsiteY35" fmla="*/ 90197 h 201933"/>
                <a:gd name="connsiteX36" fmla="*/ 214050 w 201933"/>
                <a:gd name="connsiteY36" fmla="*/ 96928 h 201933"/>
                <a:gd name="connsiteX37" fmla="*/ 214050 w 201933"/>
                <a:gd name="connsiteY37" fmla="*/ 117121 h 201933"/>
                <a:gd name="connsiteX38" fmla="*/ 210011 w 201933"/>
                <a:gd name="connsiteY38" fmla="*/ 123852 h 201933"/>
                <a:gd name="connsiteX39" fmla="*/ 185779 w 201933"/>
                <a:gd name="connsiteY39" fmla="*/ 131930 h 201933"/>
                <a:gd name="connsiteX40" fmla="*/ 180394 w 201933"/>
                <a:gd name="connsiteY40" fmla="*/ 145392 h 201933"/>
                <a:gd name="connsiteX41" fmla="*/ 189818 w 201933"/>
                <a:gd name="connsiteY41" fmla="*/ 170970 h 201933"/>
                <a:gd name="connsiteX42" fmla="*/ 188471 w 201933"/>
                <a:gd name="connsiteY42" fmla="*/ 177701 h 201933"/>
                <a:gd name="connsiteX43" fmla="*/ 177702 w 201933"/>
                <a:gd name="connsiteY43" fmla="*/ 188471 h 201933"/>
                <a:gd name="connsiteX44" fmla="*/ 170970 w 201933"/>
                <a:gd name="connsiteY44" fmla="*/ 189817 h 201933"/>
                <a:gd name="connsiteX45" fmla="*/ 145392 w 201933"/>
                <a:gd name="connsiteY45" fmla="*/ 180394 h 201933"/>
                <a:gd name="connsiteX46" fmla="*/ 131930 w 201933"/>
                <a:gd name="connsiteY46" fmla="*/ 185779 h 201933"/>
                <a:gd name="connsiteX47" fmla="*/ 123853 w 201933"/>
                <a:gd name="connsiteY47" fmla="*/ 210011 h 201933"/>
                <a:gd name="connsiteX48" fmla="*/ 117121 w 201933"/>
                <a:gd name="connsiteY48" fmla="*/ 214049 h 201933"/>
                <a:gd name="connsiteX49" fmla="*/ 102313 w 201933"/>
                <a:gd name="connsiteY49" fmla="*/ 200587 h 201933"/>
                <a:gd name="connsiteX50" fmla="*/ 113083 w 201933"/>
                <a:gd name="connsiteY50" fmla="*/ 200587 h 201933"/>
                <a:gd name="connsiteX51" fmla="*/ 121160 w 201933"/>
                <a:gd name="connsiteY51" fmla="*/ 177701 h 201933"/>
                <a:gd name="connsiteX52" fmla="*/ 125199 w 201933"/>
                <a:gd name="connsiteY52" fmla="*/ 173663 h 201933"/>
                <a:gd name="connsiteX53" fmla="*/ 145392 w 201933"/>
                <a:gd name="connsiteY53" fmla="*/ 166932 h 201933"/>
                <a:gd name="connsiteX54" fmla="*/ 149431 w 201933"/>
                <a:gd name="connsiteY54" fmla="*/ 166932 h 201933"/>
                <a:gd name="connsiteX55" fmla="*/ 173663 w 201933"/>
                <a:gd name="connsiteY55" fmla="*/ 176355 h 201933"/>
                <a:gd name="connsiteX56" fmla="*/ 177702 w 201933"/>
                <a:gd name="connsiteY56" fmla="*/ 172317 h 201933"/>
                <a:gd name="connsiteX57" fmla="*/ 168278 w 201933"/>
                <a:gd name="connsiteY57" fmla="*/ 148085 h 201933"/>
                <a:gd name="connsiteX58" fmla="*/ 168278 w 201933"/>
                <a:gd name="connsiteY58" fmla="*/ 144046 h 201933"/>
                <a:gd name="connsiteX59" fmla="*/ 175009 w 201933"/>
                <a:gd name="connsiteY59" fmla="*/ 123852 h 201933"/>
                <a:gd name="connsiteX60" fmla="*/ 179048 w 201933"/>
                <a:gd name="connsiteY60" fmla="*/ 119814 h 201933"/>
                <a:gd name="connsiteX61" fmla="*/ 201934 w 201933"/>
                <a:gd name="connsiteY61" fmla="*/ 111736 h 201933"/>
                <a:gd name="connsiteX62" fmla="*/ 201934 w 201933"/>
                <a:gd name="connsiteY62" fmla="*/ 100967 h 201933"/>
                <a:gd name="connsiteX63" fmla="*/ 179048 w 201933"/>
                <a:gd name="connsiteY63" fmla="*/ 92889 h 201933"/>
                <a:gd name="connsiteX64" fmla="*/ 175009 w 201933"/>
                <a:gd name="connsiteY64" fmla="*/ 88851 h 201933"/>
                <a:gd name="connsiteX65" fmla="*/ 168278 w 201933"/>
                <a:gd name="connsiteY65" fmla="*/ 68657 h 201933"/>
                <a:gd name="connsiteX66" fmla="*/ 168278 w 201933"/>
                <a:gd name="connsiteY66" fmla="*/ 64619 h 201933"/>
                <a:gd name="connsiteX67" fmla="*/ 177702 w 201933"/>
                <a:gd name="connsiteY67" fmla="*/ 40387 h 201933"/>
                <a:gd name="connsiteX68" fmla="*/ 172317 w 201933"/>
                <a:gd name="connsiteY68" fmla="*/ 37694 h 201933"/>
                <a:gd name="connsiteX69" fmla="*/ 148085 w 201933"/>
                <a:gd name="connsiteY69" fmla="*/ 47118 h 201933"/>
                <a:gd name="connsiteX70" fmla="*/ 144046 w 201933"/>
                <a:gd name="connsiteY70" fmla="*/ 47118 h 201933"/>
                <a:gd name="connsiteX71" fmla="*/ 123853 w 201933"/>
                <a:gd name="connsiteY71" fmla="*/ 40387 h 201933"/>
                <a:gd name="connsiteX72" fmla="*/ 119814 w 201933"/>
                <a:gd name="connsiteY72" fmla="*/ 36348 h 201933"/>
                <a:gd name="connsiteX73" fmla="*/ 111737 w 201933"/>
                <a:gd name="connsiteY73" fmla="*/ 13462 h 201933"/>
                <a:gd name="connsiteX74" fmla="*/ 102313 w 201933"/>
                <a:gd name="connsiteY74" fmla="*/ 13462 h 201933"/>
                <a:gd name="connsiteX75" fmla="*/ 94236 w 201933"/>
                <a:gd name="connsiteY75" fmla="*/ 36348 h 201933"/>
                <a:gd name="connsiteX76" fmla="*/ 90197 w 201933"/>
                <a:gd name="connsiteY76" fmla="*/ 40387 h 201933"/>
                <a:gd name="connsiteX77" fmla="*/ 70004 w 201933"/>
                <a:gd name="connsiteY77" fmla="*/ 47118 h 201933"/>
                <a:gd name="connsiteX78" fmla="*/ 65965 w 201933"/>
                <a:gd name="connsiteY78" fmla="*/ 47118 h 201933"/>
                <a:gd name="connsiteX79" fmla="*/ 41733 w 201933"/>
                <a:gd name="connsiteY79" fmla="*/ 37694 h 201933"/>
                <a:gd name="connsiteX80" fmla="*/ 37694 w 201933"/>
                <a:gd name="connsiteY80" fmla="*/ 41733 h 201933"/>
                <a:gd name="connsiteX81" fmla="*/ 47118 w 201933"/>
                <a:gd name="connsiteY81" fmla="*/ 65965 h 201933"/>
                <a:gd name="connsiteX82" fmla="*/ 47118 w 201933"/>
                <a:gd name="connsiteY82" fmla="*/ 70004 h 201933"/>
                <a:gd name="connsiteX83" fmla="*/ 40387 w 201933"/>
                <a:gd name="connsiteY83" fmla="*/ 90197 h 201933"/>
                <a:gd name="connsiteX84" fmla="*/ 36348 w 201933"/>
                <a:gd name="connsiteY84" fmla="*/ 94236 h 201933"/>
                <a:gd name="connsiteX85" fmla="*/ 13462 w 201933"/>
                <a:gd name="connsiteY85" fmla="*/ 102313 h 201933"/>
                <a:gd name="connsiteX86" fmla="*/ 13462 w 201933"/>
                <a:gd name="connsiteY86" fmla="*/ 113083 h 201933"/>
                <a:gd name="connsiteX87" fmla="*/ 36348 w 201933"/>
                <a:gd name="connsiteY87" fmla="*/ 121160 h 201933"/>
                <a:gd name="connsiteX88" fmla="*/ 40387 w 201933"/>
                <a:gd name="connsiteY88" fmla="*/ 125199 h 201933"/>
                <a:gd name="connsiteX89" fmla="*/ 47118 w 201933"/>
                <a:gd name="connsiteY89" fmla="*/ 145392 h 201933"/>
                <a:gd name="connsiteX90" fmla="*/ 47118 w 201933"/>
                <a:gd name="connsiteY90" fmla="*/ 149431 h 201933"/>
                <a:gd name="connsiteX91" fmla="*/ 37694 w 201933"/>
                <a:gd name="connsiteY91" fmla="*/ 172317 h 201933"/>
                <a:gd name="connsiteX92" fmla="*/ 41733 w 201933"/>
                <a:gd name="connsiteY92" fmla="*/ 176355 h 201933"/>
                <a:gd name="connsiteX93" fmla="*/ 65965 w 201933"/>
                <a:gd name="connsiteY93" fmla="*/ 166932 h 201933"/>
                <a:gd name="connsiteX94" fmla="*/ 70004 w 201933"/>
                <a:gd name="connsiteY94" fmla="*/ 166932 h 201933"/>
                <a:gd name="connsiteX95" fmla="*/ 90197 w 201933"/>
                <a:gd name="connsiteY95" fmla="*/ 173663 h 201933"/>
                <a:gd name="connsiteX96" fmla="*/ 94236 w 201933"/>
                <a:gd name="connsiteY96" fmla="*/ 177701 h 201933"/>
                <a:gd name="connsiteX97" fmla="*/ 102313 w 201933"/>
                <a:gd name="connsiteY97" fmla="*/ 200587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01933" h="201933">
                  <a:moveTo>
                    <a:pt x="117121" y="214049"/>
                  </a:moveTo>
                  <a:lnTo>
                    <a:pt x="96928" y="214049"/>
                  </a:lnTo>
                  <a:cubicBezTo>
                    <a:pt x="94236" y="214049"/>
                    <a:pt x="91543" y="212703"/>
                    <a:pt x="90197" y="210011"/>
                  </a:cubicBezTo>
                  <a:lnTo>
                    <a:pt x="82120" y="185779"/>
                  </a:lnTo>
                  <a:lnTo>
                    <a:pt x="67311" y="181740"/>
                  </a:lnTo>
                  <a:lnTo>
                    <a:pt x="41733" y="191164"/>
                  </a:lnTo>
                  <a:cubicBezTo>
                    <a:pt x="39040" y="192510"/>
                    <a:pt x="36348" y="191164"/>
                    <a:pt x="35002" y="189817"/>
                  </a:cubicBezTo>
                  <a:lnTo>
                    <a:pt x="24232" y="179048"/>
                  </a:lnTo>
                  <a:cubicBezTo>
                    <a:pt x="22886" y="177701"/>
                    <a:pt x="21540" y="175009"/>
                    <a:pt x="22886" y="172317"/>
                  </a:cubicBezTo>
                  <a:lnTo>
                    <a:pt x="32309" y="146738"/>
                  </a:lnTo>
                  <a:lnTo>
                    <a:pt x="28271" y="131930"/>
                  </a:lnTo>
                  <a:lnTo>
                    <a:pt x="4039" y="123852"/>
                  </a:lnTo>
                  <a:cubicBezTo>
                    <a:pt x="1346" y="122506"/>
                    <a:pt x="0" y="119814"/>
                    <a:pt x="0" y="117121"/>
                  </a:cubicBezTo>
                  <a:lnTo>
                    <a:pt x="0" y="96928"/>
                  </a:lnTo>
                  <a:cubicBezTo>
                    <a:pt x="0" y="94236"/>
                    <a:pt x="1346" y="91543"/>
                    <a:pt x="4039" y="90197"/>
                  </a:cubicBezTo>
                  <a:lnTo>
                    <a:pt x="28271" y="82120"/>
                  </a:lnTo>
                  <a:lnTo>
                    <a:pt x="32309" y="67311"/>
                  </a:lnTo>
                  <a:lnTo>
                    <a:pt x="22886" y="41733"/>
                  </a:lnTo>
                  <a:cubicBezTo>
                    <a:pt x="21540" y="39040"/>
                    <a:pt x="22886" y="36348"/>
                    <a:pt x="24232" y="35002"/>
                  </a:cubicBezTo>
                  <a:lnTo>
                    <a:pt x="35002" y="24232"/>
                  </a:lnTo>
                  <a:cubicBezTo>
                    <a:pt x="36348" y="22886"/>
                    <a:pt x="39040" y="21540"/>
                    <a:pt x="41733" y="22886"/>
                  </a:cubicBezTo>
                  <a:lnTo>
                    <a:pt x="67311" y="32309"/>
                  </a:lnTo>
                  <a:lnTo>
                    <a:pt x="82120" y="28271"/>
                  </a:lnTo>
                  <a:lnTo>
                    <a:pt x="90197" y="4039"/>
                  </a:lnTo>
                  <a:cubicBezTo>
                    <a:pt x="91543" y="1346"/>
                    <a:pt x="94236" y="0"/>
                    <a:pt x="96928" y="0"/>
                  </a:cubicBezTo>
                  <a:lnTo>
                    <a:pt x="117121" y="0"/>
                  </a:lnTo>
                  <a:cubicBezTo>
                    <a:pt x="119814" y="0"/>
                    <a:pt x="122506" y="1346"/>
                    <a:pt x="123853" y="4039"/>
                  </a:cubicBezTo>
                  <a:lnTo>
                    <a:pt x="131930" y="28271"/>
                  </a:lnTo>
                  <a:lnTo>
                    <a:pt x="146738" y="32309"/>
                  </a:lnTo>
                  <a:lnTo>
                    <a:pt x="172317" y="22886"/>
                  </a:lnTo>
                  <a:cubicBezTo>
                    <a:pt x="175009" y="21540"/>
                    <a:pt x="177702" y="22886"/>
                    <a:pt x="179048" y="24232"/>
                  </a:cubicBezTo>
                  <a:lnTo>
                    <a:pt x="189818" y="35002"/>
                  </a:lnTo>
                  <a:cubicBezTo>
                    <a:pt x="191164" y="36348"/>
                    <a:pt x="192510" y="39040"/>
                    <a:pt x="191164" y="41733"/>
                  </a:cubicBezTo>
                  <a:lnTo>
                    <a:pt x="181740" y="67311"/>
                  </a:lnTo>
                  <a:lnTo>
                    <a:pt x="185779" y="82120"/>
                  </a:lnTo>
                  <a:lnTo>
                    <a:pt x="210011" y="90197"/>
                  </a:lnTo>
                  <a:cubicBezTo>
                    <a:pt x="212703" y="91543"/>
                    <a:pt x="214050" y="94236"/>
                    <a:pt x="214050" y="96928"/>
                  </a:cubicBezTo>
                  <a:lnTo>
                    <a:pt x="214050" y="117121"/>
                  </a:lnTo>
                  <a:cubicBezTo>
                    <a:pt x="214050" y="119814"/>
                    <a:pt x="212703" y="122506"/>
                    <a:pt x="210011" y="123852"/>
                  </a:cubicBezTo>
                  <a:lnTo>
                    <a:pt x="185779" y="131930"/>
                  </a:lnTo>
                  <a:lnTo>
                    <a:pt x="180394" y="145392"/>
                  </a:lnTo>
                  <a:lnTo>
                    <a:pt x="189818" y="170970"/>
                  </a:lnTo>
                  <a:cubicBezTo>
                    <a:pt x="191164" y="173663"/>
                    <a:pt x="189818" y="176355"/>
                    <a:pt x="188471" y="177701"/>
                  </a:cubicBezTo>
                  <a:lnTo>
                    <a:pt x="177702" y="188471"/>
                  </a:lnTo>
                  <a:cubicBezTo>
                    <a:pt x="176355" y="189817"/>
                    <a:pt x="173663" y="191164"/>
                    <a:pt x="170970" y="189817"/>
                  </a:cubicBezTo>
                  <a:lnTo>
                    <a:pt x="145392" y="180394"/>
                  </a:lnTo>
                  <a:lnTo>
                    <a:pt x="131930" y="185779"/>
                  </a:lnTo>
                  <a:lnTo>
                    <a:pt x="123853" y="210011"/>
                  </a:lnTo>
                  <a:cubicBezTo>
                    <a:pt x="122506" y="212703"/>
                    <a:pt x="119814" y="214049"/>
                    <a:pt x="117121" y="214049"/>
                  </a:cubicBezTo>
                  <a:close/>
                  <a:moveTo>
                    <a:pt x="102313" y="200587"/>
                  </a:moveTo>
                  <a:lnTo>
                    <a:pt x="113083" y="200587"/>
                  </a:lnTo>
                  <a:lnTo>
                    <a:pt x="121160" y="177701"/>
                  </a:lnTo>
                  <a:cubicBezTo>
                    <a:pt x="122506" y="176355"/>
                    <a:pt x="123853" y="173663"/>
                    <a:pt x="125199" y="173663"/>
                  </a:cubicBezTo>
                  <a:lnTo>
                    <a:pt x="145392" y="166932"/>
                  </a:lnTo>
                  <a:cubicBezTo>
                    <a:pt x="146738" y="166932"/>
                    <a:pt x="148085" y="166932"/>
                    <a:pt x="149431" y="166932"/>
                  </a:cubicBezTo>
                  <a:lnTo>
                    <a:pt x="173663" y="176355"/>
                  </a:lnTo>
                  <a:lnTo>
                    <a:pt x="177702" y="172317"/>
                  </a:lnTo>
                  <a:lnTo>
                    <a:pt x="168278" y="148085"/>
                  </a:lnTo>
                  <a:cubicBezTo>
                    <a:pt x="168278" y="146738"/>
                    <a:pt x="168278" y="145392"/>
                    <a:pt x="168278" y="144046"/>
                  </a:cubicBezTo>
                  <a:lnTo>
                    <a:pt x="175009" y="123852"/>
                  </a:lnTo>
                  <a:cubicBezTo>
                    <a:pt x="175009" y="121160"/>
                    <a:pt x="177702" y="119814"/>
                    <a:pt x="179048" y="119814"/>
                  </a:cubicBezTo>
                  <a:lnTo>
                    <a:pt x="201934" y="111736"/>
                  </a:lnTo>
                  <a:lnTo>
                    <a:pt x="201934" y="100967"/>
                  </a:lnTo>
                  <a:lnTo>
                    <a:pt x="179048" y="92889"/>
                  </a:lnTo>
                  <a:cubicBezTo>
                    <a:pt x="177702" y="91543"/>
                    <a:pt x="175009" y="90197"/>
                    <a:pt x="175009" y="88851"/>
                  </a:cubicBezTo>
                  <a:lnTo>
                    <a:pt x="168278" y="68657"/>
                  </a:lnTo>
                  <a:cubicBezTo>
                    <a:pt x="168278" y="67311"/>
                    <a:pt x="168278" y="65965"/>
                    <a:pt x="168278" y="64619"/>
                  </a:cubicBezTo>
                  <a:lnTo>
                    <a:pt x="177702" y="40387"/>
                  </a:lnTo>
                  <a:lnTo>
                    <a:pt x="172317" y="37694"/>
                  </a:lnTo>
                  <a:lnTo>
                    <a:pt x="148085" y="47118"/>
                  </a:lnTo>
                  <a:cubicBezTo>
                    <a:pt x="146738" y="47118"/>
                    <a:pt x="145392" y="47118"/>
                    <a:pt x="144046" y="47118"/>
                  </a:cubicBezTo>
                  <a:lnTo>
                    <a:pt x="123853" y="40387"/>
                  </a:lnTo>
                  <a:cubicBezTo>
                    <a:pt x="121160" y="40387"/>
                    <a:pt x="119814" y="37694"/>
                    <a:pt x="119814" y="36348"/>
                  </a:cubicBezTo>
                  <a:lnTo>
                    <a:pt x="111737" y="13462"/>
                  </a:lnTo>
                  <a:lnTo>
                    <a:pt x="102313" y="13462"/>
                  </a:lnTo>
                  <a:lnTo>
                    <a:pt x="94236" y="36348"/>
                  </a:lnTo>
                  <a:cubicBezTo>
                    <a:pt x="92889" y="37694"/>
                    <a:pt x="91543" y="40387"/>
                    <a:pt x="90197" y="40387"/>
                  </a:cubicBezTo>
                  <a:lnTo>
                    <a:pt x="70004" y="47118"/>
                  </a:lnTo>
                  <a:cubicBezTo>
                    <a:pt x="68657" y="47118"/>
                    <a:pt x="67311" y="47118"/>
                    <a:pt x="65965" y="47118"/>
                  </a:cubicBezTo>
                  <a:lnTo>
                    <a:pt x="41733" y="37694"/>
                  </a:lnTo>
                  <a:lnTo>
                    <a:pt x="37694" y="41733"/>
                  </a:lnTo>
                  <a:lnTo>
                    <a:pt x="47118" y="65965"/>
                  </a:lnTo>
                  <a:cubicBezTo>
                    <a:pt x="47118" y="67311"/>
                    <a:pt x="47118" y="68657"/>
                    <a:pt x="47118" y="70004"/>
                  </a:cubicBezTo>
                  <a:lnTo>
                    <a:pt x="40387" y="90197"/>
                  </a:lnTo>
                  <a:cubicBezTo>
                    <a:pt x="40387" y="92889"/>
                    <a:pt x="37694" y="94236"/>
                    <a:pt x="36348" y="94236"/>
                  </a:cubicBezTo>
                  <a:lnTo>
                    <a:pt x="13462" y="102313"/>
                  </a:lnTo>
                  <a:lnTo>
                    <a:pt x="13462" y="113083"/>
                  </a:lnTo>
                  <a:lnTo>
                    <a:pt x="36348" y="121160"/>
                  </a:lnTo>
                  <a:cubicBezTo>
                    <a:pt x="37694" y="122506"/>
                    <a:pt x="40387" y="123852"/>
                    <a:pt x="40387" y="125199"/>
                  </a:cubicBezTo>
                  <a:lnTo>
                    <a:pt x="47118" y="145392"/>
                  </a:lnTo>
                  <a:cubicBezTo>
                    <a:pt x="47118" y="146738"/>
                    <a:pt x="47118" y="148085"/>
                    <a:pt x="47118" y="149431"/>
                  </a:cubicBezTo>
                  <a:lnTo>
                    <a:pt x="37694" y="172317"/>
                  </a:lnTo>
                  <a:lnTo>
                    <a:pt x="41733" y="176355"/>
                  </a:lnTo>
                  <a:lnTo>
                    <a:pt x="65965" y="166932"/>
                  </a:lnTo>
                  <a:cubicBezTo>
                    <a:pt x="67311" y="166932"/>
                    <a:pt x="68657" y="166932"/>
                    <a:pt x="70004" y="166932"/>
                  </a:cubicBezTo>
                  <a:lnTo>
                    <a:pt x="90197" y="173663"/>
                  </a:lnTo>
                  <a:cubicBezTo>
                    <a:pt x="92889" y="173663"/>
                    <a:pt x="94236" y="176355"/>
                    <a:pt x="94236" y="177701"/>
                  </a:cubicBezTo>
                  <a:lnTo>
                    <a:pt x="102313" y="200587"/>
                  </a:lnTo>
                  <a:close/>
                </a:path>
              </a:pathLst>
            </a:custGeom>
            <a:grpFill/>
            <a:ln w="13447" cap="flat">
              <a:solidFill>
                <a:srgbClr val="0E176D"/>
              </a:solidFill>
              <a:prstDash val="solid"/>
              <a:miter/>
            </a:ln>
          </p:spPr>
          <p:txBody>
            <a:bodyPr rtlCol="0" anchor="ctr"/>
            <a:lstStyle/>
            <a:p>
              <a:endParaRPr lang="en-US"/>
            </a:p>
          </p:txBody>
        </p:sp>
      </p:grpSp>
      <p:sp>
        <p:nvSpPr>
          <p:cNvPr id="77" name="TextBox 76">
            <a:extLst>
              <a:ext uri="{FF2B5EF4-FFF2-40B4-BE49-F238E27FC236}">
                <a16:creationId xmlns:a16="http://schemas.microsoft.com/office/drawing/2014/main" id="{06B03F8F-C1CA-3E37-8B1D-FAFB84C4CC3F}"/>
              </a:ext>
            </a:extLst>
          </p:cNvPr>
          <p:cNvSpPr txBox="1"/>
          <p:nvPr/>
        </p:nvSpPr>
        <p:spPr>
          <a:xfrm>
            <a:off x="1768801" y="5900336"/>
            <a:ext cx="1935294" cy="5888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en-US" sz="2000" b="1">
                <a:solidFill>
                  <a:srgbClr val="0E176D"/>
                </a:solidFill>
              </a:rPr>
              <a:t>Car Repair </a:t>
            </a:r>
            <a:br>
              <a:rPr lang="en-US" sz="2000" b="1">
                <a:solidFill>
                  <a:srgbClr val="0E176D"/>
                </a:solidFill>
              </a:rPr>
            </a:br>
            <a:r>
              <a:rPr lang="en-US" sz="2000" b="1">
                <a:solidFill>
                  <a:srgbClr val="0E176D"/>
                </a:solidFill>
              </a:rPr>
              <a:t>Professionals</a:t>
            </a:r>
          </a:p>
        </p:txBody>
      </p:sp>
      <p:pic>
        <p:nvPicPr>
          <p:cNvPr id="29" name="Graphic 28" descr="Rating Star with solid fill">
            <a:extLst>
              <a:ext uri="{FF2B5EF4-FFF2-40B4-BE49-F238E27FC236}">
                <a16:creationId xmlns:a16="http://schemas.microsoft.com/office/drawing/2014/main" id="{04437D56-1F4A-6F33-36D2-C94B83BAEB67}"/>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963125" y="4957147"/>
            <a:ext cx="1080000" cy="1080000"/>
          </a:xfrm>
          <a:prstGeom prst="rect">
            <a:avLst/>
          </a:prstGeom>
        </p:spPr>
      </p:pic>
      <p:sp>
        <p:nvSpPr>
          <p:cNvPr id="39" name="Rectangle 15">
            <a:extLst>
              <a:ext uri="{FF2B5EF4-FFF2-40B4-BE49-F238E27FC236}">
                <a16:creationId xmlns:a16="http://schemas.microsoft.com/office/drawing/2014/main" id="{E269810F-82A5-0F95-C551-AC0FA129F72D}"/>
              </a:ext>
            </a:extLst>
          </p:cNvPr>
          <p:cNvSpPr txBox="1">
            <a:spLocks/>
          </p:cNvSpPr>
          <p:nvPr>
            <p:custDataLst>
              <p:tags r:id="rId4"/>
            </p:custDataLst>
          </p:nvPr>
        </p:nvSpPr>
        <p:spPr bwMode="auto">
          <a:xfrm>
            <a:off x="8703000" y="4495800"/>
            <a:ext cx="6981134" cy="2752125"/>
          </a:xfrm>
          <a:prstGeom prst="rect">
            <a:avLst/>
          </a:prstGeom>
          <a:solidFill>
            <a:srgbClr val="EFF2FF"/>
          </a:solidFill>
          <a:ln>
            <a:noFill/>
          </a:ln>
        </p:spPr>
        <p:txBody>
          <a:bodyPr vert="horz" wrap="square" lIns="1872000" tIns="216000" rIns="144000" bIns="108000" rtlCol="0" anchor="t"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defTabSz="914400" eaLnBrk="1" hangingPunct="1">
              <a:lnSpc>
                <a:spcPct val="100000"/>
              </a:lnSpc>
              <a:spcBef>
                <a:spcPts val="600"/>
              </a:spcBef>
              <a:buFont typeface="Arial" panose="020B0604020202020204" pitchFamily="34" charset="0"/>
              <a:buChar char="•"/>
              <a:defRPr sz="2000" b="1" kern="1200">
                <a:solidFill>
                  <a:srgbClr val="0D0D0D"/>
                </a:solidFill>
              </a:defRPr>
            </a:lvl1pPr>
            <a:lvl2pPr marL="180975" indent="-180975" defTabSz="914400" eaLnBrk="1" hangingPunct="1">
              <a:lnSpc>
                <a:spcPct val="100000"/>
              </a:lnSpc>
              <a:spcBef>
                <a:spcPts val="600"/>
              </a:spcBef>
              <a:buClr>
                <a:schemeClr val="tx1"/>
              </a:buClr>
              <a:buFont typeface="Wingdings" panose="05000000000000000000" pitchFamily="2" charset="2"/>
              <a:buChar char="§"/>
              <a:defRPr sz="1400" kern="1200">
                <a:solidFill>
                  <a:schemeClr val="tx1"/>
                </a:solidFill>
              </a:defRPr>
            </a:lvl2pPr>
            <a:lvl3pPr marL="360000" indent="-180000" defTabSz="914400" eaLnBrk="1" hangingPunct="1">
              <a:lnSpc>
                <a:spcPct val="100000"/>
              </a:lnSpc>
              <a:spcBef>
                <a:spcPts val="600"/>
              </a:spcBef>
              <a:buClr>
                <a:schemeClr val="tx1"/>
              </a:buClr>
              <a:buFont typeface="Arial" panose="020B0604020202020204" pitchFamily="34" charset="0"/>
              <a:buChar char="•"/>
              <a:defRPr sz="1400" kern="1200">
                <a:solidFill>
                  <a:schemeClr val="tx1"/>
                </a:solidFill>
              </a:defRPr>
            </a:lvl3pPr>
            <a:lvl4pPr marL="539750" indent="-180000" defTabSz="914400" eaLnBrk="1" hangingPunct="1">
              <a:lnSpc>
                <a:spcPct val="100000"/>
              </a:lnSpc>
              <a:spcBef>
                <a:spcPts val="600"/>
              </a:spcBef>
              <a:buClr>
                <a:schemeClr val="tx1"/>
              </a:buClr>
              <a:buFont typeface="Verdana" panose="020B0604030504040204" pitchFamily="34" charset="0"/>
              <a:buChar char="‒"/>
              <a:defRPr sz="1200" kern="1200">
                <a:solidFill>
                  <a:schemeClr val="tx1"/>
                </a:solidFill>
              </a:defRPr>
            </a:lvl4pPr>
            <a:lvl5pPr marL="719138" indent="-180975" defTabSz="914400" eaLnBrk="1" hangingPunct="1">
              <a:lnSpc>
                <a:spcPct val="100000"/>
              </a:lnSpc>
              <a:spcBef>
                <a:spcPts val="600"/>
              </a:spcBef>
              <a:buClr>
                <a:schemeClr val="tx1"/>
              </a:buClr>
              <a:buFont typeface="Arial" panose="020B0604020202020204" pitchFamily="34" charset="0"/>
              <a:buChar char="•"/>
              <a:defRPr sz="1200" kern="1200">
                <a:solidFill>
                  <a:schemeClr val="tx1"/>
                </a:solidFill>
              </a:defRPr>
            </a:lvl5pPr>
            <a:lvl6pPr marL="2514600" indent="-228600" defTabSz="914400" eaLnBrk="1" hangingPunct="1">
              <a:lnSpc>
                <a:spcPct val="90000"/>
              </a:lnSpc>
              <a:spcBef>
                <a:spcPts val="500"/>
              </a:spcBef>
              <a:buFont typeface="Arial" panose="020B0604020202020204" pitchFamily="34" charset="0"/>
              <a:buChar char="•"/>
              <a:defRPr sz="1800" kern="1200">
                <a:solidFill>
                  <a:schemeClr val="tx1"/>
                </a:solidFill>
              </a:defRPr>
            </a:lvl6pPr>
            <a:lvl7pPr marL="2971800" indent="-228600" defTabSz="914400" eaLnBrk="1" hangingPunct="1">
              <a:lnSpc>
                <a:spcPct val="90000"/>
              </a:lnSpc>
              <a:spcBef>
                <a:spcPts val="500"/>
              </a:spcBef>
              <a:buFont typeface="Arial" panose="020B0604020202020204" pitchFamily="34" charset="0"/>
              <a:buChar char="•"/>
              <a:defRPr sz="1800" kern="1200">
                <a:solidFill>
                  <a:schemeClr val="tx1"/>
                </a:solidFill>
              </a:defRPr>
            </a:lvl7pPr>
            <a:lvl8pPr marL="3429000" indent="-228600" defTabSz="914400" eaLnBrk="1" hangingPunct="1">
              <a:lnSpc>
                <a:spcPct val="90000"/>
              </a:lnSpc>
              <a:spcBef>
                <a:spcPts val="500"/>
              </a:spcBef>
              <a:buFont typeface="Arial" panose="020B0604020202020204" pitchFamily="34" charset="0"/>
              <a:buChar char="•"/>
              <a:defRPr sz="1800" kern="1200">
                <a:solidFill>
                  <a:schemeClr val="tx1"/>
                </a:solidFill>
              </a:defRPr>
            </a:lvl8pPr>
            <a:lvl9pPr marL="3886200" indent="-228600" defTabSz="914400" eaLnBrk="1" hangingPunct="1">
              <a:lnSpc>
                <a:spcPct val="90000"/>
              </a:lnSpc>
              <a:spcBef>
                <a:spcPts val="500"/>
              </a:spcBef>
              <a:buFont typeface="Arial" panose="020B0604020202020204" pitchFamily="34" charset="0"/>
              <a:buChar char="•"/>
              <a:defRPr sz="1800" kern="1200">
                <a:solidFill>
                  <a:schemeClr val="tx1"/>
                </a:solidFill>
              </a:defRPr>
            </a:lvl9pPr>
          </a:lstStyle>
          <a:p>
            <a:r>
              <a:rPr lang="en-US">
                <a:solidFill>
                  <a:srgbClr val="0E176D"/>
                </a:solidFill>
              </a:rPr>
              <a:t>Claim Processing Speed</a:t>
            </a:r>
            <a:r>
              <a:rPr lang="en-US" b="0">
                <a:solidFill>
                  <a:srgbClr val="0E176D"/>
                </a:solidFill>
              </a:rPr>
              <a:t>: </a:t>
            </a:r>
            <a:r>
              <a:rPr lang="en-US" b="0"/>
              <a:t>Faster turnaround on estimates and approvals.</a:t>
            </a:r>
          </a:p>
          <a:p>
            <a:r>
              <a:rPr lang="en-US">
                <a:solidFill>
                  <a:srgbClr val="0E176D"/>
                </a:solidFill>
              </a:rPr>
              <a:t>Assessment Precision</a:t>
            </a:r>
            <a:r>
              <a:rPr lang="en-US" b="0">
                <a:solidFill>
                  <a:srgbClr val="0E176D"/>
                </a:solidFill>
              </a:rPr>
              <a:t>: </a:t>
            </a:r>
            <a:r>
              <a:rPr lang="en-US" b="0"/>
              <a:t>Enhanced accuracy in evaluating claims.</a:t>
            </a:r>
          </a:p>
          <a:p>
            <a:r>
              <a:rPr lang="en-US">
                <a:solidFill>
                  <a:srgbClr val="0E176D"/>
                </a:solidFill>
              </a:rPr>
              <a:t>Operational Efficiency</a:t>
            </a:r>
            <a:r>
              <a:rPr lang="en-US" b="0">
                <a:solidFill>
                  <a:srgbClr val="0E176D"/>
                </a:solidFill>
              </a:rPr>
              <a:t>: </a:t>
            </a:r>
            <a:r>
              <a:rPr lang="en-US" b="0"/>
              <a:t>Reduced manual effort in estimate reviews.</a:t>
            </a:r>
          </a:p>
          <a:p>
            <a:endParaRPr lang="en-US"/>
          </a:p>
        </p:txBody>
      </p:sp>
      <p:grpSp>
        <p:nvGrpSpPr>
          <p:cNvPr id="60" name="Graphic 2">
            <a:extLst>
              <a:ext uri="{FF2B5EF4-FFF2-40B4-BE49-F238E27FC236}">
                <a16:creationId xmlns:a16="http://schemas.microsoft.com/office/drawing/2014/main" id="{AE25E7AA-5C41-8576-4D97-F418848E038F}"/>
              </a:ext>
            </a:extLst>
          </p:cNvPr>
          <p:cNvGrpSpPr>
            <a:grpSpLocks noChangeAspect="1"/>
          </p:cNvGrpSpPr>
          <p:nvPr/>
        </p:nvGrpSpPr>
        <p:grpSpPr>
          <a:xfrm>
            <a:off x="9151647" y="4804157"/>
            <a:ext cx="972000" cy="972000"/>
            <a:chOff x="5864412" y="3152586"/>
            <a:chExt cx="463177" cy="463177"/>
          </a:xfrm>
          <a:solidFill>
            <a:srgbClr val="0E176D"/>
          </a:solidFill>
        </p:grpSpPr>
        <p:sp>
          <p:nvSpPr>
            <p:cNvPr id="61" name="Freeform: Shape 60">
              <a:extLst>
                <a:ext uri="{FF2B5EF4-FFF2-40B4-BE49-F238E27FC236}">
                  <a16:creationId xmlns:a16="http://schemas.microsoft.com/office/drawing/2014/main" id="{19D0959C-F3D7-1C12-85A8-0B77D0E95FC1}"/>
                </a:ext>
              </a:extLst>
            </p:cNvPr>
            <p:cNvSpPr/>
            <p:nvPr/>
          </p:nvSpPr>
          <p:spPr>
            <a:xfrm>
              <a:off x="5864412" y="3179968"/>
              <a:ext cx="449554" cy="422308"/>
            </a:xfrm>
            <a:custGeom>
              <a:avLst/>
              <a:gdLst>
                <a:gd name="connsiteX0" fmla="*/ 449554 w 449554"/>
                <a:gd name="connsiteY0" fmla="*/ 151077 h 422308"/>
                <a:gd name="connsiteX1" fmla="*/ 422308 w 449554"/>
                <a:gd name="connsiteY1" fmla="*/ 138408 h 422308"/>
                <a:gd name="connsiteX2" fmla="*/ 422308 w 449554"/>
                <a:gd name="connsiteY2" fmla="*/ 6811 h 422308"/>
                <a:gd name="connsiteX3" fmla="*/ 415497 w 449554"/>
                <a:gd name="connsiteY3" fmla="*/ 0 h 422308"/>
                <a:gd name="connsiteX4" fmla="*/ 408686 w 449554"/>
                <a:gd name="connsiteY4" fmla="*/ 6811 h 422308"/>
                <a:gd name="connsiteX5" fmla="*/ 408686 w 449554"/>
                <a:gd name="connsiteY5" fmla="*/ 139089 h 422308"/>
                <a:gd name="connsiteX6" fmla="*/ 386617 w 449554"/>
                <a:gd name="connsiteY6" fmla="*/ 150941 h 422308"/>
                <a:gd name="connsiteX7" fmla="*/ 376127 w 449554"/>
                <a:gd name="connsiteY7" fmla="*/ 160886 h 422308"/>
                <a:gd name="connsiteX8" fmla="*/ 353377 w 449554"/>
                <a:gd name="connsiteY8" fmla="*/ 162929 h 422308"/>
                <a:gd name="connsiteX9" fmla="*/ 313326 w 449554"/>
                <a:gd name="connsiteY9" fmla="*/ 142904 h 422308"/>
                <a:gd name="connsiteX10" fmla="*/ 122606 w 449554"/>
                <a:gd name="connsiteY10" fmla="*/ 142904 h 422308"/>
                <a:gd name="connsiteX11" fmla="*/ 40935 w 449554"/>
                <a:gd name="connsiteY11" fmla="*/ 218032 h 422308"/>
                <a:gd name="connsiteX12" fmla="*/ 40869 w 449554"/>
                <a:gd name="connsiteY12" fmla="*/ 220826 h 422308"/>
                <a:gd name="connsiteX13" fmla="*/ 40869 w 449554"/>
                <a:gd name="connsiteY13" fmla="*/ 232406 h 422308"/>
                <a:gd name="connsiteX14" fmla="*/ 20298 w 449554"/>
                <a:gd name="connsiteY14" fmla="*/ 232406 h 422308"/>
                <a:gd name="connsiteX15" fmla="*/ 0 w 449554"/>
                <a:gd name="connsiteY15" fmla="*/ 252704 h 422308"/>
                <a:gd name="connsiteX16" fmla="*/ 0 w 449554"/>
                <a:gd name="connsiteY16" fmla="*/ 380214 h 422308"/>
                <a:gd name="connsiteX17" fmla="*/ 20298 w 449554"/>
                <a:gd name="connsiteY17" fmla="*/ 400376 h 422308"/>
                <a:gd name="connsiteX18" fmla="*/ 43866 w 449554"/>
                <a:gd name="connsiteY18" fmla="*/ 400376 h 422308"/>
                <a:gd name="connsiteX19" fmla="*/ 86778 w 449554"/>
                <a:gd name="connsiteY19" fmla="*/ 435795 h 422308"/>
                <a:gd name="connsiteX20" fmla="*/ 105577 w 449554"/>
                <a:gd name="connsiteY20" fmla="*/ 435795 h 422308"/>
                <a:gd name="connsiteX21" fmla="*/ 145765 w 449554"/>
                <a:gd name="connsiteY21" fmla="*/ 400376 h 422308"/>
                <a:gd name="connsiteX22" fmla="*/ 224913 w 449554"/>
                <a:gd name="connsiteY22" fmla="*/ 400376 h 422308"/>
                <a:gd name="connsiteX23" fmla="*/ 245211 w 449554"/>
                <a:gd name="connsiteY23" fmla="*/ 380214 h 422308"/>
                <a:gd name="connsiteX24" fmla="*/ 245211 w 449554"/>
                <a:gd name="connsiteY24" fmla="*/ 277770 h 422308"/>
                <a:gd name="connsiteX25" fmla="*/ 199847 w 449554"/>
                <a:gd name="connsiteY25" fmla="*/ 232406 h 422308"/>
                <a:gd name="connsiteX26" fmla="*/ 113887 w 449554"/>
                <a:gd name="connsiteY26" fmla="*/ 232406 h 422308"/>
                <a:gd name="connsiteX27" fmla="*/ 107076 w 449554"/>
                <a:gd name="connsiteY27" fmla="*/ 239217 h 422308"/>
                <a:gd name="connsiteX28" fmla="*/ 107076 w 449554"/>
                <a:gd name="connsiteY28" fmla="*/ 240852 h 422308"/>
                <a:gd name="connsiteX29" fmla="*/ 107076 w 449554"/>
                <a:gd name="connsiteY29" fmla="*/ 393564 h 422308"/>
                <a:gd name="connsiteX30" fmla="*/ 113887 w 449554"/>
                <a:gd name="connsiteY30" fmla="*/ 400376 h 422308"/>
                <a:gd name="connsiteX31" fmla="*/ 132142 w 449554"/>
                <a:gd name="connsiteY31" fmla="*/ 400376 h 422308"/>
                <a:gd name="connsiteX32" fmla="*/ 105577 w 449554"/>
                <a:gd name="connsiteY32" fmla="*/ 422172 h 422308"/>
                <a:gd name="connsiteX33" fmla="*/ 86778 w 449554"/>
                <a:gd name="connsiteY33" fmla="*/ 422172 h 422308"/>
                <a:gd name="connsiteX34" fmla="*/ 54491 w 449554"/>
                <a:gd name="connsiteY34" fmla="*/ 384164 h 422308"/>
                <a:gd name="connsiteX35" fmla="*/ 54491 w 449554"/>
                <a:gd name="connsiteY35" fmla="*/ 220690 h 422308"/>
                <a:gd name="connsiteX36" fmla="*/ 120731 w 449554"/>
                <a:gd name="connsiteY36" fmla="*/ 156438 h 422308"/>
                <a:gd name="connsiteX37" fmla="*/ 123287 w 449554"/>
                <a:gd name="connsiteY37" fmla="*/ 156527 h 422308"/>
                <a:gd name="connsiteX38" fmla="*/ 313326 w 449554"/>
                <a:gd name="connsiteY38" fmla="*/ 156527 h 422308"/>
                <a:gd name="connsiteX39" fmla="*/ 345612 w 449554"/>
                <a:gd name="connsiteY39" fmla="*/ 174373 h 422308"/>
                <a:gd name="connsiteX40" fmla="*/ 385118 w 449554"/>
                <a:gd name="connsiteY40" fmla="*/ 170831 h 422308"/>
                <a:gd name="connsiteX41" fmla="*/ 395880 w 449554"/>
                <a:gd name="connsiteY41" fmla="*/ 160750 h 422308"/>
                <a:gd name="connsiteX42" fmla="*/ 408413 w 449554"/>
                <a:gd name="connsiteY42" fmla="*/ 153257 h 422308"/>
                <a:gd name="connsiteX43" fmla="*/ 408413 w 449554"/>
                <a:gd name="connsiteY43" fmla="*/ 165518 h 422308"/>
                <a:gd name="connsiteX44" fmla="*/ 415225 w 449554"/>
                <a:gd name="connsiteY44" fmla="*/ 172329 h 422308"/>
                <a:gd name="connsiteX45" fmla="*/ 422036 w 449554"/>
                <a:gd name="connsiteY45" fmla="*/ 165518 h 422308"/>
                <a:gd name="connsiteX46" fmla="*/ 422036 w 449554"/>
                <a:gd name="connsiteY46" fmla="*/ 151895 h 422308"/>
                <a:gd name="connsiteX47" fmla="*/ 440154 w 449554"/>
                <a:gd name="connsiteY47" fmla="*/ 160613 h 422308"/>
                <a:gd name="connsiteX48" fmla="*/ 449554 w 449554"/>
                <a:gd name="connsiteY48" fmla="*/ 182955 h 422308"/>
                <a:gd name="connsiteX49" fmla="*/ 440427 w 449554"/>
                <a:gd name="connsiteY49" fmla="*/ 205296 h 422308"/>
                <a:gd name="connsiteX50" fmla="*/ 389205 w 449554"/>
                <a:gd name="connsiteY50" fmla="*/ 256655 h 422308"/>
                <a:gd name="connsiteX51" fmla="*/ 365910 w 449554"/>
                <a:gd name="connsiteY51" fmla="*/ 266872 h 422308"/>
                <a:gd name="connsiteX52" fmla="*/ 299703 w 449554"/>
                <a:gd name="connsiteY52" fmla="*/ 241533 h 422308"/>
                <a:gd name="connsiteX53" fmla="*/ 280495 w 449554"/>
                <a:gd name="connsiteY53" fmla="*/ 232951 h 422308"/>
                <a:gd name="connsiteX54" fmla="*/ 273956 w 449554"/>
                <a:gd name="connsiteY54" fmla="*/ 232951 h 422308"/>
                <a:gd name="connsiteX55" fmla="*/ 270959 w 449554"/>
                <a:gd name="connsiteY55" fmla="*/ 238672 h 422308"/>
                <a:gd name="connsiteX56" fmla="*/ 270959 w 449554"/>
                <a:gd name="connsiteY56" fmla="*/ 393564 h 422308"/>
                <a:gd name="connsiteX57" fmla="*/ 277770 w 449554"/>
                <a:gd name="connsiteY57" fmla="*/ 400376 h 422308"/>
                <a:gd name="connsiteX58" fmla="*/ 284581 w 449554"/>
                <a:gd name="connsiteY58" fmla="*/ 393564 h 422308"/>
                <a:gd name="connsiteX59" fmla="*/ 284581 w 449554"/>
                <a:gd name="connsiteY59" fmla="*/ 249707 h 422308"/>
                <a:gd name="connsiteX60" fmla="*/ 294117 w 449554"/>
                <a:gd name="connsiteY60" fmla="*/ 253930 h 422308"/>
                <a:gd name="connsiteX61" fmla="*/ 365501 w 449554"/>
                <a:gd name="connsiteY61" fmla="*/ 280358 h 422308"/>
                <a:gd name="connsiteX62" fmla="*/ 398605 w 449554"/>
                <a:gd name="connsiteY62" fmla="*/ 266735 h 422308"/>
                <a:gd name="connsiteX63" fmla="*/ 449554 w 449554"/>
                <a:gd name="connsiteY63" fmla="*/ 214832 h 422308"/>
                <a:gd name="connsiteX64" fmla="*/ 449554 w 449554"/>
                <a:gd name="connsiteY64" fmla="*/ 151077 h 422308"/>
                <a:gd name="connsiteX65" fmla="*/ 231589 w 449554"/>
                <a:gd name="connsiteY65" fmla="*/ 277770 h 422308"/>
                <a:gd name="connsiteX66" fmla="*/ 231589 w 449554"/>
                <a:gd name="connsiteY66" fmla="*/ 380214 h 422308"/>
                <a:gd name="connsiteX67" fmla="*/ 225051 w 449554"/>
                <a:gd name="connsiteY67" fmla="*/ 386754 h 422308"/>
                <a:gd name="connsiteX68" fmla="*/ 224913 w 449554"/>
                <a:gd name="connsiteY68" fmla="*/ 386753 h 422308"/>
                <a:gd name="connsiteX69" fmla="*/ 120698 w 449554"/>
                <a:gd name="connsiteY69" fmla="*/ 386753 h 422308"/>
                <a:gd name="connsiteX70" fmla="*/ 120698 w 449554"/>
                <a:gd name="connsiteY70" fmla="*/ 246029 h 422308"/>
                <a:gd name="connsiteX71" fmla="*/ 199847 w 449554"/>
                <a:gd name="connsiteY71" fmla="*/ 246029 h 422308"/>
                <a:gd name="connsiteX72" fmla="*/ 231589 w 449554"/>
                <a:gd name="connsiteY72" fmla="*/ 277770 h 422308"/>
                <a:gd name="connsiteX73" fmla="*/ 20298 w 449554"/>
                <a:gd name="connsiteY73" fmla="*/ 386753 h 422308"/>
                <a:gd name="connsiteX74" fmla="*/ 13624 w 449554"/>
                <a:gd name="connsiteY74" fmla="*/ 380351 h 422308"/>
                <a:gd name="connsiteX75" fmla="*/ 13623 w 449554"/>
                <a:gd name="connsiteY75" fmla="*/ 380214 h 422308"/>
                <a:gd name="connsiteX76" fmla="*/ 13623 w 449554"/>
                <a:gd name="connsiteY76" fmla="*/ 252704 h 422308"/>
                <a:gd name="connsiteX77" fmla="*/ 20298 w 449554"/>
                <a:gd name="connsiteY77" fmla="*/ 246029 h 422308"/>
                <a:gd name="connsiteX78" fmla="*/ 40869 w 449554"/>
                <a:gd name="connsiteY78" fmla="*/ 246029 h 422308"/>
                <a:gd name="connsiteX79" fmla="*/ 40869 w 449554"/>
                <a:gd name="connsiteY79" fmla="*/ 384164 h 422308"/>
                <a:gd name="connsiteX80" fmla="*/ 40869 w 449554"/>
                <a:gd name="connsiteY80" fmla="*/ 386753 h 42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49554" h="422308">
                  <a:moveTo>
                    <a:pt x="449554" y="151077"/>
                  </a:moveTo>
                  <a:cubicBezTo>
                    <a:pt x="442201" y="143845"/>
                    <a:pt x="432577" y="139370"/>
                    <a:pt x="422308" y="138408"/>
                  </a:cubicBezTo>
                  <a:lnTo>
                    <a:pt x="422308" y="6811"/>
                  </a:lnTo>
                  <a:cubicBezTo>
                    <a:pt x="422308" y="3050"/>
                    <a:pt x="419258" y="0"/>
                    <a:pt x="415497" y="0"/>
                  </a:cubicBezTo>
                  <a:cubicBezTo>
                    <a:pt x="411736" y="0"/>
                    <a:pt x="408686" y="3050"/>
                    <a:pt x="408686" y="6811"/>
                  </a:cubicBezTo>
                  <a:lnTo>
                    <a:pt x="408686" y="139089"/>
                  </a:lnTo>
                  <a:cubicBezTo>
                    <a:pt x="400367" y="140904"/>
                    <a:pt x="392724" y="145010"/>
                    <a:pt x="386617" y="150941"/>
                  </a:cubicBezTo>
                  <a:lnTo>
                    <a:pt x="376127" y="160886"/>
                  </a:lnTo>
                  <a:cubicBezTo>
                    <a:pt x="369915" y="166716"/>
                    <a:pt x="360527" y="167560"/>
                    <a:pt x="353377" y="162929"/>
                  </a:cubicBezTo>
                  <a:cubicBezTo>
                    <a:pt x="322725" y="142904"/>
                    <a:pt x="316459" y="142904"/>
                    <a:pt x="313326" y="142904"/>
                  </a:cubicBezTo>
                  <a:lnTo>
                    <a:pt x="122606" y="142904"/>
                  </a:lnTo>
                  <a:cubicBezTo>
                    <a:pt x="79307" y="141097"/>
                    <a:pt x="42742" y="174734"/>
                    <a:pt x="40935" y="218032"/>
                  </a:cubicBezTo>
                  <a:cubicBezTo>
                    <a:pt x="40896" y="218963"/>
                    <a:pt x="40874" y="219895"/>
                    <a:pt x="40869" y="220826"/>
                  </a:cubicBezTo>
                  <a:lnTo>
                    <a:pt x="40869" y="232406"/>
                  </a:lnTo>
                  <a:lnTo>
                    <a:pt x="20298" y="232406"/>
                  </a:lnTo>
                  <a:cubicBezTo>
                    <a:pt x="9088" y="232406"/>
                    <a:pt x="0" y="241494"/>
                    <a:pt x="0" y="252704"/>
                  </a:cubicBezTo>
                  <a:lnTo>
                    <a:pt x="0" y="380214"/>
                  </a:lnTo>
                  <a:cubicBezTo>
                    <a:pt x="75" y="391371"/>
                    <a:pt x="9141" y="400376"/>
                    <a:pt x="20298" y="400376"/>
                  </a:cubicBezTo>
                  <a:lnTo>
                    <a:pt x="43866" y="400376"/>
                  </a:lnTo>
                  <a:cubicBezTo>
                    <a:pt x="49440" y="419939"/>
                    <a:pt x="66512" y="434031"/>
                    <a:pt x="86778" y="435795"/>
                  </a:cubicBezTo>
                  <a:lnTo>
                    <a:pt x="105577" y="435795"/>
                  </a:lnTo>
                  <a:cubicBezTo>
                    <a:pt x="125922" y="435637"/>
                    <a:pt x="143052" y="420539"/>
                    <a:pt x="145765" y="400376"/>
                  </a:cubicBezTo>
                  <a:lnTo>
                    <a:pt x="224913" y="400376"/>
                  </a:lnTo>
                  <a:cubicBezTo>
                    <a:pt x="236070" y="400376"/>
                    <a:pt x="245136" y="391371"/>
                    <a:pt x="245211" y="380214"/>
                  </a:cubicBezTo>
                  <a:lnTo>
                    <a:pt x="245211" y="277770"/>
                  </a:lnTo>
                  <a:cubicBezTo>
                    <a:pt x="245136" y="252748"/>
                    <a:pt x="224870" y="232481"/>
                    <a:pt x="199847" y="232406"/>
                  </a:cubicBezTo>
                  <a:lnTo>
                    <a:pt x="113887" y="232406"/>
                  </a:lnTo>
                  <a:cubicBezTo>
                    <a:pt x="110125" y="232406"/>
                    <a:pt x="107076" y="235456"/>
                    <a:pt x="107076" y="239217"/>
                  </a:cubicBezTo>
                  <a:cubicBezTo>
                    <a:pt x="107439" y="239702"/>
                    <a:pt x="107439" y="240367"/>
                    <a:pt x="107076" y="240852"/>
                  </a:cubicBezTo>
                  <a:lnTo>
                    <a:pt x="107076" y="393564"/>
                  </a:lnTo>
                  <a:cubicBezTo>
                    <a:pt x="107076" y="397326"/>
                    <a:pt x="110125" y="400376"/>
                    <a:pt x="113887" y="400376"/>
                  </a:cubicBezTo>
                  <a:lnTo>
                    <a:pt x="132142" y="400376"/>
                  </a:lnTo>
                  <a:cubicBezTo>
                    <a:pt x="129562" y="413014"/>
                    <a:pt x="118475" y="422111"/>
                    <a:pt x="105577" y="422172"/>
                  </a:cubicBezTo>
                  <a:lnTo>
                    <a:pt x="86778" y="422172"/>
                  </a:lnTo>
                  <a:cubicBezTo>
                    <a:pt x="69340" y="422172"/>
                    <a:pt x="54491" y="401329"/>
                    <a:pt x="54491" y="384164"/>
                  </a:cubicBezTo>
                  <a:lnTo>
                    <a:pt x="54491" y="220690"/>
                  </a:lnTo>
                  <a:cubicBezTo>
                    <a:pt x="55040" y="184656"/>
                    <a:pt x="84696" y="155889"/>
                    <a:pt x="120731" y="156438"/>
                  </a:cubicBezTo>
                  <a:cubicBezTo>
                    <a:pt x="121583" y="156450"/>
                    <a:pt x="122435" y="156480"/>
                    <a:pt x="123287" y="156527"/>
                  </a:cubicBezTo>
                  <a:lnTo>
                    <a:pt x="313326" y="156527"/>
                  </a:lnTo>
                  <a:cubicBezTo>
                    <a:pt x="324951" y="160758"/>
                    <a:pt x="335844" y="166779"/>
                    <a:pt x="345612" y="174373"/>
                  </a:cubicBezTo>
                  <a:cubicBezTo>
                    <a:pt x="358014" y="182474"/>
                    <a:pt x="374355" y="181010"/>
                    <a:pt x="385118" y="170831"/>
                  </a:cubicBezTo>
                  <a:lnTo>
                    <a:pt x="395880" y="160750"/>
                  </a:lnTo>
                  <a:cubicBezTo>
                    <a:pt x="399428" y="157324"/>
                    <a:pt x="403716" y="154760"/>
                    <a:pt x="408413" y="153257"/>
                  </a:cubicBezTo>
                  <a:lnTo>
                    <a:pt x="408413" y="165518"/>
                  </a:lnTo>
                  <a:cubicBezTo>
                    <a:pt x="408413" y="169279"/>
                    <a:pt x="411463" y="172329"/>
                    <a:pt x="415225" y="172329"/>
                  </a:cubicBezTo>
                  <a:cubicBezTo>
                    <a:pt x="418986" y="172329"/>
                    <a:pt x="422036" y="169279"/>
                    <a:pt x="422036" y="165518"/>
                  </a:cubicBezTo>
                  <a:lnTo>
                    <a:pt x="422036" y="151895"/>
                  </a:lnTo>
                  <a:cubicBezTo>
                    <a:pt x="428884" y="152681"/>
                    <a:pt x="435267" y="155753"/>
                    <a:pt x="440154" y="160613"/>
                  </a:cubicBezTo>
                  <a:cubicBezTo>
                    <a:pt x="446172" y="166489"/>
                    <a:pt x="449561" y="174546"/>
                    <a:pt x="449554" y="182955"/>
                  </a:cubicBezTo>
                  <a:cubicBezTo>
                    <a:pt x="449572" y="191314"/>
                    <a:pt x="446293" y="199342"/>
                    <a:pt x="440427" y="205296"/>
                  </a:cubicBezTo>
                  <a:lnTo>
                    <a:pt x="389205" y="256655"/>
                  </a:lnTo>
                  <a:cubicBezTo>
                    <a:pt x="383128" y="263052"/>
                    <a:pt x="374732" y="266734"/>
                    <a:pt x="365910" y="266872"/>
                  </a:cubicBezTo>
                  <a:cubicBezTo>
                    <a:pt x="343198" y="260211"/>
                    <a:pt x="321058" y="251738"/>
                    <a:pt x="299703" y="241533"/>
                  </a:cubicBezTo>
                  <a:lnTo>
                    <a:pt x="280495" y="232951"/>
                  </a:lnTo>
                  <a:cubicBezTo>
                    <a:pt x="278451" y="231861"/>
                    <a:pt x="275999" y="231861"/>
                    <a:pt x="273956" y="232951"/>
                  </a:cubicBezTo>
                  <a:cubicBezTo>
                    <a:pt x="272058" y="234233"/>
                    <a:pt x="270933" y="236382"/>
                    <a:pt x="270959" y="238672"/>
                  </a:cubicBezTo>
                  <a:lnTo>
                    <a:pt x="270959" y="393564"/>
                  </a:lnTo>
                  <a:cubicBezTo>
                    <a:pt x="270959" y="397326"/>
                    <a:pt x="274009" y="400376"/>
                    <a:pt x="277770" y="400376"/>
                  </a:cubicBezTo>
                  <a:cubicBezTo>
                    <a:pt x="281531" y="400376"/>
                    <a:pt x="284581" y="397326"/>
                    <a:pt x="284581" y="393564"/>
                  </a:cubicBezTo>
                  <a:lnTo>
                    <a:pt x="284581" y="249707"/>
                  </a:lnTo>
                  <a:lnTo>
                    <a:pt x="294117" y="253930"/>
                  </a:lnTo>
                  <a:cubicBezTo>
                    <a:pt x="307740" y="260197"/>
                    <a:pt x="355284" y="281176"/>
                    <a:pt x="365501" y="280358"/>
                  </a:cubicBezTo>
                  <a:cubicBezTo>
                    <a:pt x="377928" y="280500"/>
                    <a:pt x="389877" y="275582"/>
                    <a:pt x="398605" y="266735"/>
                  </a:cubicBezTo>
                  <a:lnTo>
                    <a:pt x="449554" y="214832"/>
                  </a:lnTo>
                  <a:cubicBezTo>
                    <a:pt x="467154" y="197225"/>
                    <a:pt x="467154" y="168685"/>
                    <a:pt x="449554" y="151077"/>
                  </a:cubicBezTo>
                  <a:close/>
                  <a:moveTo>
                    <a:pt x="231589" y="277770"/>
                  </a:moveTo>
                  <a:lnTo>
                    <a:pt x="231589" y="380214"/>
                  </a:lnTo>
                  <a:cubicBezTo>
                    <a:pt x="231590" y="383825"/>
                    <a:pt x="228662" y="386753"/>
                    <a:pt x="225051" y="386754"/>
                  </a:cubicBezTo>
                  <a:cubicBezTo>
                    <a:pt x="225005" y="386754"/>
                    <a:pt x="224960" y="386754"/>
                    <a:pt x="224913" y="386753"/>
                  </a:cubicBezTo>
                  <a:lnTo>
                    <a:pt x="120698" y="386753"/>
                  </a:lnTo>
                  <a:lnTo>
                    <a:pt x="120698" y="246029"/>
                  </a:lnTo>
                  <a:lnTo>
                    <a:pt x="199847" y="246029"/>
                  </a:lnTo>
                  <a:cubicBezTo>
                    <a:pt x="217346" y="246104"/>
                    <a:pt x="231514" y="260271"/>
                    <a:pt x="231589" y="277770"/>
                  </a:cubicBezTo>
                  <a:close/>
                  <a:moveTo>
                    <a:pt x="20298" y="386753"/>
                  </a:moveTo>
                  <a:cubicBezTo>
                    <a:pt x="16687" y="386828"/>
                    <a:pt x="13700" y="383961"/>
                    <a:pt x="13624" y="380351"/>
                  </a:cubicBezTo>
                  <a:cubicBezTo>
                    <a:pt x="13623" y="380305"/>
                    <a:pt x="13623" y="380260"/>
                    <a:pt x="13623" y="380214"/>
                  </a:cubicBezTo>
                  <a:lnTo>
                    <a:pt x="13623" y="252704"/>
                  </a:lnTo>
                  <a:cubicBezTo>
                    <a:pt x="13623" y="249018"/>
                    <a:pt x="16611" y="246029"/>
                    <a:pt x="20298" y="246029"/>
                  </a:cubicBezTo>
                  <a:lnTo>
                    <a:pt x="40869" y="246029"/>
                  </a:lnTo>
                  <a:lnTo>
                    <a:pt x="40869" y="384164"/>
                  </a:lnTo>
                  <a:cubicBezTo>
                    <a:pt x="40869" y="385118"/>
                    <a:pt x="40869" y="385935"/>
                    <a:pt x="40869" y="386753"/>
                  </a:cubicBezTo>
                  <a:close/>
                </a:path>
              </a:pathLst>
            </a:custGeom>
            <a:grpFill/>
            <a:ln w="13447" cap="flat">
              <a:solidFill>
                <a:srgbClr val="0E176D"/>
              </a:solid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D79AE89B-F477-16C9-013D-468484A5B84F}"/>
                </a:ext>
              </a:extLst>
            </p:cNvPr>
            <p:cNvSpPr/>
            <p:nvPr/>
          </p:nvSpPr>
          <p:spPr>
            <a:xfrm>
              <a:off x="5987018" y="3152858"/>
              <a:ext cx="136229" cy="136229"/>
            </a:xfrm>
            <a:custGeom>
              <a:avLst/>
              <a:gdLst>
                <a:gd name="connsiteX0" fmla="*/ 74790 w 136228"/>
                <a:gd name="connsiteY0" fmla="*/ 149579 h 136228"/>
                <a:gd name="connsiteX1" fmla="*/ 149579 w 136228"/>
                <a:gd name="connsiteY1" fmla="*/ 74789 h 136228"/>
                <a:gd name="connsiteX2" fmla="*/ 74788 w 136228"/>
                <a:gd name="connsiteY2" fmla="*/ 0 h 136228"/>
                <a:gd name="connsiteX3" fmla="*/ 0 w 136228"/>
                <a:gd name="connsiteY3" fmla="*/ 74517 h 136228"/>
                <a:gd name="connsiteX4" fmla="*/ 74790 w 136228"/>
                <a:gd name="connsiteY4" fmla="*/ 149579 h 136228"/>
                <a:gd name="connsiteX5" fmla="*/ 74790 w 136228"/>
                <a:gd name="connsiteY5" fmla="*/ 13350 h 136228"/>
                <a:gd name="connsiteX6" fmla="*/ 135956 w 136228"/>
                <a:gd name="connsiteY6" fmla="*/ 74517 h 136228"/>
                <a:gd name="connsiteX7" fmla="*/ 74790 w 136228"/>
                <a:gd name="connsiteY7" fmla="*/ 135684 h 136228"/>
                <a:gd name="connsiteX8" fmla="*/ 13623 w 136228"/>
                <a:gd name="connsiteY8" fmla="*/ 74517 h 136228"/>
                <a:gd name="connsiteX9" fmla="*/ 74790 w 136228"/>
                <a:gd name="connsiteY9" fmla="*/ 13350 h 13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228" h="136228">
                  <a:moveTo>
                    <a:pt x="74790" y="149579"/>
                  </a:moveTo>
                  <a:cubicBezTo>
                    <a:pt x="116094" y="149579"/>
                    <a:pt x="149579" y="116094"/>
                    <a:pt x="149579" y="74789"/>
                  </a:cubicBezTo>
                  <a:cubicBezTo>
                    <a:pt x="149578" y="33484"/>
                    <a:pt x="116094" y="0"/>
                    <a:pt x="74788" y="0"/>
                  </a:cubicBezTo>
                  <a:cubicBezTo>
                    <a:pt x="33590" y="0"/>
                    <a:pt x="150" y="33319"/>
                    <a:pt x="0" y="74517"/>
                  </a:cubicBezTo>
                  <a:cubicBezTo>
                    <a:pt x="-75" y="115897"/>
                    <a:pt x="33409" y="149504"/>
                    <a:pt x="74790" y="149579"/>
                  </a:cubicBezTo>
                  <a:close/>
                  <a:moveTo>
                    <a:pt x="74790" y="13350"/>
                  </a:moveTo>
                  <a:cubicBezTo>
                    <a:pt x="108572" y="13350"/>
                    <a:pt x="135956" y="40736"/>
                    <a:pt x="135956" y="74517"/>
                  </a:cubicBezTo>
                  <a:cubicBezTo>
                    <a:pt x="135956" y="108298"/>
                    <a:pt x="108572" y="135684"/>
                    <a:pt x="74790" y="135684"/>
                  </a:cubicBezTo>
                  <a:cubicBezTo>
                    <a:pt x="41008" y="135684"/>
                    <a:pt x="13623" y="108298"/>
                    <a:pt x="13623" y="74517"/>
                  </a:cubicBezTo>
                  <a:cubicBezTo>
                    <a:pt x="13698" y="40767"/>
                    <a:pt x="41039" y="13425"/>
                    <a:pt x="74790" y="13350"/>
                  </a:cubicBezTo>
                  <a:close/>
                </a:path>
              </a:pathLst>
            </a:custGeom>
            <a:grpFill/>
            <a:ln w="13447" cap="flat">
              <a:solidFill>
                <a:srgbClr val="0E176D"/>
              </a:solidFill>
              <a:prstDash val="solid"/>
              <a:miter/>
            </a:ln>
          </p:spPr>
          <p:txBody>
            <a:bodyPr rtlCol="0" anchor="ctr"/>
            <a:lstStyle/>
            <a:p>
              <a:endParaRPr lang="en-US"/>
            </a:p>
          </p:txBody>
        </p:sp>
      </p:grpSp>
      <p:sp>
        <p:nvSpPr>
          <p:cNvPr id="78" name="TextBox 77">
            <a:extLst>
              <a:ext uri="{FF2B5EF4-FFF2-40B4-BE49-F238E27FC236}">
                <a16:creationId xmlns:a16="http://schemas.microsoft.com/office/drawing/2014/main" id="{36536A82-6AFA-4A07-5267-8C3BF5AEA48C}"/>
              </a:ext>
            </a:extLst>
          </p:cNvPr>
          <p:cNvSpPr txBox="1"/>
          <p:nvPr/>
        </p:nvSpPr>
        <p:spPr>
          <a:xfrm>
            <a:off x="8802250" y="5896655"/>
            <a:ext cx="1662113" cy="590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en-US" sz="2000" b="1">
                <a:solidFill>
                  <a:srgbClr val="0E176D"/>
                </a:solidFill>
              </a:rPr>
              <a:t>Insurance Reviewers</a:t>
            </a:r>
          </a:p>
        </p:txBody>
      </p:sp>
      <p:sp>
        <p:nvSpPr>
          <p:cNvPr id="50" name="Rectangle 15">
            <a:extLst>
              <a:ext uri="{FF2B5EF4-FFF2-40B4-BE49-F238E27FC236}">
                <a16:creationId xmlns:a16="http://schemas.microsoft.com/office/drawing/2014/main" id="{78331D9A-D7CC-C803-F3F6-4FD15E6252F9}"/>
              </a:ext>
            </a:extLst>
          </p:cNvPr>
          <p:cNvSpPr txBox="1">
            <a:spLocks/>
          </p:cNvSpPr>
          <p:nvPr>
            <p:custDataLst>
              <p:tags r:id="rId5"/>
            </p:custDataLst>
          </p:nvPr>
        </p:nvSpPr>
        <p:spPr bwMode="auto">
          <a:xfrm>
            <a:off x="15957604" y="4496393"/>
            <a:ext cx="7017673" cy="2748444"/>
          </a:xfrm>
          <a:prstGeom prst="rect">
            <a:avLst/>
          </a:prstGeom>
          <a:solidFill>
            <a:srgbClr val="EFF2FF"/>
          </a:solidFill>
          <a:ln>
            <a:noFill/>
          </a:ln>
        </p:spPr>
        <p:txBody>
          <a:bodyPr vert="horz" wrap="square" lIns="1620000" tIns="180000" rIns="144000" bIns="108000" rtlCol="0" anchor="t"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285750" indent="-285750" defTabSz="914400" eaLnBrk="1" hangingPunct="1">
              <a:lnSpc>
                <a:spcPct val="100000"/>
              </a:lnSpc>
              <a:spcBef>
                <a:spcPts val="600"/>
              </a:spcBef>
              <a:buFont typeface="Arial" panose="020B0604020202020204" pitchFamily="34" charset="0"/>
              <a:buChar char="•"/>
              <a:defRPr sz="2000" b="1" kern="1200">
                <a:solidFill>
                  <a:srgbClr val="0D0D0D"/>
                </a:solidFill>
              </a:defRPr>
            </a:lvl1pPr>
            <a:lvl2pPr marL="180975" indent="-180975" defTabSz="914400" eaLnBrk="1" hangingPunct="1">
              <a:lnSpc>
                <a:spcPct val="100000"/>
              </a:lnSpc>
              <a:spcBef>
                <a:spcPts val="600"/>
              </a:spcBef>
              <a:buClr>
                <a:schemeClr val="tx1"/>
              </a:buClr>
              <a:buFont typeface="Wingdings" panose="05000000000000000000" pitchFamily="2" charset="2"/>
              <a:buChar char="§"/>
              <a:defRPr sz="1400" kern="1200">
                <a:solidFill>
                  <a:schemeClr val="tx1"/>
                </a:solidFill>
              </a:defRPr>
            </a:lvl2pPr>
            <a:lvl3pPr marL="360000" indent="-180000" defTabSz="914400" eaLnBrk="1" hangingPunct="1">
              <a:lnSpc>
                <a:spcPct val="100000"/>
              </a:lnSpc>
              <a:spcBef>
                <a:spcPts val="600"/>
              </a:spcBef>
              <a:buClr>
                <a:schemeClr val="tx1"/>
              </a:buClr>
              <a:buFont typeface="Arial" panose="020B0604020202020204" pitchFamily="34" charset="0"/>
              <a:buChar char="•"/>
              <a:defRPr sz="1400" kern="1200">
                <a:solidFill>
                  <a:schemeClr val="tx1"/>
                </a:solidFill>
              </a:defRPr>
            </a:lvl3pPr>
            <a:lvl4pPr marL="539750" indent="-180000" defTabSz="914400" eaLnBrk="1" hangingPunct="1">
              <a:lnSpc>
                <a:spcPct val="100000"/>
              </a:lnSpc>
              <a:spcBef>
                <a:spcPts val="600"/>
              </a:spcBef>
              <a:buClr>
                <a:schemeClr val="tx1"/>
              </a:buClr>
              <a:buFont typeface="Verdana" panose="020B0604030504040204" pitchFamily="34" charset="0"/>
              <a:buChar char="‒"/>
              <a:defRPr sz="1200" kern="1200">
                <a:solidFill>
                  <a:schemeClr val="tx1"/>
                </a:solidFill>
              </a:defRPr>
            </a:lvl4pPr>
            <a:lvl5pPr marL="719138" indent="-180975" defTabSz="914400" eaLnBrk="1" hangingPunct="1">
              <a:lnSpc>
                <a:spcPct val="100000"/>
              </a:lnSpc>
              <a:spcBef>
                <a:spcPts val="600"/>
              </a:spcBef>
              <a:buClr>
                <a:schemeClr val="tx1"/>
              </a:buClr>
              <a:buFont typeface="Arial" panose="020B0604020202020204" pitchFamily="34" charset="0"/>
              <a:buChar char="•"/>
              <a:defRPr sz="1200" kern="1200">
                <a:solidFill>
                  <a:schemeClr val="tx1"/>
                </a:solidFill>
              </a:defRPr>
            </a:lvl5pPr>
            <a:lvl6pPr marL="2514600" indent="-228600" defTabSz="914400" eaLnBrk="1" hangingPunct="1">
              <a:lnSpc>
                <a:spcPct val="90000"/>
              </a:lnSpc>
              <a:spcBef>
                <a:spcPts val="500"/>
              </a:spcBef>
              <a:buFont typeface="Arial" panose="020B0604020202020204" pitchFamily="34" charset="0"/>
              <a:buChar char="•"/>
              <a:defRPr sz="1800" kern="1200">
                <a:solidFill>
                  <a:schemeClr val="tx1"/>
                </a:solidFill>
              </a:defRPr>
            </a:lvl6pPr>
            <a:lvl7pPr marL="2971800" indent="-228600" defTabSz="914400" eaLnBrk="1" hangingPunct="1">
              <a:lnSpc>
                <a:spcPct val="90000"/>
              </a:lnSpc>
              <a:spcBef>
                <a:spcPts val="500"/>
              </a:spcBef>
              <a:buFont typeface="Arial" panose="020B0604020202020204" pitchFamily="34" charset="0"/>
              <a:buChar char="•"/>
              <a:defRPr sz="1800" kern="1200">
                <a:solidFill>
                  <a:schemeClr val="tx1"/>
                </a:solidFill>
              </a:defRPr>
            </a:lvl7pPr>
            <a:lvl8pPr marL="3429000" indent="-228600" defTabSz="914400" eaLnBrk="1" hangingPunct="1">
              <a:lnSpc>
                <a:spcPct val="90000"/>
              </a:lnSpc>
              <a:spcBef>
                <a:spcPts val="500"/>
              </a:spcBef>
              <a:buFont typeface="Arial" panose="020B0604020202020204" pitchFamily="34" charset="0"/>
              <a:buChar char="•"/>
              <a:defRPr sz="1800" kern="1200">
                <a:solidFill>
                  <a:schemeClr val="tx1"/>
                </a:solidFill>
              </a:defRPr>
            </a:lvl8pPr>
            <a:lvl9pPr marL="3886200" indent="-228600" defTabSz="914400" eaLnBrk="1" hangingPunct="1">
              <a:lnSpc>
                <a:spcPct val="90000"/>
              </a:lnSpc>
              <a:spcBef>
                <a:spcPts val="500"/>
              </a:spcBef>
              <a:buFont typeface="Arial" panose="020B0604020202020204" pitchFamily="34" charset="0"/>
              <a:buChar char="•"/>
              <a:defRPr sz="1800" kern="1200">
                <a:solidFill>
                  <a:schemeClr val="tx1"/>
                </a:solidFill>
              </a:defRPr>
            </a:lvl9pPr>
          </a:lstStyle>
          <a:p>
            <a:r>
              <a:rPr lang="en-US">
                <a:solidFill>
                  <a:srgbClr val="0E176D"/>
                </a:solidFill>
              </a:rPr>
              <a:t>Confidence in Repairs</a:t>
            </a:r>
            <a:r>
              <a:rPr lang="en-US" b="0"/>
              <a:t>: Increased trust through transparent repair processes.</a:t>
            </a:r>
          </a:p>
          <a:p>
            <a:r>
              <a:rPr lang="en-US">
                <a:solidFill>
                  <a:srgbClr val="0E176D"/>
                </a:solidFill>
              </a:rPr>
              <a:t>Cost Clarity</a:t>
            </a:r>
            <a:r>
              <a:rPr lang="en-US" b="0">
                <a:solidFill>
                  <a:srgbClr val="0E176D"/>
                </a:solidFill>
              </a:rPr>
              <a:t>: </a:t>
            </a:r>
            <a:r>
              <a:rPr lang="en-US" b="0"/>
              <a:t>Clear insights into repair costs and timelines.</a:t>
            </a:r>
          </a:p>
          <a:p>
            <a:r>
              <a:rPr lang="en-US">
                <a:solidFill>
                  <a:srgbClr val="0E176D"/>
                </a:solidFill>
              </a:rPr>
              <a:t>Stress Reduction</a:t>
            </a:r>
            <a:r>
              <a:rPr lang="en-US" b="0"/>
              <a:t>: Less anxiety with quicker, understandable estimation communications.</a:t>
            </a:r>
          </a:p>
        </p:txBody>
      </p:sp>
      <p:sp>
        <p:nvSpPr>
          <p:cNvPr id="66" name="Graphic 2">
            <a:extLst>
              <a:ext uri="{FF2B5EF4-FFF2-40B4-BE49-F238E27FC236}">
                <a16:creationId xmlns:a16="http://schemas.microsoft.com/office/drawing/2014/main" id="{A758BE1B-56E6-5B19-F6EA-4CB1D075A1A5}"/>
              </a:ext>
            </a:extLst>
          </p:cNvPr>
          <p:cNvSpPr>
            <a:spLocks noChangeAspect="1"/>
          </p:cNvSpPr>
          <p:nvPr/>
        </p:nvSpPr>
        <p:spPr>
          <a:xfrm>
            <a:off x="16210937" y="4830965"/>
            <a:ext cx="829062" cy="972000"/>
          </a:xfrm>
          <a:custGeom>
            <a:avLst/>
            <a:gdLst>
              <a:gd name="connsiteX0" fmla="*/ 407087 w 395062"/>
              <a:gd name="connsiteY0" fmla="*/ 252295 h 463176"/>
              <a:gd name="connsiteX1" fmla="*/ 407087 w 395062"/>
              <a:gd name="connsiteY1" fmla="*/ 58033 h 463176"/>
              <a:gd name="connsiteX2" fmla="*/ 382839 w 395062"/>
              <a:gd name="connsiteY2" fmla="*/ 32559 h 463176"/>
              <a:gd name="connsiteX3" fmla="*/ 207240 w 395062"/>
              <a:gd name="connsiteY3" fmla="*/ 954 h 463176"/>
              <a:gd name="connsiteX4" fmla="*/ 206287 w 395062"/>
              <a:gd name="connsiteY4" fmla="*/ 954 h 463176"/>
              <a:gd name="connsiteX5" fmla="*/ 204379 w 395062"/>
              <a:gd name="connsiteY5" fmla="*/ 0 h 463176"/>
              <a:gd name="connsiteX6" fmla="*/ 201791 w 395062"/>
              <a:gd name="connsiteY6" fmla="*/ 0 h 463176"/>
              <a:gd name="connsiteX7" fmla="*/ 200429 w 395062"/>
              <a:gd name="connsiteY7" fmla="*/ 0 h 463176"/>
              <a:gd name="connsiteX8" fmla="*/ 199475 w 395062"/>
              <a:gd name="connsiteY8" fmla="*/ 0 h 463176"/>
              <a:gd name="connsiteX9" fmla="*/ 24422 w 395062"/>
              <a:gd name="connsiteY9" fmla="*/ 32559 h 463176"/>
              <a:gd name="connsiteX10" fmla="*/ 37 w 395062"/>
              <a:gd name="connsiteY10" fmla="*/ 58033 h 463176"/>
              <a:gd name="connsiteX11" fmla="*/ 37 w 395062"/>
              <a:gd name="connsiteY11" fmla="*/ 251477 h 463176"/>
              <a:gd name="connsiteX12" fmla="*/ 201791 w 395062"/>
              <a:gd name="connsiteY12" fmla="*/ 463176 h 463176"/>
              <a:gd name="connsiteX13" fmla="*/ 203562 w 395062"/>
              <a:gd name="connsiteY13" fmla="*/ 463176 h 463176"/>
              <a:gd name="connsiteX14" fmla="*/ 203562 w 395062"/>
              <a:gd name="connsiteY14" fmla="*/ 463176 h 463176"/>
              <a:gd name="connsiteX15" fmla="*/ 205333 w 395062"/>
              <a:gd name="connsiteY15" fmla="*/ 463176 h 463176"/>
              <a:gd name="connsiteX16" fmla="*/ 407087 w 395062"/>
              <a:gd name="connsiteY16" fmla="*/ 252295 h 463176"/>
              <a:gd name="connsiteX17" fmla="*/ 203562 w 395062"/>
              <a:gd name="connsiteY17" fmla="*/ 449553 h 463176"/>
              <a:gd name="connsiteX18" fmla="*/ 68151 w 395062"/>
              <a:gd name="connsiteY18" fmla="*/ 375990 h 463176"/>
              <a:gd name="connsiteX19" fmla="*/ 68151 w 395062"/>
              <a:gd name="connsiteY19" fmla="*/ 372720 h 463176"/>
              <a:gd name="connsiteX20" fmla="*/ 68151 w 395062"/>
              <a:gd name="connsiteY20" fmla="*/ 355556 h 463176"/>
              <a:gd name="connsiteX21" fmla="*/ 133132 w 395062"/>
              <a:gd name="connsiteY21" fmla="*/ 289076 h 463176"/>
              <a:gd name="connsiteX22" fmla="*/ 177134 w 395062"/>
              <a:gd name="connsiteY22" fmla="*/ 244393 h 463176"/>
              <a:gd name="connsiteX23" fmla="*/ 204379 w 395062"/>
              <a:gd name="connsiteY23" fmla="*/ 250387 h 463176"/>
              <a:gd name="connsiteX24" fmla="*/ 204379 w 395062"/>
              <a:gd name="connsiteY24" fmla="*/ 250387 h 463176"/>
              <a:gd name="connsiteX25" fmla="*/ 230535 w 395062"/>
              <a:gd name="connsiteY25" fmla="*/ 245211 h 463176"/>
              <a:gd name="connsiteX26" fmla="*/ 274673 w 395062"/>
              <a:gd name="connsiteY26" fmla="*/ 288804 h 463176"/>
              <a:gd name="connsiteX27" fmla="*/ 340608 w 395062"/>
              <a:gd name="connsiteY27" fmla="*/ 355692 h 463176"/>
              <a:gd name="connsiteX28" fmla="*/ 340608 w 395062"/>
              <a:gd name="connsiteY28" fmla="*/ 375581 h 463176"/>
              <a:gd name="connsiteX29" fmla="*/ 203562 w 395062"/>
              <a:gd name="connsiteY29" fmla="*/ 449553 h 463176"/>
              <a:gd name="connsiteX30" fmla="*/ 240889 w 395062"/>
              <a:gd name="connsiteY30" fmla="*/ 222733 h 463176"/>
              <a:gd name="connsiteX31" fmla="*/ 204379 w 395062"/>
              <a:gd name="connsiteY31" fmla="*/ 236765 h 463176"/>
              <a:gd name="connsiteX32" fmla="*/ 204379 w 395062"/>
              <a:gd name="connsiteY32" fmla="*/ 236765 h 463176"/>
              <a:gd name="connsiteX33" fmla="*/ 167325 w 395062"/>
              <a:gd name="connsiteY33" fmla="*/ 221643 h 463176"/>
              <a:gd name="connsiteX34" fmla="*/ 147981 w 395062"/>
              <a:gd name="connsiteY34" fmla="*/ 168514 h 463176"/>
              <a:gd name="connsiteX35" fmla="*/ 147981 w 395062"/>
              <a:gd name="connsiteY35" fmla="*/ 165790 h 463176"/>
              <a:gd name="connsiteX36" fmla="*/ 147981 w 395062"/>
              <a:gd name="connsiteY36" fmla="*/ 133367 h 463176"/>
              <a:gd name="connsiteX37" fmla="*/ 203290 w 395062"/>
              <a:gd name="connsiteY37" fmla="*/ 95360 h 463176"/>
              <a:gd name="connsiteX38" fmla="*/ 259824 w 395062"/>
              <a:gd name="connsiteY38" fmla="*/ 133504 h 463176"/>
              <a:gd name="connsiteX39" fmla="*/ 259824 w 395062"/>
              <a:gd name="connsiteY39" fmla="*/ 165926 h 463176"/>
              <a:gd name="connsiteX40" fmla="*/ 258871 w 395062"/>
              <a:gd name="connsiteY40" fmla="*/ 171648 h 463176"/>
              <a:gd name="connsiteX41" fmla="*/ 240889 w 395062"/>
              <a:gd name="connsiteY41" fmla="*/ 222324 h 463176"/>
              <a:gd name="connsiteX42" fmla="*/ 354231 w 395062"/>
              <a:gd name="connsiteY42" fmla="*/ 360460 h 463176"/>
              <a:gd name="connsiteX43" fmla="*/ 354231 w 395062"/>
              <a:gd name="connsiteY43" fmla="*/ 355283 h 463176"/>
              <a:gd name="connsiteX44" fmla="*/ 275354 w 395062"/>
              <a:gd name="connsiteY44" fmla="*/ 275453 h 463176"/>
              <a:gd name="connsiteX45" fmla="*/ 244567 w 395062"/>
              <a:gd name="connsiteY45" fmla="*/ 242759 h 463176"/>
              <a:gd name="connsiteX46" fmla="*/ 244567 w 395062"/>
              <a:gd name="connsiteY46" fmla="*/ 237718 h 463176"/>
              <a:gd name="connsiteX47" fmla="*/ 251514 w 395062"/>
              <a:gd name="connsiteY47" fmla="*/ 231179 h 463176"/>
              <a:gd name="connsiteX48" fmla="*/ 272494 w 395062"/>
              <a:gd name="connsiteY48" fmla="*/ 173827 h 463176"/>
              <a:gd name="connsiteX49" fmla="*/ 273311 w 395062"/>
              <a:gd name="connsiteY49" fmla="*/ 167969 h 463176"/>
              <a:gd name="connsiteX50" fmla="*/ 273311 w 395062"/>
              <a:gd name="connsiteY50" fmla="*/ 130643 h 463176"/>
              <a:gd name="connsiteX51" fmla="*/ 203426 w 395062"/>
              <a:gd name="connsiteY51" fmla="*/ 81601 h 463176"/>
              <a:gd name="connsiteX52" fmla="*/ 134086 w 395062"/>
              <a:gd name="connsiteY52" fmla="*/ 130643 h 463176"/>
              <a:gd name="connsiteX53" fmla="*/ 134086 w 395062"/>
              <a:gd name="connsiteY53" fmla="*/ 167969 h 463176"/>
              <a:gd name="connsiteX54" fmla="*/ 134086 w 395062"/>
              <a:gd name="connsiteY54" fmla="*/ 170694 h 463176"/>
              <a:gd name="connsiteX55" fmla="*/ 156563 w 395062"/>
              <a:gd name="connsiteY55" fmla="*/ 230498 h 463176"/>
              <a:gd name="connsiteX56" fmla="*/ 162012 w 395062"/>
              <a:gd name="connsiteY56" fmla="*/ 235675 h 463176"/>
              <a:gd name="connsiteX57" fmla="*/ 162830 w 395062"/>
              <a:gd name="connsiteY57" fmla="*/ 242759 h 463176"/>
              <a:gd name="connsiteX58" fmla="*/ 132042 w 395062"/>
              <a:gd name="connsiteY58" fmla="*/ 275453 h 463176"/>
              <a:gd name="connsiteX59" fmla="*/ 53438 w 395062"/>
              <a:gd name="connsiteY59" fmla="*/ 355283 h 463176"/>
              <a:gd name="connsiteX60" fmla="*/ 53438 w 395062"/>
              <a:gd name="connsiteY60" fmla="*/ 360732 h 463176"/>
              <a:gd name="connsiteX61" fmla="*/ 13387 w 395062"/>
              <a:gd name="connsiteY61" fmla="*/ 251750 h 463176"/>
              <a:gd name="connsiteX62" fmla="*/ 13387 w 395062"/>
              <a:gd name="connsiteY62" fmla="*/ 58033 h 463176"/>
              <a:gd name="connsiteX63" fmla="*/ 24831 w 395062"/>
              <a:gd name="connsiteY63" fmla="*/ 46181 h 463176"/>
              <a:gd name="connsiteX64" fmla="*/ 203426 w 395062"/>
              <a:gd name="connsiteY64" fmla="*/ 14440 h 463176"/>
              <a:gd name="connsiteX65" fmla="*/ 381885 w 395062"/>
              <a:gd name="connsiteY65" fmla="*/ 46181 h 463176"/>
              <a:gd name="connsiteX66" fmla="*/ 393192 w 395062"/>
              <a:gd name="connsiteY66" fmla="*/ 58033 h 463176"/>
              <a:gd name="connsiteX67" fmla="*/ 393192 w 395062"/>
              <a:gd name="connsiteY67" fmla="*/ 252840 h 463176"/>
              <a:gd name="connsiteX68" fmla="*/ 354231 w 395062"/>
              <a:gd name="connsiteY68" fmla="*/ 360460 h 46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95062" h="463176">
                <a:moveTo>
                  <a:pt x="407087" y="252295"/>
                </a:moveTo>
                <a:lnTo>
                  <a:pt x="407087" y="58033"/>
                </a:lnTo>
                <a:cubicBezTo>
                  <a:pt x="407104" y="44429"/>
                  <a:pt x="396427" y="33213"/>
                  <a:pt x="382839" y="32559"/>
                </a:cubicBezTo>
                <a:cubicBezTo>
                  <a:pt x="341970" y="30515"/>
                  <a:pt x="243749" y="23431"/>
                  <a:pt x="207240" y="954"/>
                </a:cubicBezTo>
                <a:cubicBezTo>
                  <a:pt x="207240" y="954"/>
                  <a:pt x="207240" y="954"/>
                  <a:pt x="206287" y="954"/>
                </a:cubicBezTo>
                <a:lnTo>
                  <a:pt x="204379" y="0"/>
                </a:lnTo>
                <a:lnTo>
                  <a:pt x="201791" y="0"/>
                </a:lnTo>
                <a:lnTo>
                  <a:pt x="200429" y="0"/>
                </a:lnTo>
                <a:cubicBezTo>
                  <a:pt x="200429" y="0"/>
                  <a:pt x="199748" y="0"/>
                  <a:pt x="199475" y="0"/>
                </a:cubicBezTo>
                <a:cubicBezTo>
                  <a:pt x="163511" y="23431"/>
                  <a:pt x="65018" y="30515"/>
                  <a:pt x="24422" y="32559"/>
                </a:cubicBezTo>
                <a:cubicBezTo>
                  <a:pt x="10811" y="33211"/>
                  <a:pt x="94" y="44407"/>
                  <a:pt x="37" y="58033"/>
                </a:cubicBezTo>
                <a:lnTo>
                  <a:pt x="37" y="251477"/>
                </a:lnTo>
                <a:cubicBezTo>
                  <a:pt x="37" y="252976"/>
                  <a:pt x="-7728" y="406369"/>
                  <a:pt x="201791" y="463176"/>
                </a:cubicBezTo>
                <a:cubicBezTo>
                  <a:pt x="202374" y="463305"/>
                  <a:pt x="202979" y="463305"/>
                  <a:pt x="203562" y="463176"/>
                </a:cubicBezTo>
                <a:lnTo>
                  <a:pt x="203562" y="463176"/>
                </a:lnTo>
                <a:cubicBezTo>
                  <a:pt x="204145" y="463305"/>
                  <a:pt x="204750" y="463305"/>
                  <a:pt x="205333" y="463176"/>
                </a:cubicBezTo>
                <a:cubicBezTo>
                  <a:pt x="417168" y="405279"/>
                  <a:pt x="407223" y="253248"/>
                  <a:pt x="407087" y="252295"/>
                </a:cubicBezTo>
                <a:close/>
                <a:moveTo>
                  <a:pt x="203562" y="449553"/>
                </a:moveTo>
                <a:cubicBezTo>
                  <a:pt x="152738" y="437374"/>
                  <a:pt x="106029" y="411999"/>
                  <a:pt x="68151" y="375990"/>
                </a:cubicBezTo>
                <a:lnTo>
                  <a:pt x="68151" y="372720"/>
                </a:lnTo>
                <a:cubicBezTo>
                  <a:pt x="68151" y="367135"/>
                  <a:pt x="68151" y="356509"/>
                  <a:pt x="68151" y="355556"/>
                </a:cubicBezTo>
                <a:cubicBezTo>
                  <a:pt x="67996" y="319359"/>
                  <a:pt x="96940" y="289747"/>
                  <a:pt x="133132" y="289076"/>
                </a:cubicBezTo>
                <a:cubicBezTo>
                  <a:pt x="157390" y="288350"/>
                  <a:pt x="176780" y="268660"/>
                  <a:pt x="177134" y="244393"/>
                </a:cubicBezTo>
                <a:cubicBezTo>
                  <a:pt x="185790" y="247989"/>
                  <a:pt x="195014" y="250018"/>
                  <a:pt x="204379" y="250387"/>
                </a:cubicBezTo>
                <a:lnTo>
                  <a:pt x="204379" y="250387"/>
                </a:lnTo>
                <a:cubicBezTo>
                  <a:pt x="213338" y="250243"/>
                  <a:pt x="222197" y="248488"/>
                  <a:pt x="230535" y="245211"/>
                </a:cubicBezTo>
                <a:cubicBezTo>
                  <a:pt x="231394" y="269133"/>
                  <a:pt x="250743" y="288243"/>
                  <a:pt x="274673" y="288804"/>
                </a:cubicBezTo>
                <a:cubicBezTo>
                  <a:pt x="311148" y="289542"/>
                  <a:pt x="340394" y="319210"/>
                  <a:pt x="340608" y="355692"/>
                </a:cubicBezTo>
                <a:lnTo>
                  <a:pt x="340608" y="375581"/>
                </a:lnTo>
                <a:cubicBezTo>
                  <a:pt x="302284" y="411942"/>
                  <a:pt x="254990" y="437470"/>
                  <a:pt x="203562" y="449553"/>
                </a:cubicBezTo>
                <a:close/>
                <a:moveTo>
                  <a:pt x="240889" y="222733"/>
                </a:moveTo>
                <a:cubicBezTo>
                  <a:pt x="231054" y="232055"/>
                  <a:pt x="217926" y="237101"/>
                  <a:pt x="204379" y="236765"/>
                </a:cubicBezTo>
                <a:lnTo>
                  <a:pt x="204379" y="236765"/>
                </a:lnTo>
                <a:cubicBezTo>
                  <a:pt x="190580" y="236500"/>
                  <a:pt x="177371" y="231110"/>
                  <a:pt x="167325" y="221643"/>
                </a:cubicBezTo>
                <a:cubicBezTo>
                  <a:pt x="156209" y="205999"/>
                  <a:pt x="149526" y="187644"/>
                  <a:pt x="147981" y="168514"/>
                </a:cubicBezTo>
                <a:lnTo>
                  <a:pt x="147981" y="165790"/>
                </a:lnTo>
                <a:cubicBezTo>
                  <a:pt x="146269" y="155050"/>
                  <a:pt x="146269" y="144108"/>
                  <a:pt x="147981" y="133367"/>
                </a:cubicBezTo>
                <a:cubicBezTo>
                  <a:pt x="155337" y="94406"/>
                  <a:pt x="200974" y="95360"/>
                  <a:pt x="203290" y="95360"/>
                </a:cubicBezTo>
                <a:cubicBezTo>
                  <a:pt x="205606" y="95360"/>
                  <a:pt x="251514" y="94134"/>
                  <a:pt x="259824" y="133504"/>
                </a:cubicBezTo>
                <a:cubicBezTo>
                  <a:pt x="261541" y="144243"/>
                  <a:pt x="261541" y="155187"/>
                  <a:pt x="259824" y="165926"/>
                </a:cubicBezTo>
                <a:lnTo>
                  <a:pt x="258871" y="171648"/>
                </a:lnTo>
                <a:cubicBezTo>
                  <a:pt x="257714" y="189886"/>
                  <a:pt x="251486" y="207437"/>
                  <a:pt x="240889" y="222324"/>
                </a:cubicBezTo>
                <a:close/>
                <a:moveTo>
                  <a:pt x="354231" y="360460"/>
                </a:moveTo>
                <a:lnTo>
                  <a:pt x="354231" y="355283"/>
                </a:lnTo>
                <a:cubicBezTo>
                  <a:pt x="353246" y="311976"/>
                  <a:pt x="318646" y="276959"/>
                  <a:pt x="275354" y="275453"/>
                </a:cubicBezTo>
                <a:cubicBezTo>
                  <a:pt x="257855" y="274861"/>
                  <a:pt x="244108" y="260263"/>
                  <a:pt x="244567" y="242759"/>
                </a:cubicBezTo>
                <a:cubicBezTo>
                  <a:pt x="244567" y="240988"/>
                  <a:pt x="244567" y="239353"/>
                  <a:pt x="244567" y="237718"/>
                </a:cubicBezTo>
                <a:cubicBezTo>
                  <a:pt x="247078" y="235757"/>
                  <a:pt x="249404" y="233567"/>
                  <a:pt x="251514" y="231179"/>
                </a:cubicBezTo>
                <a:cubicBezTo>
                  <a:pt x="263680" y="214371"/>
                  <a:pt x="270942" y="194518"/>
                  <a:pt x="272494" y="173827"/>
                </a:cubicBezTo>
                <a:lnTo>
                  <a:pt x="273311" y="167969"/>
                </a:lnTo>
                <a:cubicBezTo>
                  <a:pt x="275399" y="155615"/>
                  <a:pt x="275399" y="142997"/>
                  <a:pt x="273311" y="130643"/>
                </a:cubicBezTo>
                <a:cubicBezTo>
                  <a:pt x="264729" y="89774"/>
                  <a:pt x="223588" y="80920"/>
                  <a:pt x="203426" y="81601"/>
                </a:cubicBezTo>
                <a:cubicBezTo>
                  <a:pt x="183264" y="82282"/>
                  <a:pt x="142259" y="90319"/>
                  <a:pt x="134086" y="130643"/>
                </a:cubicBezTo>
                <a:cubicBezTo>
                  <a:pt x="131997" y="142997"/>
                  <a:pt x="131997" y="155615"/>
                  <a:pt x="134086" y="167969"/>
                </a:cubicBezTo>
                <a:lnTo>
                  <a:pt x="134086" y="170694"/>
                </a:lnTo>
                <a:cubicBezTo>
                  <a:pt x="135914" y="192322"/>
                  <a:pt x="143694" y="213020"/>
                  <a:pt x="156563" y="230498"/>
                </a:cubicBezTo>
                <a:cubicBezTo>
                  <a:pt x="158278" y="232328"/>
                  <a:pt x="160097" y="234056"/>
                  <a:pt x="162012" y="235675"/>
                </a:cubicBezTo>
                <a:cubicBezTo>
                  <a:pt x="162491" y="238008"/>
                  <a:pt x="162764" y="240377"/>
                  <a:pt x="162830" y="242759"/>
                </a:cubicBezTo>
                <a:cubicBezTo>
                  <a:pt x="163289" y="260263"/>
                  <a:pt x="149542" y="274861"/>
                  <a:pt x="132042" y="275453"/>
                </a:cubicBezTo>
                <a:cubicBezTo>
                  <a:pt x="88433" y="276124"/>
                  <a:pt x="53433" y="311668"/>
                  <a:pt x="53438" y="355283"/>
                </a:cubicBezTo>
                <a:lnTo>
                  <a:pt x="53438" y="360732"/>
                </a:lnTo>
                <a:cubicBezTo>
                  <a:pt x="27620" y="330284"/>
                  <a:pt x="13430" y="291670"/>
                  <a:pt x="13387" y="251750"/>
                </a:cubicBezTo>
                <a:lnTo>
                  <a:pt x="13387" y="58033"/>
                </a:lnTo>
                <a:cubicBezTo>
                  <a:pt x="13453" y="51672"/>
                  <a:pt x="18476" y="46470"/>
                  <a:pt x="24831" y="46181"/>
                </a:cubicBezTo>
                <a:cubicBezTo>
                  <a:pt x="65699" y="44138"/>
                  <a:pt x="162012" y="37054"/>
                  <a:pt x="203426" y="14440"/>
                </a:cubicBezTo>
                <a:cubicBezTo>
                  <a:pt x="244294" y="37054"/>
                  <a:pt x="341289" y="44138"/>
                  <a:pt x="381885" y="46181"/>
                </a:cubicBezTo>
                <a:cubicBezTo>
                  <a:pt x="388217" y="46473"/>
                  <a:pt x="393199" y="51695"/>
                  <a:pt x="393192" y="58033"/>
                </a:cubicBezTo>
                <a:lnTo>
                  <a:pt x="393192" y="252840"/>
                </a:lnTo>
                <a:cubicBezTo>
                  <a:pt x="393240" y="292174"/>
                  <a:pt x="379447" y="330272"/>
                  <a:pt x="354231" y="360460"/>
                </a:cubicBezTo>
                <a:close/>
              </a:path>
            </a:pathLst>
          </a:custGeom>
          <a:solidFill>
            <a:srgbClr val="0E176D"/>
          </a:solidFill>
          <a:ln w="13335" cap="flat">
            <a:solidFill>
              <a:srgbClr val="0E176D"/>
            </a:solidFill>
            <a:prstDash val="solid"/>
            <a:miter/>
          </a:ln>
        </p:spPr>
        <p:txBody>
          <a:bodyPr rtlCol="0" anchor="ctr"/>
          <a:lstStyle/>
          <a:p>
            <a:endParaRPr lang="en-US"/>
          </a:p>
        </p:txBody>
      </p:sp>
      <p:sp>
        <p:nvSpPr>
          <p:cNvPr id="79" name="TextBox 78">
            <a:extLst>
              <a:ext uri="{FF2B5EF4-FFF2-40B4-BE49-F238E27FC236}">
                <a16:creationId xmlns:a16="http://schemas.microsoft.com/office/drawing/2014/main" id="{55ECFF4B-8A07-7576-AF4B-6651D48459F9}"/>
              </a:ext>
            </a:extLst>
          </p:cNvPr>
          <p:cNvSpPr txBox="1"/>
          <p:nvPr/>
        </p:nvSpPr>
        <p:spPr>
          <a:xfrm>
            <a:off x="15854904" y="5900336"/>
            <a:ext cx="1662113" cy="590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en-US" sz="2000" b="1">
                <a:solidFill>
                  <a:srgbClr val="0E176D"/>
                </a:solidFill>
              </a:rPr>
              <a:t>Vehicle</a:t>
            </a:r>
          </a:p>
          <a:p>
            <a:pPr algn="ctr"/>
            <a:r>
              <a:rPr lang="en-US" sz="2000" b="1">
                <a:solidFill>
                  <a:srgbClr val="0E176D"/>
                </a:solidFill>
              </a:rPr>
              <a:t>Owners</a:t>
            </a:r>
          </a:p>
        </p:txBody>
      </p:sp>
      <p:sp>
        <p:nvSpPr>
          <p:cNvPr id="83" name="Title 2">
            <a:extLst>
              <a:ext uri="{FF2B5EF4-FFF2-40B4-BE49-F238E27FC236}">
                <a16:creationId xmlns:a16="http://schemas.microsoft.com/office/drawing/2014/main" id="{38D878E1-F554-941F-0154-E4A27F5311A7}"/>
              </a:ext>
            </a:extLst>
          </p:cNvPr>
          <p:cNvSpPr txBox="1">
            <a:spLocks/>
          </p:cNvSpPr>
          <p:nvPr/>
        </p:nvSpPr>
        <p:spPr>
          <a:xfrm>
            <a:off x="1728404" y="3733800"/>
            <a:ext cx="12311846" cy="387798"/>
          </a:xfrm>
          <a:prstGeom prst="rect">
            <a:avLst/>
          </a:prstGeom>
        </p:spPr>
        <p:txBody>
          <a:bodyPr vert="horz" wrap="square" lIns="0" tIns="0" rIns="0" bIns="0" rtlCol="0" anchor="t" anchorCtr="0">
            <a:spAutoFit/>
          </a:bodyPr>
          <a:lstStyle>
            <a:lvl1pPr marL="0" marR="0" indent="0" algn="l" defTabSz="1130300" latinLnBrk="0">
              <a:lnSpc>
                <a:spcPct val="90000"/>
              </a:lnSpc>
              <a:spcBef>
                <a:spcPts val="0"/>
              </a:spcBef>
              <a:spcAft>
                <a:spcPts val="0"/>
              </a:spcAft>
              <a:buClrTx/>
              <a:buSzTx/>
              <a:buFontTx/>
              <a:buNone/>
              <a:tabLst/>
              <a:defRPr sz="7200" b="1" i="0" u="none" strike="noStrike" cap="none" spc="-72" baseline="0">
                <a:solidFill>
                  <a:schemeClr val="tx1"/>
                </a:solidFill>
                <a:uFill>
                  <a:solidFill>
                    <a:srgbClr val="FFFFFF"/>
                  </a:solidFill>
                </a:uFill>
                <a:latin typeface="Times New Roman" panose="02020603050405020304" pitchFamily="18" charset="0"/>
                <a:ea typeface="Arial" panose="020B0604020202020204" pitchFamily="34" charset="0"/>
                <a:cs typeface="Arial" panose="020B0604020202020204" pitchFamily="34" charset="0"/>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hangingPunct="1"/>
            <a:r>
              <a:rPr lang="en-US" sz="2800" b="0" spc="300">
                <a:latin typeface="+mn-lt"/>
              </a:rPr>
              <a:t>GAIN CREATORS FOR THREE POTENTIAL USER GROUPS</a:t>
            </a:r>
          </a:p>
        </p:txBody>
      </p:sp>
      <p:sp>
        <p:nvSpPr>
          <p:cNvPr id="85" name="Ribbon: Tilted Down 84">
            <a:extLst>
              <a:ext uri="{FF2B5EF4-FFF2-40B4-BE49-F238E27FC236}">
                <a16:creationId xmlns:a16="http://schemas.microsoft.com/office/drawing/2014/main" id="{6F7A9BC0-85AF-3D85-AAA5-6CCB7E0E1E22}"/>
              </a:ext>
            </a:extLst>
          </p:cNvPr>
          <p:cNvSpPr/>
          <p:nvPr/>
        </p:nvSpPr>
        <p:spPr>
          <a:xfrm>
            <a:off x="1334763" y="6623257"/>
            <a:ext cx="1554187" cy="738913"/>
          </a:xfrm>
          <a:prstGeom prst="ribbon">
            <a:avLst>
              <a:gd name="adj1" fmla="val 16667"/>
              <a:gd name="adj2" fmla="val 75000"/>
            </a:avLst>
          </a:prstGeom>
          <a:solidFill>
            <a:srgbClr val="416CF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L="0" marR="0" indent="0" algn="ctr" defTabSz="82296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a:ln>
                  <a:noFill/>
                </a:ln>
                <a:solidFill>
                  <a:schemeClr val="bg1"/>
                </a:solidFill>
                <a:effectLst/>
                <a:uFillTx/>
                <a:latin typeface="+mn-lt"/>
                <a:ea typeface="+mn-ea"/>
                <a:cs typeface="+mn-cs"/>
                <a:sym typeface="BentonSansF Book"/>
              </a:rPr>
              <a:t>Focus of our PoC </a:t>
            </a:r>
          </a:p>
        </p:txBody>
      </p:sp>
      <p:pic>
        <p:nvPicPr>
          <p:cNvPr id="17" name="Graphic 16" descr="Lightbulb and pencil with solid fill">
            <a:extLst>
              <a:ext uri="{FF2B5EF4-FFF2-40B4-BE49-F238E27FC236}">
                <a16:creationId xmlns:a16="http://schemas.microsoft.com/office/drawing/2014/main" id="{BDD4EEEC-06C6-2B52-A274-9E03704BD540}"/>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979441" y="11200122"/>
            <a:ext cx="914400" cy="914400"/>
          </a:xfrm>
          <a:prstGeom prst="rect">
            <a:avLst/>
          </a:prstGeom>
        </p:spPr>
      </p:pic>
      <p:pic>
        <p:nvPicPr>
          <p:cNvPr id="15" name="Picture 14" descr="A person with a computer in front of a damaged car&#10;&#10;Description automatically generated">
            <a:extLst>
              <a:ext uri="{FF2B5EF4-FFF2-40B4-BE49-F238E27FC236}">
                <a16:creationId xmlns:a16="http://schemas.microsoft.com/office/drawing/2014/main" id="{02CFA831-BB34-92C9-0F5B-42F7CFB323A2}"/>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t="-256"/>
          <a:stretch/>
        </p:blipFill>
        <p:spPr>
          <a:xfrm>
            <a:off x="14161568" y="8406988"/>
            <a:ext cx="3442722" cy="3322600"/>
          </a:xfrm>
          <a:prstGeom prst="rect">
            <a:avLst/>
          </a:prstGeom>
          <a:ln w="38100">
            <a:solidFill>
              <a:schemeClr val="tx2">
                <a:lumMod val="50000"/>
              </a:schemeClr>
            </a:solidFill>
          </a:ln>
          <a:effectLst>
            <a:glow rad="63500">
              <a:srgbClr val="416CF9">
                <a:alpha val="40000"/>
              </a:srgbClr>
            </a:glow>
          </a:effectLst>
        </p:spPr>
      </p:pic>
      <p:sp>
        <p:nvSpPr>
          <p:cNvPr id="16" name="Text Placeholder 6">
            <a:extLst>
              <a:ext uri="{FF2B5EF4-FFF2-40B4-BE49-F238E27FC236}">
                <a16:creationId xmlns:a16="http://schemas.microsoft.com/office/drawing/2014/main" id="{4F2FE525-40A3-FDAA-5F9D-BFB8783F9BDA}"/>
              </a:ext>
            </a:extLst>
          </p:cNvPr>
          <p:cNvSpPr txBox="1">
            <a:spLocks/>
          </p:cNvSpPr>
          <p:nvPr/>
        </p:nvSpPr>
        <p:spPr>
          <a:xfrm>
            <a:off x="2436640" y="11992097"/>
            <a:ext cx="2653537" cy="948161"/>
          </a:xfrm>
          <a:prstGeom prst="rect">
            <a:avLst/>
          </a:prstGeom>
        </p:spPr>
        <p:txBody>
          <a:bodyPr vert="horz" lIns="0" tIns="0" rIns="0" bIns="0" rtlCol="0" anchor="t">
            <a:noAutofit/>
          </a:bodyPr>
          <a:lstStyle>
            <a:lvl1pPr marL="0" marR="0" indent="0" algn="l" defTabSz="1828432" latinLnBrk="0">
              <a:lnSpc>
                <a:spcPct val="140000"/>
              </a:lnSpc>
              <a:spcBef>
                <a:spcPts val="0"/>
              </a:spcBef>
              <a:spcAft>
                <a:spcPts val="0"/>
              </a:spcAft>
              <a:buClrTx/>
              <a:buSzTx/>
              <a:buFontTx/>
              <a:buNone/>
              <a:tabLst/>
              <a:defRPr sz="28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1pPr>
            <a:lvl2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2pPr>
            <a:lvl3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3pPr>
            <a:lvl4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4pPr>
            <a:lvl5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5pPr>
            <a:lvl6pPr marL="5180562"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lnSpc>
                <a:spcPct val="100000"/>
              </a:lnSpc>
            </a:pPr>
            <a:r>
              <a:rPr lang="en-US" sz="1800">
                <a:solidFill>
                  <a:sysClr val="windowText" lastClr="000000"/>
                </a:solidFill>
                <a:latin typeface="+mn-lt"/>
                <a:cs typeface="Arial"/>
              </a:rPr>
              <a:t>Emily, the car repair professional receives yet another repair estimate request.</a:t>
            </a:r>
            <a:endParaRPr lang="en-US" sz="1800">
              <a:solidFill>
                <a:sysClr val="windowText" lastClr="000000"/>
              </a:solidFill>
              <a:latin typeface="+mn-lt"/>
            </a:endParaRPr>
          </a:p>
        </p:txBody>
      </p:sp>
      <p:pic>
        <p:nvPicPr>
          <p:cNvPr id="34" name="Picture 33" descr="A person with a computer in front of a damaged car&#10;&#10;Description automatically generated">
            <a:extLst>
              <a:ext uri="{FF2B5EF4-FFF2-40B4-BE49-F238E27FC236}">
                <a16:creationId xmlns:a16="http://schemas.microsoft.com/office/drawing/2014/main" id="{B1DC7840-8FDE-72FB-719A-9F04429CFACA}"/>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1791401" y="8412256"/>
            <a:ext cx="3298776" cy="3312065"/>
          </a:xfrm>
          <a:prstGeom prst="rect">
            <a:avLst/>
          </a:prstGeom>
          <a:ln w="38100">
            <a:solidFill>
              <a:schemeClr val="tx2">
                <a:lumMod val="50000"/>
              </a:schemeClr>
            </a:solidFill>
          </a:ln>
          <a:effectLst>
            <a:glow rad="63500">
              <a:srgbClr val="416CF9">
                <a:alpha val="40000"/>
              </a:srgbClr>
            </a:glow>
          </a:effectLst>
        </p:spPr>
      </p:pic>
      <p:pic>
        <p:nvPicPr>
          <p:cNvPr id="47" name="Picture 46" descr="A person with a computer in front of a damaged car&#10;&#10;Description automatically generated">
            <a:extLst>
              <a:ext uri="{FF2B5EF4-FFF2-40B4-BE49-F238E27FC236}">
                <a16:creationId xmlns:a16="http://schemas.microsoft.com/office/drawing/2014/main" id="{3445CFC8-3AA5-8AFC-63B2-56F53AD00C25}"/>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5865909" y="8412256"/>
            <a:ext cx="3447684" cy="3312065"/>
          </a:xfrm>
          <a:prstGeom prst="rect">
            <a:avLst/>
          </a:prstGeom>
          <a:ln w="38100">
            <a:solidFill>
              <a:schemeClr val="tx2">
                <a:lumMod val="50000"/>
              </a:schemeClr>
            </a:solidFill>
          </a:ln>
          <a:effectLst>
            <a:glow rad="63500">
              <a:srgbClr val="416CF9">
                <a:alpha val="40000"/>
              </a:srgbClr>
            </a:glow>
          </a:effectLst>
        </p:spPr>
      </p:pic>
      <p:pic>
        <p:nvPicPr>
          <p:cNvPr id="48" name="Picture 47" descr="A person with a computer in front of a damaged car&#10;&#10;Description automatically generated">
            <a:extLst>
              <a:ext uri="{FF2B5EF4-FFF2-40B4-BE49-F238E27FC236}">
                <a16:creationId xmlns:a16="http://schemas.microsoft.com/office/drawing/2014/main" id="{A0E7F259-1A49-D546-6E63-9A397B7C8E6B}"/>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t="-916"/>
          <a:stretch/>
        </p:blipFill>
        <p:spPr>
          <a:xfrm>
            <a:off x="10089325" y="8405729"/>
            <a:ext cx="3296512" cy="3325123"/>
          </a:xfrm>
          <a:prstGeom prst="rect">
            <a:avLst/>
          </a:prstGeom>
          <a:ln w="38100">
            <a:solidFill>
              <a:schemeClr val="tx2">
                <a:lumMod val="50000"/>
              </a:schemeClr>
            </a:solidFill>
          </a:ln>
          <a:effectLst>
            <a:glow rad="63500">
              <a:srgbClr val="416CF9">
                <a:alpha val="40000"/>
              </a:srgbClr>
            </a:glow>
          </a:effectLst>
        </p:spPr>
      </p:pic>
      <p:sp>
        <p:nvSpPr>
          <p:cNvPr id="49" name="Text Placeholder 6">
            <a:extLst>
              <a:ext uri="{FF2B5EF4-FFF2-40B4-BE49-F238E27FC236}">
                <a16:creationId xmlns:a16="http://schemas.microsoft.com/office/drawing/2014/main" id="{241526FF-79DD-DF87-834F-66B667F49AD0}"/>
              </a:ext>
            </a:extLst>
          </p:cNvPr>
          <p:cNvSpPr txBox="1">
            <a:spLocks/>
          </p:cNvSpPr>
          <p:nvPr/>
        </p:nvSpPr>
        <p:spPr>
          <a:xfrm>
            <a:off x="6398803" y="11985567"/>
            <a:ext cx="3189545" cy="1182108"/>
          </a:xfrm>
          <a:prstGeom prst="rect">
            <a:avLst/>
          </a:prstGeom>
        </p:spPr>
        <p:txBody>
          <a:bodyPr vert="horz" lIns="0" tIns="0" rIns="0" bIns="0" rtlCol="0" anchor="t">
            <a:noAutofit/>
          </a:bodyPr>
          <a:lstStyle>
            <a:lvl1pPr marL="0" marR="0" indent="0" algn="l" defTabSz="1828432" latinLnBrk="0">
              <a:lnSpc>
                <a:spcPct val="140000"/>
              </a:lnSpc>
              <a:spcBef>
                <a:spcPts val="0"/>
              </a:spcBef>
              <a:spcAft>
                <a:spcPts val="0"/>
              </a:spcAft>
              <a:buClrTx/>
              <a:buSzTx/>
              <a:buFontTx/>
              <a:buNone/>
              <a:tabLst/>
              <a:defRPr sz="28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1pPr>
            <a:lvl2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2pPr>
            <a:lvl3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3pPr>
            <a:lvl4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4pPr>
            <a:lvl5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5pPr>
            <a:lvl6pPr marL="5180562"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lnSpc>
                <a:spcPct val="100000"/>
              </a:lnSpc>
            </a:pPr>
            <a:r>
              <a:rPr lang="en-US" sz="1800">
                <a:solidFill>
                  <a:sysClr val="windowText" lastClr="000000"/>
                </a:solidFill>
                <a:latin typeface="+mn-lt"/>
                <a:cs typeface="Arial"/>
              </a:rPr>
              <a:t>Emily </a:t>
            </a:r>
            <a:r>
              <a:rPr lang="en-US" sz="1800" b="1">
                <a:solidFill>
                  <a:sysClr val="windowText" lastClr="000000"/>
                </a:solidFill>
                <a:latin typeface="+mn-lt"/>
                <a:cs typeface="Arial"/>
              </a:rPr>
              <a:t>follows the estimation guide </a:t>
            </a:r>
            <a:r>
              <a:rPr lang="en-US" sz="1800">
                <a:solidFill>
                  <a:sysClr val="windowText" lastClr="000000"/>
                </a:solidFill>
                <a:latin typeface="+mn-lt"/>
                <a:cs typeface="Arial"/>
              </a:rPr>
              <a:t>led by </a:t>
            </a:r>
            <a:r>
              <a:rPr lang="en-US" sz="1800" err="1">
                <a:solidFill>
                  <a:sysClr val="windowText" lastClr="000000"/>
                </a:solidFill>
                <a:latin typeface="+mn-lt"/>
                <a:cs typeface="Arial"/>
              </a:rPr>
              <a:t>GenAI</a:t>
            </a:r>
            <a:r>
              <a:rPr lang="en-US" sz="1800">
                <a:solidFill>
                  <a:sysClr val="windowText" lastClr="000000"/>
                </a:solidFill>
                <a:latin typeface="+mn-lt"/>
                <a:cs typeface="Arial"/>
              </a:rPr>
              <a:t> chatbot Claire and uses </a:t>
            </a:r>
            <a:r>
              <a:rPr lang="en-US" sz="1800" b="1">
                <a:solidFill>
                  <a:sysClr val="windowText" lastClr="000000"/>
                </a:solidFill>
                <a:latin typeface="+mn-lt"/>
                <a:cs typeface="Arial"/>
              </a:rPr>
              <a:t>photos</a:t>
            </a:r>
            <a:r>
              <a:rPr lang="en-US" sz="1800">
                <a:solidFill>
                  <a:sysClr val="windowText" lastClr="000000"/>
                </a:solidFill>
                <a:latin typeface="+mn-lt"/>
                <a:cs typeface="Arial"/>
              </a:rPr>
              <a:t> to assess visible damages.</a:t>
            </a:r>
            <a:endParaRPr lang="en-US" sz="1800">
              <a:solidFill>
                <a:sysClr val="windowText" lastClr="000000"/>
              </a:solidFill>
              <a:latin typeface="+mn-lt"/>
            </a:endParaRPr>
          </a:p>
        </p:txBody>
      </p:sp>
      <p:sp>
        <p:nvSpPr>
          <p:cNvPr id="52" name="Text Placeholder 6">
            <a:extLst>
              <a:ext uri="{FF2B5EF4-FFF2-40B4-BE49-F238E27FC236}">
                <a16:creationId xmlns:a16="http://schemas.microsoft.com/office/drawing/2014/main" id="{E54F4455-A7DE-F269-CEE1-744F44535DF9}"/>
              </a:ext>
            </a:extLst>
          </p:cNvPr>
          <p:cNvSpPr txBox="1">
            <a:spLocks/>
          </p:cNvSpPr>
          <p:nvPr/>
        </p:nvSpPr>
        <p:spPr>
          <a:xfrm>
            <a:off x="10630415" y="12013120"/>
            <a:ext cx="2925231" cy="948160"/>
          </a:xfrm>
          <a:prstGeom prst="rect">
            <a:avLst/>
          </a:prstGeom>
        </p:spPr>
        <p:txBody>
          <a:bodyPr vert="horz" lIns="0" tIns="0" rIns="0" bIns="0" rtlCol="0" anchor="t">
            <a:noAutofit/>
          </a:bodyPr>
          <a:lstStyle>
            <a:lvl1pPr marL="0" marR="0" indent="0" algn="l" defTabSz="1828432" latinLnBrk="0">
              <a:lnSpc>
                <a:spcPct val="140000"/>
              </a:lnSpc>
              <a:spcBef>
                <a:spcPts val="0"/>
              </a:spcBef>
              <a:spcAft>
                <a:spcPts val="0"/>
              </a:spcAft>
              <a:buClrTx/>
              <a:buSzTx/>
              <a:buFontTx/>
              <a:buNone/>
              <a:tabLst/>
              <a:defRPr sz="28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1pPr>
            <a:lvl2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2pPr>
            <a:lvl3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3pPr>
            <a:lvl4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4pPr>
            <a:lvl5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5pPr>
            <a:lvl6pPr marL="5180562"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lnSpc>
                <a:spcPct val="100000"/>
              </a:lnSpc>
            </a:pPr>
            <a:r>
              <a:rPr lang="en-US" sz="1800">
                <a:solidFill>
                  <a:sysClr val="windowText" lastClr="000000"/>
                </a:solidFill>
                <a:latin typeface="+mn-lt"/>
                <a:cs typeface="Arial"/>
              </a:rPr>
              <a:t>Emily controls and potentially adjusts the </a:t>
            </a:r>
            <a:r>
              <a:rPr lang="en-US" sz="1800" b="1">
                <a:solidFill>
                  <a:sysClr val="windowText" lastClr="000000"/>
                </a:solidFill>
                <a:latin typeface="+mn-lt"/>
                <a:cs typeface="Arial"/>
              </a:rPr>
              <a:t>damage</a:t>
            </a:r>
            <a:r>
              <a:rPr lang="en-US" sz="1800">
                <a:solidFill>
                  <a:sysClr val="windowText" lastClr="000000"/>
                </a:solidFill>
                <a:latin typeface="+mn-lt"/>
                <a:cs typeface="Arial"/>
              </a:rPr>
              <a:t> </a:t>
            </a:r>
            <a:r>
              <a:rPr lang="en-US" sz="1800" b="1">
                <a:solidFill>
                  <a:sysClr val="windowText" lastClr="000000"/>
                </a:solidFill>
                <a:latin typeface="+mn-lt"/>
                <a:cs typeface="Arial"/>
              </a:rPr>
              <a:t>and cost estimations.</a:t>
            </a:r>
            <a:endParaRPr lang="en-US" sz="1800" i="1">
              <a:solidFill>
                <a:sysClr val="windowText" lastClr="000000"/>
              </a:solidFill>
              <a:latin typeface="+mn-lt"/>
            </a:endParaRPr>
          </a:p>
        </p:txBody>
      </p:sp>
      <p:sp>
        <p:nvSpPr>
          <p:cNvPr id="53" name="Text Placeholder 6">
            <a:extLst>
              <a:ext uri="{FF2B5EF4-FFF2-40B4-BE49-F238E27FC236}">
                <a16:creationId xmlns:a16="http://schemas.microsoft.com/office/drawing/2014/main" id="{61C1BA90-47A8-73FC-D302-15F2729849AC}"/>
              </a:ext>
            </a:extLst>
          </p:cNvPr>
          <p:cNvSpPr txBox="1">
            <a:spLocks/>
          </p:cNvSpPr>
          <p:nvPr/>
        </p:nvSpPr>
        <p:spPr>
          <a:xfrm>
            <a:off x="14772039" y="12014380"/>
            <a:ext cx="2877796" cy="1011161"/>
          </a:xfrm>
          <a:prstGeom prst="rect">
            <a:avLst/>
          </a:prstGeom>
        </p:spPr>
        <p:txBody>
          <a:bodyPr vert="horz" lIns="0" tIns="0" rIns="0" bIns="0" rtlCol="0" anchor="t">
            <a:noAutofit/>
          </a:bodyPr>
          <a:lstStyle>
            <a:lvl1pPr marL="0" marR="0" indent="0" algn="l" defTabSz="1828432" latinLnBrk="0">
              <a:lnSpc>
                <a:spcPct val="140000"/>
              </a:lnSpc>
              <a:spcBef>
                <a:spcPts val="0"/>
              </a:spcBef>
              <a:spcAft>
                <a:spcPts val="0"/>
              </a:spcAft>
              <a:buClrTx/>
              <a:buSzTx/>
              <a:buFontTx/>
              <a:buNone/>
              <a:tabLst/>
              <a:defRPr sz="28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1pPr>
            <a:lvl2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2pPr>
            <a:lvl3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3pPr>
            <a:lvl4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4pPr>
            <a:lvl5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Arial" panose="020B0604020202020204" pitchFamily="34" charset="0"/>
                <a:ea typeface="+mn-ea"/>
                <a:cs typeface="Arial" panose="020B0604020202020204" pitchFamily="34" charset="0"/>
                <a:sym typeface="BentonSansF Book"/>
              </a:defRPr>
            </a:lvl5pPr>
            <a:lvl6pPr marL="5180562"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lnSpc>
                <a:spcPct val="100000"/>
              </a:lnSpc>
            </a:pPr>
            <a:r>
              <a:rPr lang="en-US" sz="1800">
                <a:solidFill>
                  <a:sysClr val="windowText" lastClr="000000"/>
                </a:solidFill>
                <a:latin typeface="+mn-lt"/>
                <a:cs typeface="Arial"/>
              </a:rPr>
              <a:t>Emily </a:t>
            </a:r>
            <a:r>
              <a:rPr lang="en-US" sz="1800" b="1">
                <a:solidFill>
                  <a:sysClr val="windowText" lastClr="000000"/>
                </a:solidFill>
                <a:latin typeface="+mn-lt"/>
                <a:cs typeface="Arial"/>
              </a:rPr>
              <a:t>shares</a:t>
            </a:r>
            <a:r>
              <a:rPr lang="en-US" sz="1800">
                <a:solidFill>
                  <a:sysClr val="windowText" lastClr="000000"/>
                </a:solidFill>
                <a:latin typeface="+mn-lt"/>
                <a:cs typeface="Arial"/>
              </a:rPr>
              <a:t> the results</a:t>
            </a:r>
            <a:r>
              <a:rPr lang="en-US" sz="1800">
                <a:solidFill>
                  <a:sysClr val="windowText" lastClr="000000"/>
                </a:solidFill>
                <a:latin typeface="+mn-lt"/>
              </a:rPr>
              <a:t> with the customer and the </a:t>
            </a:r>
            <a:r>
              <a:rPr lang="en-US" sz="1800" b="1">
                <a:solidFill>
                  <a:sysClr val="windowText" lastClr="000000"/>
                </a:solidFill>
                <a:latin typeface="+mn-lt"/>
              </a:rPr>
              <a:t>insurance</a:t>
            </a:r>
            <a:r>
              <a:rPr lang="en-US" sz="1800">
                <a:solidFill>
                  <a:sysClr val="windowText" lastClr="000000"/>
                </a:solidFill>
                <a:latin typeface="+mn-lt"/>
              </a:rPr>
              <a:t> company.</a:t>
            </a:r>
            <a:endParaRPr lang="en-US">
              <a:solidFill>
                <a:sysClr val="windowText" lastClr="000000"/>
              </a:solidFill>
              <a:latin typeface="+mn-lt"/>
            </a:endParaRPr>
          </a:p>
        </p:txBody>
      </p:sp>
      <p:sp>
        <p:nvSpPr>
          <p:cNvPr id="56" name="Title 2">
            <a:extLst>
              <a:ext uri="{FF2B5EF4-FFF2-40B4-BE49-F238E27FC236}">
                <a16:creationId xmlns:a16="http://schemas.microsoft.com/office/drawing/2014/main" id="{20D58E28-A93E-DF53-CF13-DAC0B228A9E1}"/>
              </a:ext>
            </a:extLst>
          </p:cNvPr>
          <p:cNvSpPr txBox="1">
            <a:spLocks/>
          </p:cNvSpPr>
          <p:nvPr/>
        </p:nvSpPr>
        <p:spPr>
          <a:xfrm>
            <a:off x="1746208" y="7721380"/>
            <a:ext cx="12884192" cy="387798"/>
          </a:xfrm>
          <a:prstGeom prst="rect">
            <a:avLst/>
          </a:prstGeom>
        </p:spPr>
        <p:txBody>
          <a:bodyPr vert="horz" wrap="square" lIns="0" tIns="0" rIns="0" bIns="0" rtlCol="0" anchor="t" anchorCtr="0">
            <a:spAutoFit/>
          </a:bodyPr>
          <a:lstStyle>
            <a:lvl1pPr marL="0" marR="0" indent="0" algn="l" defTabSz="1130300" latinLnBrk="0">
              <a:lnSpc>
                <a:spcPct val="90000"/>
              </a:lnSpc>
              <a:spcBef>
                <a:spcPts val="0"/>
              </a:spcBef>
              <a:spcAft>
                <a:spcPts val="0"/>
              </a:spcAft>
              <a:buClrTx/>
              <a:buSzTx/>
              <a:buFontTx/>
              <a:buNone/>
              <a:tabLst/>
              <a:defRPr sz="7200" b="1" i="0" u="none" strike="noStrike" cap="none" spc="-72" baseline="0">
                <a:solidFill>
                  <a:schemeClr val="tx1"/>
                </a:solidFill>
                <a:uFill>
                  <a:solidFill>
                    <a:srgbClr val="FFFFFF"/>
                  </a:solidFill>
                </a:uFill>
                <a:latin typeface="Times New Roman" panose="02020603050405020304" pitchFamily="18" charset="0"/>
                <a:ea typeface="Arial" panose="020B0604020202020204" pitchFamily="34" charset="0"/>
                <a:cs typeface="Arial" panose="020B0604020202020204" pitchFamily="34" charset="0"/>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hangingPunct="1"/>
            <a:r>
              <a:rPr lang="en-US" sz="2800" b="0" spc="300">
                <a:latin typeface="+mn-lt"/>
              </a:rPr>
              <a:t>USER JOURNEY FOR EMILY FROM OUR SELECTED USER GROUP </a:t>
            </a:r>
          </a:p>
        </p:txBody>
      </p:sp>
      <p:sp>
        <p:nvSpPr>
          <p:cNvPr id="57" name="Triangle 1">
            <a:extLst>
              <a:ext uri="{FF2B5EF4-FFF2-40B4-BE49-F238E27FC236}">
                <a16:creationId xmlns:a16="http://schemas.microsoft.com/office/drawing/2014/main" id="{9AEF174A-9D77-2341-1D66-647D24B8D674}"/>
              </a:ext>
            </a:extLst>
          </p:cNvPr>
          <p:cNvSpPr/>
          <p:nvPr/>
        </p:nvSpPr>
        <p:spPr>
          <a:xfrm rot="5400000">
            <a:off x="4860279" y="9824450"/>
            <a:ext cx="1261752" cy="322342"/>
          </a:xfrm>
          <a:prstGeom prst="triangle">
            <a:avLst>
              <a:gd name="adj" fmla="val 51228"/>
            </a:avLst>
          </a:prstGeom>
          <a:solidFill>
            <a:srgbClr val="C7D4F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L="0" marR="0" indent="0" algn="ctr" defTabSz="822960" rtl="0" fontAlgn="auto" latinLnBrk="0" hangingPunct="0">
              <a:lnSpc>
                <a:spcPct val="140000"/>
              </a:lnSpc>
              <a:spcBef>
                <a:spcPts val="0"/>
              </a:spcBef>
              <a:spcAft>
                <a:spcPts val="0"/>
              </a:spcAft>
              <a:buClrTx/>
              <a:buSzTx/>
              <a:buFontTx/>
              <a:buNone/>
              <a:tabLst/>
            </a:pPr>
            <a:endParaRPr kumimoji="0" lang="en-GB" sz="2800" b="0" i="0" u="none" strike="noStrike" cap="none" spc="0" normalizeH="0" baseline="0">
              <a:ln>
                <a:solidFill>
                  <a:schemeClr val="accent5"/>
                </a:solidFill>
              </a:ln>
              <a:solidFill>
                <a:schemeClr val="bg1"/>
              </a:solidFill>
              <a:effectLst/>
              <a:uFillTx/>
              <a:latin typeface="+mn-lt"/>
              <a:ea typeface="+mn-ea"/>
              <a:cs typeface="+mn-cs"/>
              <a:sym typeface="BentonSansF Book"/>
            </a:endParaRPr>
          </a:p>
        </p:txBody>
      </p:sp>
      <p:sp>
        <p:nvSpPr>
          <p:cNvPr id="90" name="Rectangle: Rounded Corners 89">
            <a:extLst>
              <a:ext uri="{FF2B5EF4-FFF2-40B4-BE49-F238E27FC236}">
                <a16:creationId xmlns:a16="http://schemas.microsoft.com/office/drawing/2014/main" id="{1DCA3D95-3492-FD91-AE6B-C9BE70A93F16}"/>
              </a:ext>
            </a:extLst>
          </p:cNvPr>
          <p:cNvSpPr/>
          <p:nvPr/>
        </p:nvSpPr>
        <p:spPr>
          <a:xfrm>
            <a:off x="1816468" y="11981541"/>
            <a:ext cx="457200" cy="1044000"/>
          </a:xfrm>
          <a:prstGeom prst="roundRect">
            <a:avLst/>
          </a:prstGeom>
          <a:solidFill>
            <a:schemeClr val="tx2">
              <a:lumMod val="50000"/>
            </a:schemeClr>
          </a:solidFill>
          <a:ln w="285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R="0" algn="ctr" defTabSz="822960">
              <a:lnSpc>
                <a:spcPct val="140000"/>
              </a:lnSpc>
            </a:pPr>
            <a:r>
              <a:rPr lang="en-US" b="1">
                <a:solidFill>
                  <a:schemeClr val="bg1"/>
                </a:solidFill>
                <a:uFillTx/>
              </a:rPr>
              <a:t>1</a:t>
            </a:r>
          </a:p>
        </p:txBody>
      </p:sp>
      <p:sp>
        <p:nvSpPr>
          <p:cNvPr id="91" name="Rectangle: Rounded Corners 90">
            <a:extLst>
              <a:ext uri="{FF2B5EF4-FFF2-40B4-BE49-F238E27FC236}">
                <a16:creationId xmlns:a16="http://schemas.microsoft.com/office/drawing/2014/main" id="{8392980B-B664-B15F-04D8-86C488006617}"/>
              </a:ext>
            </a:extLst>
          </p:cNvPr>
          <p:cNvSpPr/>
          <p:nvPr/>
        </p:nvSpPr>
        <p:spPr>
          <a:xfrm>
            <a:off x="5835127" y="11981542"/>
            <a:ext cx="457200" cy="1044000"/>
          </a:xfrm>
          <a:prstGeom prst="roundRect">
            <a:avLst/>
          </a:prstGeom>
          <a:solidFill>
            <a:schemeClr val="tx2">
              <a:lumMod val="50000"/>
            </a:schemeClr>
          </a:solidFill>
          <a:ln w="285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R="0" algn="ctr" defTabSz="822960">
              <a:lnSpc>
                <a:spcPct val="140000"/>
              </a:lnSpc>
            </a:pPr>
            <a:r>
              <a:rPr lang="en-US" b="1">
                <a:solidFill>
                  <a:schemeClr val="bg1"/>
                </a:solidFill>
                <a:uFillTx/>
              </a:rPr>
              <a:t>2</a:t>
            </a:r>
          </a:p>
        </p:txBody>
      </p:sp>
      <p:sp>
        <p:nvSpPr>
          <p:cNvPr id="92" name="Rectangle: Rounded Corners 91">
            <a:extLst>
              <a:ext uri="{FF2B5EF4-FFF2-40B4-BE49-F238E27FC236}">
                <a16:creationId xmlns:a16="http://schemas.microsoft.com/office/drawing/2014/main" id="{757B93D4-8B56-FEED-AA29-01AD1A05C13A}"/>
              </a:ext>
            </a:extLst>
          </p:cNvPr>
          <p:cNvSpPr/>
          <p:nvPr/>
        </p:nvSpPr>
        <p:spPr>
          <a:xfrm>
            <a:off x="10066738" y="11981543"/>
            <a:ext cx="457200" cy="1044000"/>
          </a:xfrm>
          <a:prstGeom prst="roundRect">
            <a:avLst/>
          </a:prstGeom>
          <a:solidFill>
            <a:schemeClr val="tx2">
              <a:lumMod val="50000"/>
            </a:schemeClr>
          </a:solidFill>
          <a:ln w="285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R="0" algn="ctr" defTabSz="822960">
              <a:lnSpc>
                <a:spcPct val="140000"/>
              </a:lnSpc>
            </a:pPr>
            <a:r>
              <a:rPr lang="en-US" b="1">
                <a:solidFill>
                  <a:schemeClr val="bg1"/>
                </a:solidFill>
                <a:uFillTx/>
              </a:rPr>
              <a:t>3</a:t>
            </a:r>
          </a:p>
        </p:txBody>
      </p:sp>
      <p:sp>
        <p:nvSpPr>
          <p:cNvPr id="93" name="Rectangle: Rounded Corners 92">
            <a:extLst>
              <a:ext uri="{FF2B5EF4-FFF2-40B4-BE49-F238E27FC236}">
                <a16:creationId xmlns:a16="http://schemas.microsoft.com/office/drawing/2014/main" id="{68463AE0-F8CB-4F73-17F7-32EFACDB35E1}"/>
              </a:ext>
            </a:extLst>
          </p:cNvPr>
          <p:cNvSpPr/>
          <p:nvPr/>
        </p:nvSpPr>
        <p:spPr>
          <a:xfrm>
            <a:off x="14191873" y="11981540"/>
            <a:ext cx="457200" cy="1044000"/>
          </a:xfrm>
          <a:prstGeom prst="roundRect">
            <a:avLst/>
          </a:prstGeom>
          <a:solidFill>
            <a:schemeClr val="tx2">
              <a:lumMod val="50000"/>
            </a:schemeClr>
          </a:solidFill>
          <a:ln w="285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R="0" algn="ctr" defTabSz="822960">
              <a:lnSpc>
                <a:spcPct val="140000"/>
              </a:lnSpc>
            </a:pPr>
            <a:r>
              <a:rPr lang="en-US" b="1">
                <a:solidFill>
                  <a:schemeClr val="bg1"/>
                </a:solidFill>
                <a:uFillTx/>
              </a:rPr>
              <a:t>4</a:t>
            </a:r>
          </a:p>
        </p:txBody>
      </p:sp>
      <p:sp>
        <p:nvSpPr>
          <p:cNvPr id="6" name="Rectangle 15">
            <a:extLst>
              <a:ext uri="{FF2B5EF4-FFF2-40B4-BE49-F238E27FC236}">
                <a16:creationId xmlns:a16="http://schemas.microsoft.com/office/drawing/2014/main" id="{01FE26CA-97B2-2FCD-0D8E-39E25FEAE1DF}"/>
              </a:ext>
            </a:extLst>
          </p:cNvPr>
          <p:cNvSpPr txBox="1">
            <a:spLocks/>
          </p:cNvSpPr>
          <p:nvPr>
            <p:custDataLst>
              <p:tags r:id="rId6"/>
            </p:custDataLst>
          </p:nvPr>
        </p:nvSpPr>
        <p:spPr bwMode="auto">
          <a:xfrm>
            <a:off x="18518091" y="8883671"/>
            <a:ext cx="4371517" cy="3967136"/>
          </a:xfrm>
          <a:prstGeom prst="rect">
            <a:avLst/>
          </a:prstGeom>
          <a:solidFill>
            <a:schemeClr val="bg1"/>
          </a:solidFill>
          <a:ln w="38100">
            <a:solidFill>
              <a:srgbClr val="416CF9"/>
            </a:solidFill>
          </a:ln>
        </p:spPr>
        <p:txBody>
          <a:bodyPr vert="horz" wrap="square" lIns="900000" tIns="216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spcBef>
                <a:spcPts val="3000"/>
              </a:spcBef>
            </a:pPr>
            <a:r>
              <a:rPr lang="en-US" sz="2000" i="0" dirty="0">
                <a:effectLst/>
              </a:rPr>
              <a:t>Automated Repair Assessment</a:t>
            </a:r>
          </a:p>
          <a:p>
            <a:pPr>
              <a:spcBef>
                <a:spcPts val="3000"/>
              </a:spcBef>
            </a:pPr>
            <a:r>
              <a:rPr lang="en-US" sz="2000" i="0" dirty="0">
                <a:effectLst/>
              </a:rPr>
              <a:t>Comprehensive Damage Analysis</a:t>
            </a:r>
          </a:p>
          <a:p>
            <a:pPr algn="l">
              <a:spcBef>
                <a:spcPts val="3000"/>
              </a:spcBef>
            </a:pPr>
            <a:r>
              <a:rPr lang="en-US" sz="2000" i="0" dirty="0">
                <a:effectLst/>
              </a:rPr>
              <a:t>Precise Cost Estimation</a:t>
            </a:r>
          </a:p>
          <a:p>
            <a:pPr algn="l">
              <a:spcBef>
                <a:spcPts val="3000"/>
              </a:spcBef>
            </a:pPr>
            <a:r>
              <a:rPr lang="en-US" sz="2000" i="0" dirty="0">
                <a:effectLst/>
              </a:rPr>
              <a:t>Fast Processing</a:t>
            </a:r>
          </a:p>
          <a:p>
            <a:pPr algn="l">
              <a:spcBef>
                <a:spcPts val="3000"/>
              </a:spcBef>
            </a:pPr>
            <a:r>
              <a:rPr lang="en-US" sz="2000" i="0" dirty="0">
                <a:effectLst/>
              </a:rPr>
              <a:t>Seamless Insurance Integration</a:t>
            </a:r>
          </a:p>
        </p:txBody>
      </p:sp>
      <p:sp>
        <p:nvSpPr>
          <p:cNvPr id="8" name="TextBox 7">
            <a:extLst>
              <a:ext uri="{FF2B5EF4-FFF2-40B4-BE49-F238E27FC236}">
                <a16:creationId xmlns:a16="http://schemas.microsoft.com/office/drawing/2014/main" id="{90188D09-83EE-AF55-8D75-CB2780BE0FEC}"/>
              </a:ext>
            </a:extLst>
          </p:cNvPr>
          <p:cNvSpPr txBox="1"/>
          <p:nvPr/>
        </p:nvSpPr>
        <p:spPr>
          <a:xfrm>
            <a:off x="18518091" y="8365441"/>
            <a:ext cx="4371517" cy="518231"/>
          </a:xfrm>
          <a:prstGeom prst="rect">
            <a:avLst/>
          </a:prstGeom>
          <a:solidFill>
            <a:srgbClr val="416CF9"/>
          </a:solidFill>
          <a:ln w="38100">
            <a:solidFill>
              <a:srgbClr val="416CF9"/>
            </a:solidFill>
          </a:ln>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pPr algn="ctr" defTabSz="457200" hangingPunct="1">
              <a:defRPr/>
            </a:pPr>
            <a:r>
              <a:rPr lang="en-US" sz="2000" i="0">
                <a:solidFill>
                  <a:schemeClr val="bg1"/>
                </a:solidFill>
                <a:effectLst/>
              </a:rPr>
              <a:t>KEY FEATURES</a:t>
            </a:r>
          </a:p>
        </p:txBody>
      </p:sp>
      <p:sp>
        <p:nvSpPr>
          <p:cNvPr id="9" name="Rectangle 8">
            <a:extLst>
              <a:ext uri="{FF2B5EF4-FFF2-40B4-BE49-F238E27FC236}">
                <a16:creationId xmlns:a16="http://schemas.microsoft.com/office/drawing/2014/main" id="{079A0242-7647-6975-E4CF-05EC58CFBF51}"/>
              </a:ext>
            </a:extLst>
          </p:cNvPr>
          <p:cNvSpPr/>
          <p:nvPr/>
        </p:nvSpPr>
        <p:spPr>
          <a:xfrm>
            <a:off x="25548043" y="8789504"/>
            <a:ext cx="6408712" cy="1887379"/>
          </a:xfrm>
          <a:prstGeom prst="rect">
            <a:avLst/>
          </a:prstGeom>
          <a:solidFill>
            <a:srgbClr val="FFC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L="0" marR="0" indent="0" algn="ctr" defTabSz="822960" rtl="0" fontAlgn="auto" latinLnBrk="0" hangingPunct="0">
              <a:lnSpc>
                <a:spcPct val="140000"/>
              </a:lnSpc>
              <a:spcBef>
                <a:spcPts val="0"/>
              </a:spcBef>
              <a:spcAft>
                <a:spcPts val="0"/>
              </a:spcAft>
              <a:buClrTx/>
              <a:buSzTx/>
              <a:buFontTx/>
              <a:buNone/>
              <a:tabLst/>
            </a:pPr>
            <a:r>
              <a:rPr kumimoji="0" lang="en-US" sz="2800" b="0" i="0" u="none" strike="noStrike" cap="none" spc="0" normalizeH="0" baseline="0">
                <a:ln>
                  <a:noFill/>
                </a:ln>
                <a:solidFill>
                  <a:schemeClr val="bg1"/>
                </a:solidFill>
                <a:effectLst/>
                <a:uFillTx/>
                <a:latin typeface="+mn-lt"/>
                <a:ea typeface="+mn-ea"/>
                <a:cs typeface="+mn-cs"/>
                <a:sym typeface="BentonSansF Book"/>
              </a:rPr>
              <a:t>Add </a:t>
            </a:r>
            <a:r>
              <a:rPr kumimoji="0" lang="en-US" sz="2800" b="0" i="0" u="none" strike="noStrike" cap="none" spc="0" normalizeH="0" baseline="0" err="1">
                <a:ln>
                  <a:noFill/>
                </a:ln>
                <a:solidFill>
                  <a:schemeClr val="bg1"/>
                </a:solidFill>
                <a:effectLst/>
                <a:uFillTx/>
                <a:latin typeface="+mn-lt"/>
                <a:ea typeface="+mn-ea"/>
                <a:cs typeface="+mn-cs"/>
                <a:sym typeface="BentonSansF Book"/>
              </a:rPr>
              <a:t>clair</a:t>
            </a:r>
            <a:r>
              <a:rPr lang="en-US" sz="2800" err="1">
                <a:solidFill>
                  <a:schemeClr val="bg1"/>
                </a:solidFill>
                <a:uFillTx/>
              </a:rPr>
              <a:t>e</a:t>
            </a:r>
            <a:r>
              <a:rPr lang="en-US" sz="2800">
                <a:solidFill>
                  <a:schemeClr val="bg1"/>
                </a:solidFill>
                <a:uFillTx/>
              </a:rPr>
              <a:t> logo</a:t>
            </a:r>
          </a:p>
          <a:p>
            <a:pPr marL="0" marR="0" indent="0" algn="ctr" defTabSz="822960" rtl="0" fontAlgn="auto" latinLnBrk="0" hangingPunct="0">
              <a:lnSpc>
                <a:spcPct val="140000"/>
              </a:lnSpc>
              <a:spcBef>
                <a:spcPts val="0"/>
              </a:spcBef>
              <a:spcAft>
                <a:spcPts val="0"/>
              </a:spcAft>
              <a:buClrTx/>
              <a:buSzTx/>
              <a:buFontTx/>
              <a:buNone/>
              <a:tabLst/>
            </a:pPr>
            <a:r>
              <a:rPr kumimoji="0" lang="en-US" sz="2800" b="0" i="0" u="none" strike="noStrike" cap="none" spc="0" normalizeH="0" baseline="0">
                <a:ln>
                  <a:noFill/>
                </a:ln>
                <a:solidFill>
                  <a:schemeClr val="bg1"/>
                </a:solidFill>
                <a:effectLst/>
                <a:uFillTx/>
                <a:latin typeface="+mn-lt"/>
                <a:ea typeface="+mn-ea"/>
                <a:cs typeface="+mn-cs"/>
                <a:sym typeface="BentonSansF Book"/>
              </a:rPr>
              <a:t>Add mini icons per feature</a:t>
            </a:r>
          </a:p>
          <a:p>
            <a:pPr marL="0" marR="0" indent="0" algn="ctr" defTabSz="822960" rtl="0" fontAlgn="auto" latinLnBrk="0" hangingPunct="0">
              <a:lnSpc>
                <a:spcPct val="140000"/>
              </a:lnSpc>
              <a:spcBef>
                <a:spcPts val="0"/>
              </a:spcBef>
              <a:spcAft>
                <a:spcPts val="0"/>
              </a:spcAft>
              <a:buClrTx/>
              <a:buSzTx/>
              <a:buFontTx/>
              <a:buNone/>
              <a:tabLst/>
            </a:pPr>
            <a:r>
              <a:rPr lang="en-US" sz="2800">
                <a:solidFill>
                  <a:schemeClr val="bg1"/>
                </a:solidFill>
                <a:uFillTx/>
              </a:rPr>
              <a:t>Highlight as this is n important box</a:t>
            </a:r>
            <a:endParaRPr kumimoji="0" lang="en-US" sz="2800" b="0" i="0" u="none" strike="noStrike" cap="none" spc="0" normalizeH="0" baseline="0">
              <a:ln>
                <a:noFill/>
              </a:ln>
              <a:solidFill>
                <a:schemeClr val="bg1"/>
              </a:solidFill>
              <a:effectLst/>
              <a:uFillTx/>
              <a:latin typeface="+mn-lt"/>
              <a:ea typeface="+mn-ea"/>
              <a:cs typeface="+mn-cs"/>
              <a:sym typeface="BentonSansF Book"/>
            </a:endParaRPr>
          </a:p>
        </p:txBody>
      </p:sp>
      <p:pic>
        <p:nvPicPr>
          <p:cNvPr id="11" name="Picture 10">
            <a:extLst>
              <a:ext uri="{FF2B5EF4-FFF2-40B4-BE49-F238E27FC236}">
                <a16:creationId xmlns:a16="http://schemas.microsoft.com/office/drawing/2014/main" id="{AB899262-10AA-DE1C-A283-305E499BE2E8}"/>
              </a:ext>
            </a:extLst>
          </p:cNvPr>
          <p:cNvPicPr>
            <a:picLocks noChangeAspect="1"/>
          </p:cNvPicPr>
          <p:nvPr/>
        </p:nvPicPr>
        <p:blipFill>
          <a:blip r:embed="rId21"/>
          <a:stretch>
            <a:fillRect/>
          </a:stretch>
        </p:blipFill>
        <p:spPr>
          <a:xfrm>
            <a:off x="24892630" y="975393"/>
            <a:ext cx="13884843" cy="6256562"/>
          </a:xfrm>
          <a:prstGeom prst="rect">
            <a:avLst/>
          </a:prstGeom>
        </p:spPr>
      </p:pic>
      <p:pic>
        <p:nvPicPr>
          <p:cNvPr id="5" name="Picture 4" descr="A blue globe with black background&#10;&#10;Description automatically generated">
            <a:extLst>
              <a:ext uri="{FF2B5EF4-FFF2-40B4-BE49-F238E27FC236}">
                <a16:creationId xmlns:a16="http://schemas.microsoft.com/office/drawing/2014/main" id="{83475D0E-5A1D-3411-CCF3-25788F0A46FB}"/>
              </a:ext>
            </a:extLst>
          </p:cNvPr>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19573372" y="7425644"/>
            <a:ext cx="2260954" cy="789652"/>
          </a:xfrm>
          <a:prstGeom prst="rect">
            <a:avLst/>
          </a:prstGeom>
        </p:spPr>
      </p:pic>
      <p:pic>
        <p:nvPicPr>
          <p:cNvPr id="51" name="Graphic 50" descr="Car Mechanic with solid fill">
            <a:extLst>
              <a:ext uri="{FF2B5EF4-FFF2-40B4-BE49-F238E27FC236}">
                <a16:creationId xmlns:a16="http://schemas.microsoft.com/office/drawing/2014/main" id="{9A276E71-985D-4846-05E7-11473C3A0585}"/>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8653248" y="9857790"/>
            <a:ext cx="487850" cy="487850"/>
          </a:xfrm>
          <a:prstGeom prst="rect">
            <a:avLst/>
          </a:prstGeom>
        </p:spPr>
      </p:pic>
      <p:pic>
        <p:nvPicPr>
          <p:cNvPr id="55" name="Graphic 54" descr="Car Mechanic with solid fill">
            <a:extLst>
              <a:ext uri="{FF2B5EF4-FFF2-40B4-BE49-F238E27FC236}">
                <a16:creationId xmlns:a16="http://schemas.microsoft.com/office/drawing/2014/main" id="{0BBE691E-63C8-1B82-53A1-D35CE84BE64A}"/>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8595886" y="8984100"/>
            <a:ext cx="545212" cy="545212"/>
          </a:xfrm>
          <a:prstGeom prst="rect">
            <a:avLst/>
          </a:prstGeom>
        </p:spPr>
      </p:pic>
      <p:pic>
        <p:nvPicPr>
          <p:cNvPr id="67" name="Graphic 66" descr="Money with solid fill">
            <a:extLst>
              <a:ext uri="{FF2B5EF4-FFF2-40B4-BE49-F238E27FC236}">
                <a16:creationId xmlns:a16="http://schemas.microsoft.com/office/drawing/2014/main" id="{F97786BE-F505-D028-C851-AF1A3609777F}"/>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8661840" y="10674118"/>
            <a:ext cx="470668" cy="470668"/>
          </a:xfrm>
          <a:prstGeom prst="rect">
            <a:avLst/>
          </a:prstGeom>
        </p:spPr>
      </p:pic>
      <p:pic>
        <p:nvPicPr>
          <p:cNvPr id="76" name="Graphic 75" descr="Stopwatch with solid fill">
            <a:extLst>
              <a:ext uri="{FF2B5EF4-FFF2-40B4-BE49-F238E27FC236}">
                <a16:creationId xmlns:a16="http://schemas.microsoft.com/office/drawing/2014/main" id="{FBB23E29-D52C-3207-1129-C7D4C418CB86}"/>
              </a:ext>
            </a:extLst>
          </p:cNvPr>
          <p:cNvPicPr>
            <a:picLocks noChangeAspect="1"/>
          </p:cNvPicPr>
          <p:nvPr/>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8681929" y="11371349"/>
            <a:ext cx="487851" cy="487851"/>
          </a:xfrm>
          <a:prstGeom prst="rect">
            <a:avLst/>
          </a:prstGeom>
        </p:spPr>
      </p:pic>
      <p:pic>
        <p:nvPicPr>
          <p:cNvPr id="81" name="Graphic 80" descr="Link with solid fill">
            <a:extLst>
              <a:ext uri="{FF2B5EF4-FFF2-40B4-BE49-F238E27FC236}">
                <a16:creationId xmlns:a16="http://schemas.microsoft.com/office/drawing/2014/main" id="{44AF1EAF-3CB8-2754-FC9F-0E1E40516BC3}"/>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18681929" y="11998679"/>
            <a:ext cx="545212" cy="545212"/>
          </a:xfrm>
          <a:prstGeom prst="rect">
            <a:avLst/>
          </a:prstGeom>
        </p:spPr>
      </p:pic>
      <p:sp>
        <p:nvSpPr>
          <p:cNvPr id="3" name="Footer Placeholder 3">
            <a:extLst>
              <a:ext uri="{FF2B5EF4-FFF2-40B4-BE49-F238E27FC236}">
                <a16:creationId xmlns:a16="http://schemas.microsoft.com/office/drawing/2014/main" id="{CED91472-2171-D059-A9C4-E32E91268E3E}"/>
              </a:ext>
            </a:extLst>
          </p:cNvPr>
          <p:cNvSpPr>
            <a:spLocks noGrp="1"/>
          </p:cNvSpPr>
          <p:nvPr>
            <p:ph type="ftr" sz="quarter" idx="11"/>
          </p:nvPr>
        </p:nvSpPr>
        <p:spPr>
          <a:xfrm>
            <a:off x="17403229" y="13025875"/>
            <a:ext cx="5205944" cy="369328"/>
          </a:xfrm>
        </p:spPr>
        <p:txBody>
          <a:bodyPr/>
          <a:lstStyle>
            <a:lvl1pPr>
              <a:defRPr b="0" i="0"/>
            </a:lvl1pPr>
          </a:lstStyle>
          <a:p>
            <a:r>
              <a:rPr lang="en-US"/>
              <a:t>AI Genies | Claire the Car Repair Assessment Agent</a:t>
            </a:r>
            <a:endParaRPr lang="de-DE"/>
          </a:p>
        </p:txBody>
      </p:sp>
      <p:sp>
        <p:nvSpPr>
          <p:cNvPr id="12" name="Triangle 1">
            <a:extLst>
              <a:ext uri="{FF2B5EF4-FFF2-40B4-BE49-F238E27FC236}">
                <a16:creationId xmlns:a16="http://schemas.microsoft.com/office/drawing/2014/main" id="{C7D5D918-2FE2-7DFC-2223-9FF3E2C8A1DA}"/>
              </a:ext>
            </a:extLst>
          </p:cNvPr>
          <p:cNvSpPr/>
          <p:nvPr/>
        </p:nvSpPr>
        <p:spPr>
          <a:xfrm rot="5400000">
            <a:off x="9085928" y="9824450"/>
            <a:ext cx="1261752" cy="322342"/>
          </a:xfrm>
          <a:prstGeom prst="triangle">
            <a:avLst>
              <a:gd name="adj" fmla="val 51228"/>
            </a:avLst>
          </a:prstGeom>
          <a:solidFill>
            <a:srgbClr val="C7D4F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L="0" marR="0" indent="0" algn="ctr" defTabSz="822960" rtl="0" fontAlgn="auto" latinLnBrk="0" hangingPunct="0">
              <a:lnSpc>
                <a:spcPct val="140000"/>
              </a:lnSpc>
              <a:spcBef>
                <a:spcPts val="0"/>
              </a:spcBef>
              <a:spcAft>
                <a:spcPts val="0"/>
              </a:spcAft>
              <a:buClrTx/>
              <a:buSzTx/>
              <a:buFontTx/>
              <a:buNone/>
              <a:tabLst/>
            </a:pPr>
            <a:endParaRPr kumimoji="0" lang="en-GB" sz="2800" b="0" i="0" u="none" strike="noStrike" cap="none" spc="0" normalizeH="0" baseline="0">
              <a:ln>
                <a:solidFill>
                  <a:schemeClr val="accent5"/>
                </a:solidFill>
              </a:ln>
              <a:solidFill>
                <a:schemeClr val="bg1"/>
              </a:solidFill>
              <a:effectLst/>
              <a:uFillTx/>
              <a:latin typeface="+mn-lt"/>
              <a:ea typeface="+mn-ea"/>
              <a:cs typeface="+mn-cs"/>
              <a:sym typeface="BentonSansF Book"/>
            </a:endParaRPr>
          </a:p>
        </p:txBody>
      </p:sp>
      <p:sp>
        <p:nvSpPr>
          <p:cNvPr id="13" name="Triangle 1">
            <a:extLst>
              <a:ext uri="{FF2B5EF4-FFF2-40B4-BE49-F238E27FC236}">
                <a16:creationId xmlns:a16="http://schemas.microsoft.com/office/drawing/2014/main" id="{5D89907B-B638-3A8D-8A10-490DBEF31A59}"/>
              </a:ext>
            </a:extLst>
          </p:cNvPr>
          <p:cNvSpPr/>
          <p:nvPr/>
        </p:nvSpPr>
        <p:spPr>
          <a:xfrm rot="5400000">
            <a:off x="13155112" y="9818840"/>
            <a:ext cx="1261752" cy="322342"/>
          </a:xfrm>
          <a:prstGeom prst="triangle">
            <a:avLst>
              <a:gd name="adj" fmla="val 51228"/>
            </a:avLst>
          </a:prstGeom>
          <a:solidFill>
            <a:srgbClr val="C7D4F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L="0" marR="0" indent="0" algn="ctr" defTabSz="822960" rtl="0" fontAlgn="auto" latinLnBrk="0" hangingPunct="0">
              <a:lnSpc>
                <a:spcPct val="140000"/>
              </a:lnSpc>
              <a:spcBef>
                <a:spcPts val="0"/>
              </a:spcBef>
              <a:spcAft>
                <a:spcPts val="0"/>
              </a:spcAft>
              <a:buClrTx/>
              <a:buSzTx/>
              <a:buFontTx/>
              <a:buNone/>
              <a:tabLst/>
            </a:pPr>
            <a:endParaRPr kumimoji="0" lang="en-GB" sz="2800" b="0" i="0" u="none" strike="noStrike" cap="none" spc="0" normalizeH="0" baseline="0">
              <a:ln>
                <a:solidFill>
                  <a:schemeClr val="accent5"/>
                </a:solidFill>
              </a:ln>
              <a:solidFill>
                <a:schemeClr val="bg1"/>
              </a:solidFill>
              <a:effectLst/>
              <a:uFillTx/>
              <a:latin typeface="+mn-lt"/>
              <a:ea typeface="+mn-ea"/>
              <a:cs typeface="+mn-cs"/>
              <a:sym typeface="BentonSansF Book"/>
            </a:endParaRPr>
          </a:p>
        </p:txBody>
      </p:sp>
    </p:spTree>
    <p:extLst>
      <p:ext uri="{BB962C8B-B14F-4D97-AF65-F5344CB8AC3E}">
        <p14:creationId xmlns:p14="http://schemas.microsoft.com/office/powerpoint/2010/main" val="3020591898"/>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7894EFC7-8A17-6D25-20FF-2F7CCC38B508}"/>
              </a:ext>
            </a:extLst>
          </p:cNvPr>
          <p:cNvSpPr/>
          <p:nvPr/>
        </p:nvSpPr>
        <p:spPr>
          <a:xfrm>
            <a:off x="642892" y="2728081"/>
            <a:ext cx="2748649" cy="10211247"/>
          </a:xfrm>
          <a:prstGeom prst="rect">
            <a:avLst/>
          </a:prstGeom>
          <a:solidFill>
            <a:srgbClr val="C7D4F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b" anchorCtr="0" forceAA="0" compatLnSpc="1">
            <a:prstTxWarp prst="textNoShape">
              <a:avLst/>
            </a:prstTxWarp>
            <a:noAutofit/>
          </a:bodyPr>
          <a:lstStyle/>
          <a:p>
            <a:pPr marR="0" defTabSz="1828800" hangingPunct="1">
              <a:lnSpc>
                <a:spcPct val="100000"/>
              </a:lnSpc>
            </a:pPr>
            <a:endParaRPr lang="en-US" sz="2800" b="1" kern="1200">
              <a:solidFill>
                <a:schemeClr val="tx2">
                  <a:lumMod val="50000"/>
                </a:schemeClr>
              </a:solidFill>
              <a:uFillTx/>
            </a:endParaRPr>
          </a:p>
        </p:txBody>
      </p:sp>
      <p:sp>
        <p:nvSpPr>
          <p:cNvPr id="4" name="Text Placeholder 3">
            <a:extLst>
              <a:ext uri="{FF2B5EF4-FFF2-40B4-BE49-F238E27FC236}">
                <a16:creationId xmlns:a16="http://schemas.microsoft.com/office/drawing/2014/main" id="{3B667888-B63F-D3B4-D9B1-823EFD31CAEA}"/>
              </a:ext>
            </a:extLst>
          </p:cNvPr>
          <p:cNvSpPr>
            <a:spLocks noGrp="1"/>
          </p:cNvSpPr>
          <p:nvPr>
            <p:ph type="body" sz="quarter" idx="26"/>
          </p:nvPr>
        </p:nvSpPr>
        <p:spPr>
          <a:xfrm>
            <a:off x="1763673" y="990600"/>
            <a:ext cx="20845501" cy="307777"/>
          </a:xfrm>
        </p:spPr>
        <p:txBody>
          <a:bodyPr/>
          <a:lstStyle/>
          <a:p>
            <a:r>
              <a:rPr lang="en-US"/>
              <a:t>Solution and technical components</a:t>
            </a:r>
          </a:p>
        </p:txBody>
      </p:sp>
      <p:sp>
        <p:nvSpPr>
          <p:cNvPr id="7" name="Slide Number Placeholder 6">
            <a:extLst>
              <a:ext uri="{FF2B5EF4-FFF2-40B4-BE49-F238E27FC236}">
                <a16:creationId xmlns:a16="http://schemas.microsoft.com/office/drawing/2014/main" id="{659214A2-9950-465A-7809-E997685A8AB3}"/>
              </a:ext>
            </a:extLst>
          </p:cNvPr>
          <p:cNvSpPr>
            <a:spLocks noGrp="1"/>
          </p:cNvSpPr>
          <p:nvPr>
            <p:ph type="sldNum" sz="quarter" idx="12"/>
          </p:nvPr>
        </p:nvSpPr>
        <p:spPr/>
        <p:txBody>
          <a:bodyPr/>
          <a:lstStyle/>
          <a:p>
            <a:fld id="{F4562D32-726A-4413-ACA3-4E6BD640C7C8}" type="slidenum">
              <a:rPr lang="de-DE" smtClean="0"/>
              <a:pPr/>
              <a:t>4</a:t>
            </a:fld>
            <a:endParaRPr lang="de-DE"/>
          </a:p>
        </p:txBody>
      </p:sp>
      <p:sp>
        <p:nvSpPr>
          <p:cNvPr id="3" name="Rectangle 2">
            <a:extLst>
              <a:ext uri="{FF2B5EF4-FFF2-40B4-BE49-F238E27FC236}">
                <a16:creationId xmlns:a16="http://schemas.microsoft.com/office/drawing/2014/main" id="{72BF1DC3-DF97-8A35-E67F-DFCABB52D173}"/>
              </a:ext>
            </a:extLst>
          </p:cNvPr>
          <p:cNvSpPr/>
          <p:nvPr/>
        </p:nvSpPr>
        <p:spPr>
          <a:xfrm>
            <a:off x="6449723" y="2728082"/>
            <a:ext cx="10880459" cy="10211247"/>
          </a:xfrm>
          <a:prstGeom prst="rect">
            <a:avLst/>
          </a:prstGeom>
          <a:solidFill>
            <a:srgbClr val="EFF2FF"/>
          </a:solidFill>
          <a:ln w="38100">
            <a:solidFill>
              <a:srgbClr val="416CF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b" anchorCtr="0" forceAA="0" compatLnSpc="1">
            <a:prstTxWarp prst="textNoShape">
              <a:avLst/>
            </a:prstTxWarp>
            <a:noAutofit/>
          </a:bodyPr>
          <a:lstStyle/>
          <a:p>
            <a:pPr marR="0" defTabSz="1828800" hangingPunct="1">
              <a:lnSpc>
                <a:spcPct val="100000"/>
              </a:lnSpc>
            </a:pPr>
            <a:endParaRPr lang="en-US" sz="2800" b="1" kern="1200">
              <a:solidFill>
                <a:schemeClr val="tx2">
                  <a:lumMod val="50000"/>
                </a:schemeClr>
              </a:solidFill>
              <a:uFillTx/>
            </a:endParaRPr>
          </a:p>
        </p:txBody>
      </p:sp>
      <p:sp>
        <p:nvSpPr>
          <p:cNvPr id="5" name="Rectangle 4">
            <a:extLst>
              <a:ext uri="{FF2B5EF4-FFF2-40B4-BE49-F238E27FC236}">
                <a16:creationId xmlns:a16="http://schemas.microsoft.com/office/drawing/2014/main" id="{E2E8BE00-BEB5-DA26-34CE-8533186AD4AB}"/>
              </a:ext>
            </a:extLst>
          </p:cNvPr>
          <p:cNvSpPr/>
          <p:nvPr/>
        </p:nvSpPr>
        <p:spPr>
          <a:xfrm>
            <a:off x="17502574" y="2728082"/>
            <a:ext cx="6032562" cy="10211247"/>
          </a:xfrm>
          <a:prstGeom prst="rect">
            <a:avLst/>
          </a:prstGeom>
          <a:solidFill>
            <a:srgbClr val="C7D4F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b" anchorCtr="0" forceAA="0" compatLnSpc="1">
            <a:prstTxWarp prst="textNoShape">
              <a:avLst/>
            </a:prstTxWarp>
            <a:noAutofit/>
          </a:bodyPr>
          <a:lstStyle/>
          <a:p>
            <a:pPr marR="0" defTabSz="1828800" hangingPunct="1">
              <a:lnSpc>
                <a:spcPct val="100000"/>
              </a:lnSpc>
            </a:pPr>
            <a:endParaRPr lang="en-US" sz="2800" b="1" kern="1200">
              <a:solidFill>
                <a:schemeClr val="tx2">
                  <a:lumMod val="50000"/>
                </a:schemeClr>
              </a:solidFill>
              <a:uFillTx/>
            </a:endParaRPr>
          </a:p>
        </p:txBody>
      </p:sp>
      <p:cxnSp>
        <p:nvCxnSpPr>
          <p:cNvPr id="159" name="Straight Connector 158">
            <a:extLst>
              <a:ext uri="{FF2B5EF4-FFF2-40B4-BE49-F238E27FC236}">
                <a16:creationId xmlns:a16="http://schemas.microsoft.com/office/drawing/2014/main" id="{06FD49E6-B7FD-8EF1-E3F0-5628AF54C816}"/>
              </a:ext>
            </a:extLst>
          </p:cNvPr>
          <p:cNvCxnSpPr>
            <a:cxnSpLocks/>
          </p:cNvCxnSpPr>
          <p:nvPr/>
        </p:nvCxnSpPr>
        <p:spPr>
          <a:xfrm>
            <a:off x="6449724" y="9108743"/>
            <a:ext cx="10880458" cy="0"/>
          </a:xfrm>
          <a:prstGeom prst="line">
            <a:avLst/>
          </a:prstGeom>
          <a:ln w="28575">
            <a:solidFill>
              <a:srgbClr val="0E176D"/>
            </a:solidFill>
            <a:prstDash val="lgDash"/>
          </a:ln>
        </p:spPr>
        <p:style>
          <a:lnRef idx="1">
            <a:schemeClr val="accent1"/>
          </a:lnRef>
          <a:fillRef idx="0">
            <a:schemeClr val="accent1"/>
          </a:fillRef>
          <a:effectRef idx="0">
            <a:schemeClr val="accent1"/>
          </a:effectRef>
          <a:fontRef idx="minor">
            <a:schemeClr val="tx1"/>
          </a:fontRef>
        </p:style>
      </p:cxnSp>
      <p:sp>
        <p:nvSpPr>
          <p:cNvPr id="161" name="TextBox 160">
            <a:extLst>
              <a:ext uri="{FF2B5EF4-FFF2-40B4-BE49-F238E27FC236}">
                <a16:creationId xmlns:a16="http://schemas.microsoft.com/office/drawing/2014/main" id="{80A3A19E-37F4-AFB7-CCAB-BC079C638CC3}"/>
              </a:ext>
            </a:extLst>
          </p:cNvPr>
          <p:cNvSpPr txBox="1"/>
          <p:nvPr/>
        </p:nvSpPr>
        <p:spPr>
          <a:xfrm>
            <a:off x="6528554" y="6131302"/>
            <a:ext cx="10696529" cy="445635"/>
          </a:xfrm>
          <a:prstGeom prst="rect">
            <a:avLst/>
          </a:prstGeom>
          <a:noFill/>
        </p:spPr>
        <p:txBody>
          <a:bodyPr wrap="square" rtlCol="0">
            <a:spAutoFit/>
          </a:bodyPr>
          <a:lstStyle/>
          <a:p>
            <a:pPr algn="ctr"/>
            <a:r>
              <a:rPr lang="en-US" sz="2800" b="1" cap="all" spc="300" dirty="0">
                <a:solidFill>
                  <a:schemeClr val="tx1"/>
                </a:solidFill>
                <a:uFill>
                  <a:solidFill>
                    <a:srgbClr val="FFFFFF"/>
                  </a:solidFill>
                </a:uFill>
                <a:cs typeface="Arial" panose="020B0604020202020204" pitchFamily="34" charset="0"/>
              </a:rPr>
              <a:t>DAMAGE COLLECTION FROM IMAGEs AND VIA CHAT</a:t>
            </a:r>
          </a:p>
        </p:txBody>
      </p:sp>
      <p:pic>
        <p:nvPicPr>
          <p:cNvPr id="174" name="Graphic 173" descr="Male profile with solid fill">
            <a:extLst>
              <a:ext uri="{FF2B5EF4-FFF2-40B4-BE49-F238E27FC236}">
                <a16:creationId xmlns:a16="http://schemas.microsoft.com/office/drawing/2014/main" id="{A5AB1987-B0E2-46E2-6368-FB04A8F0D74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54562" y="-1480607"/>
            <a:ext cx="1260058" cy="1205643"/>
          </a:xfrm>
          <a:prstGeom prst="rect">
            <a:avLst/>
          </a:prstGeom>
        </p:spPr>
      </p:pic>
      <p:sp>
        <p:nvSpPr>
          <p:cNvPr id="186" name="TextBox 185">
            <a:extLst>
              <a:ext uri="{FF2B5EF4-FFF2-40B4-BE49-F238E27FC236}">
                <a16:creationId xmlns:a16="http://schemas.microsoft.com/office/drawing/2014/main" id="{BC9377A0-9E3A-DC96-FFC9-BEAD95617EE5}"/>
              </a:ext>
            </a:extLst>
          </p:cNvPr>
          <p:cNvSpPr txBox="1"/>
          <p:nvPr/>
        </p:nvSpPr>
        <p:spPr>
          <a:xfrm>
            <a:off x="12176356" y="8433415"/>
            <a:ext cx="5006723" cy="489558"/>
          </a:xfrm>
          <a:prstGeom prst="rect">
            <a:avLst/>
          </a:prstGeom>
          <a:noFill/>
        </p:spPr>
        <p:txBody>
          <a:bodyPr wrap="square" rtlCol="0">
            <a:spAutoFit/>
          </a:bodyPr>
          <a:lstStyle/>
          <a:p>
            <a:pPr algn="r"/>
            <a:r>
              <a:rPr lang="en-US" sz="1600"/>
              <a:t>Damage estimation is </a:t>
            </a:r>
            <a:r>
              <a:rPr lang="en-US" sz="1600" b="1"/>
              <a:t>multistep conversation </a:t>
            </a:r>
            <a:r>
              <a:rPr lang="en-US" sz="1600"/>
              <a:t>where both </a:t>
            </a:r>
            <a:r>
              <a:rPr lang="en-US" sz="1600" b="1"/>
              <a:t>text</a:t>
            </a:r>
            <a:r>
              <a:rPr lang="en-US" sz="1600"/>
              <a:t> and </a:t>
            </a:r>
            <a:r>
              <a:rPr lang="en-US" sz="1600" b="1"/>
              <a:t>images</a:t>
            </a:r>
            <a:r>
              <a:rPr lang="en-US" sz="1600"/>
              <a:t> are considered</a:t>
            </a:r>
          </a:p>
        </p:txBody>
      </p:sp>
      <p:sp>
        <p:nvSpPr>
          <p:cNvPr id="187" name="TextBox 186">
            <a:extLst>
              <a:ext uri="{FF2B5EF4-FFF2-40B4-BE49-F238E27FC236}">
                <a16:creationId xmlns:a16="http://schemas.microsoft.com/office/drawing/2014/main" id="{1C27F376-7589-672A-170F-84461A727E52}"/>
              </a:ext>
            </a:extLst>
          </p:cNvPr>
          <p:cNvSpPr txBox="1"/>
          <p:nvPr/>
        </p:nvSpPr>
        <p:spPr>
          <a:xfrm>
            <a:off x="11983504" y="12376903"/>
            <a:ext cx="5199575" cy="489558"/>
          </a:xfrm>
          <a:prstGeom prst="rect">
            <a:avLst/>
          </a:prstGeom>
          <a:noFill/>
        </p:spPr>
        <p:txBody>
          <a:bodyPr wrap="square" rtlCol="0">
            <a:spAutoFit/>
          </a:bodyPr>
          <a:lstStyle/>
          <a:p>
            <a:pPr algn="r"/>
            <a:r>
              <a:rPr lang="en-US" sz="1600"/>
              <a:t>Cost estimation uses the vehicle information, damage estimation and </a:t>
            </a:r>
            <a:r>
              <a:rPr lang="en-US" sz="1600" b="1"/>
              <a:t>external data sources</a:t>
            </a:r>
          </a:p>
        </p:txBody>
      </p:sp>
      <p:sp>
        <p:nvSpPr>
          <p:cNvPr id="188" name="TextBox 187">
            <a:extLst>
              <a:ext uri="{FF2B5EF4-FFF2-40B4-BE49-F238E27FC236}">
                <a16:creationId xmlns:a16="http://schemas.microsoft.com/office/drawing/2014/main" id="{6D99E0C7-5A7B-C1D3-C0B5-804823007647}"/>
              </a:ext>
            </a:extLst>
          </p:cNvPr>
          <p:cNvSpPr txBox="1"/>
          <p:nvPr/>
        </p:nvSpPr>
        <p:spPr>
          <a:xfrm>
            <a:off x="12741202" y="5275213"/>
            <a:ext cx="4470287" cy="489558"/>
          </a:xfrm>
          <a:prstGeom prst="rect">
            <a:avLst/>
          </a:prstGeom>
          <a:noFill/>
        </p:spPr>
        <p:txBody>
          <a:bodyPr wrap="square" rtlCol="0">
            <a:spAutoFit/>
          </a:bodyPr>
          <a:lstStyle/>
          <a:p>
            <a:pPr algn="r"/>
            <a:r>
              <a:rPr lang="en-US" sz="1600"/>
              <a:t>Vehicle information collection</a:t>
            </a:r>
            <a:br>
              <a:rPr lang="en-US" sz="1600"/>
            </a:br>
            <a:r>
              <a:rPr lang="en-US" sz="1600"/>
              <a:t>is the very first step after greeting</a:t>
            </a:r>
          </a:p>
        </p:txBody>
      </p:sp>
      <p:pic>
        <p:nvPicPr>
          <p:cNvPr id="199" name="Picture 198" descr="A close up of a logo&#10;&#10;Description automatically generated">
            <a:extLst>
              <a:ext uri="{FF2B5EF4-FFF2-40B4-BE49-F238E27FC236}">
                <a16:creationId xmlns:a16="http://schemas.microsoft.com/office/drawing/2014/main" id="{5731C9A6-BE60-36CB-C96D-89F8CEADAD46}"/>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625470" y="12122084"/>
            <a:ext cx="2033219" cy="679448"/>
          </a:xfrm>
          <a:prstGeom prst="rect">
            <a:avLst/>
          </a:prstGeom>
        </p:spPr>
      </p:pic>
      <p:pic>
        <p:nvPicPr>
          <p:cNvPr id="208" name="Picture 207" descr="A black background with a black square&#10;&#10;Description automatically generated with medium confidence">
            <a:extLst>
              <a:ext uri="{FF2B5EF4-FFF2-40B4-BE49-F238E27FC236}">
                <a16:creationId xmlns:a16="http://schemas.microsoft.com/office/drawing/2014/main" id="{41B8C314-47E5-694B-338A-0E21B80516D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7383824" y="11950685"/>
            <a:ext cx="4263807" cy="1101484"/>
          </a:xfrm>
          <a:prstGeom prst="rect">
            <a:avLst/>
          </a:prstGeom>
        </p:spPr>
      </p:pic>
      <p:sp>
        <p:nvSpPr>
          <p:cNvPr id="209" name="Title 1">
            <a:extLst>
              <a:ext uri="{FF2B5EF4-FFF2-40B4-BE49-F238E27FC236}">
                <a16:creationId xmlns:a16="http://schemas.microsoft.com/office/drawing/2014/main" id="{AFD98517-8253-EDCB-86C1-268F5345E07A}"/>
              </a:ext>
            </a:extLst>
          </p:cNvPr>
          <p:cNvSpPr>
            <a:spLocks noGrp="1"/>
          </p:cNvSpPr>
          <p:nvPr>
            <p:ph type="title"/>
          </p:nvPr>
        </p:nvSpPr>
        <p:spPr>
          <a:xfrm>
            <a:off x="1763672" y="1451762"/>
            <a:ext cx="21951543" cy="997196"/>
          </a:xfrm>
        </p:spPr>
        <p:txBody>
          <a:bodyPr/>
          <a:lstStyle/>
          <a:p>
            <a:r>
              <a:rPr lang="en-US" b="0"/>
              <a:t>We Introduce CLAIRE, Chat-based Tool for Car Inspection</a:t>
            </a:r>
            <a:endParaRPr lang="en-US"/>
          </a:p>
        </p:txBody>
      </p:sp>
      <p:sp>
        <p:nvSpPr>
          <p:cNvPr id="14" name="TextBox 79">
            <a:extLst>
              <a:ext uri="{FF2B5EF4-FFF2-40B4-BE49-F238E27FC236}">
                <a16:creationId xmlns:a16="http://schemas.microsoft.com/office/drawing/2014/main" id="{0C6CDFAB-D0DA-685C-9336-841A6750D2F2}"/>
              </a:ext>
            </a:extLst>
          </p:cNvPr>
          <p:cNvSpPr txBox="1"/>
          <p:nvPr/>
        </p:nvSpPr>
        <p:spPr>
          <a:xfrm>
            <a:off x="1066792" y="7535514"/>
            <a:ext cx="1884643" cy="588879"/>
          </a:xfrm>
          <a:prstGeom prst="rect">
            <a:avLst/>
          </a:prstGeom>
          <a:noFill/>
        </p:spPr>
        <p:txBody>
          <a:bodyPr wrap="square" rtlCol="0">
            <a:spAutoFit/>
          </a:bodyPr>
          <a:lstStyle/>
          <a:p>
            <a:pPr algn="ctr"/>
            <a:r>
              <a:rPr lang="en-US" sz="2000" b="1">
                <a:solidFill>
                  <a:srgbClr val="0E176D"/>
                </a:solidFill>
              </a:rPr>
              <a:t>Car Repair</a:t>
            </a:r>
          </a:p>
          <a:p>
            <a:pPr algn="ctr"/>
            <a:r>
              <a:rPr lang="en-US" sz="2000" b="1">
                <a:solidFill>
                  <a:srgbClr val="0E176D"/>
                </a:solidFill>
              </a:rPr>
              <a:t>Professional</a:t>
            </a:r>
          </a:p>
        </p:txBody>
      </p:sp>
      <p:pic>
        <p:nvPicPr>
          <p:cNvPr id="16" name="Picture 18" descr="A person holding a clipboard and pen&#10;&#10;Description automatically generated">
            <a:extLst>
              <a:ext uri="{FF2B5EF4-FFF2-40B4-BE49-F238E27FC236}">
                <a16:creationId xmlns:a16="http://schemas.microsoft.com/office/drawing/2014/main" id="{BF2356A1-BD43-2D77-89B1-646401095A2D}"/>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44999" y="4584523"/>
            <a:ext cx="2753924" cy="2764515"/>
          </a:xfrm>
          <a:prstGeom prst="rect">
            <a:avLst/>
          </a:prstGeom>
        </p:spPr>
      </p:pic>
      <p:grpSp>
        <p:nvGrpSpPr>
          <p:cNvPr id="19" name="Group 18">
            <a:extLst>
              <a:ext uri="{FF2B5EF4-FFF2-40B4-BE49-F238E27FC236}">
                <a16:creationId xmlns:a16="http://schemas.microsoft.com/office/drawing/2014/main" id="{4D2376A4-473D-FD6F-2B66-1592566A7034}"/>
              </a:ext>
            </a:extLst>
          </p:cNvPr>
          <p:cNvGrpSpPr/>
          <p:nvPr/>
        </p:nvGrpSpPr>
        <p:grpSpPr>
          <a:xfrm>
            <a:off x="1033150" y="8666863"/>
            <a:ext cx="1960408" cy="1709230"/>
            <a:chOff x="877405" y="10322190"/>
            <a:chExt cx="1960408" cy="1709230"/>
          </a:xfrm>
        </p:grpSpPr>
        <p:pic>
          <p:nvPicPr>
            <p:cNvPr id="18" name="Picture 17">
              <a:extLst>
                <a:ext uri="{FF2B5EF4-FFF2-40B4-BE49-F238E27FC236}">
                  <a16:creationId xmlns:a16="http://schemas.microsoft.com/office/drawing/2014/main" id="{79BB8215-AC23-889E-3050-01B587DB87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77405" y="10322190"/>
              <a:ext cx="1960408" cy="1709230"/>
            </a:xfrm>
            <a:prstGeom prst="rect">
              <a:avLst/>
            </a:prstGeom>
          </p:spPr>
        </p:pic>
        <p:pic>
          <p:nvPicPr>
            <p:cNvPr id="6" name="Picture 175">
              <a:extLst>
                <a:ext uri="{FF2B5EF4-FFF2-40B4-BE49-F238E27FC236}">
                  <a16:creationId xmlns:a16="http://schemas.microsoft.com/office/drawing/2014/main" id="{9EC2F5C2-31E5-E9D0-2265-70FD7B6012C2}"/>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971894" y="10426824"/>
              <a:ext cx="1773312" cy="974482"/>
            </a:xfrm>
            <a:prstGeom prst="rect">
              <a:avLst/>
            </a:prstGeom>
          </p:spPr>
        </p:pic>
      </p:grpSp>
      <p:sp>
        <p:nvSpPr>
          <p:cNvPr id="2" name="Footer Placeholder 3">
            <a:extLst>
              <a:ext uri="{FF2B5EF4-FFF2-40B4-BE49-F238E27FC236}">
                <a16:creationId xmlns:a16="http://schemas.microsoft.com/office/drawing/2014/main" id="{06C91ECD-D53F-5C39-A40D-1D4E876D9CCF}"/>
              </a:ext>
            </a:extLst>
          </p:cNvPr>
          <p:cNvSpPr>
            <a:spLocks noGrp="1"/>
          </p:cNvSpPr>
          <p:nvPr>
            <p:ph type="ftr" sz="quarter" idx="11"/>
          </p:nvPr>
        </p:nvSpPr>
        <p:spPr>
          <a:xfrm>
            <a:off x="17403229" y="13025875"/>
            <a:ext cx="5205944" cy="369328"/>
          </a:xfrm>
        </p:spPr>
        <p:txBody>
          <a:bodyPr/>
          <a:lstStyle>
            <a:lvl1pPr>
              <a:defRPr b="0" i="0"/>
            </a:lvl1pPr>
          </a:lstStyle>
          <a:p>
            <a:r>
              <a:rPr lang="en-US"/>
              <a:t>AI Genies | Claire the Car Repair Assessment Agent</a:t>
            </a:r>
            <a:endParaRPr lang="de-DE"/>
          </a:p>
        </p:txBody>
      </p:sp>
      <p:sp>
        <p:nvSpPr>
          <p:cNvPr id="15" name="Title 2">
            <a:extLst>
              <a:ext uri="{FF2B5EF4-FFF2-40B4-BE49-F238E27FC236}">
                <a16:creationId xmlns:a16="http://schemas.microsoft.com/office/drawing/2014/main" id="{FC72B425-76C0-599E-6867-630B236A01EA}"/>
              </a:ext>
            </a:extLst>
          </p:cNvPr>
          <p:cNvSpPr txBox="1">
            <a:spLocks/>
          </p:cNvSpPr>
          <p:nvPr/>
        </p:nvSpPr>
        <p:spPr>
          <a:xfrm>
            <a:off x="6523314" y="2884573"/>
            <a:ext cx="10701770" cy="387798"/>
          </a:xfrm>
          <a:prstGeom prst="rect">
            <a:avLst/>
          </a:prstGeom>
        </p:spPr>
        <p:txBody>
          <a:bodyPr vert="horz" wrap="square" lIns="0" tIns="0" rIns="0" bIns="0" rtlCol="0" anchor="t" anchorCtr="0">
            <a:spAutoFit/>
          </a:bodyPr>
          <a:lstStyle>
            <a:lvl1pPr marL="0" marR="0" indent="0" algn="l" defTabSz="1130300" latinLnBrk="0">
              <a:lnSpc>
                <a:spcPct val="90000"/>
              </a:lnSpc>
              <a:spcBef>
                <a:spcPts val="0"/>
              </a:spcBef>
              <a:spcAft>
                <a:spcPts val="0"/>
              </a:spcAft>
              <a:buClrTx/>
              <a:buSzTx/>
              <a:buFontTx/>
              <a:buNone/>
              <a:tabLst/>
              <a:defRPr sz="7200" b="1" i="0" u="none" strike="noStrike" cap="none" spc="-72" baseline="0">
                <a:solidFill>
                  <a:schemeClr val="tx1"/>
                </a:solidFill>
                <a:uFill>
                  <a:solidFill>
                    <a:srgbClr val="FFFFFF"/>
                  </a:solidFill>
                </a:uFill>
                <a:latin typeface="Times New Roman" panose="02020603050405020304" pitchFamily="18" charset="0"/>
                <a:ea typeface="Arial" panose="020B0604020202020204" pitchFamily="34" charset="0"/>
                <a:cs typeface="Arial" panose="020B0604020202020204" pitchFamily="34" charset="0"/>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hangingPunct="1">
              <a:tabLst>
                <a:tab pos="2079625" algn="l"/>
              </a:tabLst>
            </a:pPr>
            <a:r>
              <a:rPr lang="en-US" sz="2800" spc="300" dirty="0">
                <a:latin typeface="+mn-lt"/>
              </a:rPr>
              <a:t>CHAT-BASED GUIDANCE THROUGH THE PROCESS</a:t>
            </a:r>
          </a:p>
        </p:txBody>
      </p:sp>
      <p:sp>
        <p:nvSpPr>
          <p:cNvPr id="131" name="TextBox 130">
            <a:extLst>
              <a:ext uri="{FF2B5EF4-FFF2-40B4-BE49-F238E27FC236}">
                <a16:creationId xmlns:a16="http://schemas.microsoft.com/office/drawing/2014/main" id="{850056D2-7502-0150-EA4F-12A3CD37DED1}"/>
              </a:ext>
            </a:extLst>
          </p:cNvPr>
          <p:cNvSpPr txBox="1"/>
          <p:nvPr/>
        </p:nvSpPr>
        <p:spPr>
          <a:xfrm>
            <a:off x="11188733" y="9853889"/>
            <a:ext cx="2517608" cy="369332"/>
          </a:xfrm>
          <a:prstGeom prst="rect">
            <a:avLst/>
          </a:prstGeom>
          <a:noFill/>
        </p:spPr>
        <p:txBody>
          <a:bodyPr wrap="square" rtlCol="0">
            <a:spAutoFit/>
          </a:bodyPr>
          <a:lstStyle/>
          <a:p>
            <a:pPr marR="0" defTabSz="1828800" hangingPunct="1">
              <a:lnSpc>
                <a:spcPct val="100000"/>
              </a:lnSpc>
            </a:pPr>
            <a:endParaRPr lang="en-US" sz="1800" kern="1200">
              <a:solidFill>
                <a:srgbClr val="0E176D"/>
              </a:solidFill>
              <a:uFillTx/>
            </a:endParaRPr>
          </a:p>
        </p:txBody>
      </p:sp>
      <p:sp>
        <p:nvSpPr>
          <p:cNvPr id="160" name="TextBox 159">
            <a:extLst>
              <a:ext uri="{FF2B5EF4-FFF2-40B4-BE49-F238E27FC236}">
                <a16:creationId xmlns:a16="http://schemas.microsoft.com/office/drawing/2014/main" id="{0D895105-8564-31D8-06BC-A75366A331A0}"/>
              </a:ext>
            </a:extLst>
          </p:cNvPr>
          <p:cNvSpPr txBox="1"/>
          <p:nvPr/>
        </p:nvSpPr>
        <p:spPr>
          <a:xfrm>
            <a:off x="6528554" y="9293781"/>
            <a:ext cx="10696529" cy="445635"/>
          </a:xfrm>
          <a:prstGeom prst="rect">
            <a:avLst/>
          </a:prstGeom>
          <a:noFill/>
        </p:spPr>
        <p:txBody>
          <a:bodyPr wrap="square" rtlCol="0">
            <a:spAutoFit/>
          </a:bodyPr>
          <a:lstStyle/>
          <a:p>
            <a:pPr algn="ctr"/>
            <a:r>
              <a:rPr lang="en-US" sz="2800" b="1" cap="all" spc="300">
                <a:solidFill>
                  <a:schemeClr val="tx1"/>
                </a:solidFill>
                <a:uFill>
                  <a:solidFill>
                    <a:srgbClr val="FFFFFF"/>
                  </a:solidFill>
                </a:uFill>
                <a:cs typeface="Arial" panose="020B0604020202020204" pitchFamily="34" charset="0"/>
              </a:rPr>
              <a:t>COST ASSESMENT USING DIVERSE DATA SOURCES</a:t>
            </a:r>
          </a:p>
        </p:txBody>
      </p:sp>
      <p:grpSp>
        <p:nvGrpSpPr>
          <p:cNvPr id="266" name="Group 265">
            <a:extLst>
              <a:ext uri="{FF2B5EF4-FFF2-40B4-BE49-F238E27FC236}">
                <a16:creationId xmlns:a16="http://schemas.microsoft.com/office/drawing/2014/main" id="{4F85302B-1531-E276-00EE-D5F1D8FD7568}"/>
              </a:ext>
            </a:extLst>
          </p:cNvPr>
          <p:cNvGrpSpPr/>
          <p:nvPr/>
        </p:nvGrpSpPr>
        <p:grpSpPr>
          <a:xfrm>
            <a:off x="2951435" y="9847162"/>
            <a:ext cx="20133638" cy="2164547"/>
            <a:chOff x="2951435" y="9723178"/>
            <a:chExt cx="20133638" cy="2164547"/>
          </a:xfrm>
        </p:grpSpPr>
        <p:sp>
          <p:nvSpPr>
            <p:cNvPr id="117" name="TextBox 116">
              <a:extLst>
                <a:ext uri="{FF2B5EF4-FFF2-40B4-BE49-F238E27FC236}">
                  <a16:creationId xmlns:a16="http://schemas.microsoft.com/office/drawing/2014/main" id="{CAD00EA5-D92F-C34D-F647-E42B74A6B89D}"/>
                </a:ext>
              </a:extLst>
            </p:cNvPr>
            <p:cNvSpPr txBox="1"/>
            <p:nvPr/>
          </p:nvSpPr>
          <p:spPr>
            <a:xfrm>
              <a:off x="7813013" y="10460744"/>
              <a:ext cx="3116818" cy="495108"/>
            </a:xfrm>
            <a:prstGeom prst="rect">
              <a:avLst/>
            </a:prstGeom>
            <a:solidFill>
              <a:srgbClr val="0E176D"/>
            </a:solidFill>
            <a:ln>
              <a:noFill/>
            </a:ln>
          </p:spPr>
          <p:txBody>
            <a:bodyPr wrap="square" lIns="72000" tIns="108000" rIns="72000" bIns="108000" rtlCol="0" anchor="ctr">
              <a:spAutoFit/>
            </a:bodyPr>
            <a:lstStyle/>
            <a:p>
              <a:pPr marR="0" algn="ctr" defTabSz="1828800" hangingPunct="1">
                <a:lnSpc>
                  <a:spcPct val="100000"/>
                </a:lnSpc>
              </a:pPr>
              <a:r>
                <a:rPr lang="en-US" sz="1800" kern="1200">
                  <a:solidFill>
                    <a:schemeClr val="bg1"/>
                  </a:solidFill>
                  <a:uFillTx/>
                </a:rPr>
                <a:t>Prompt augmentation</a:t>
              </a:r>
            </a:p>
          </p:txBody>
        </p:sp>
        <p:cxnSp>
          <p:nvCxnSpPr>
            <p:cNvPr id="118" name="Straight Arrow Connector 117">
              <a:extLst>
                <a:ext uri="{FF2B5EF4-FFF2-40B4-BE49-F238E27FC236}">
                  <a16:creationId xmlns:a16="http://schemas.microsoft.com/office/drawing/2014/main" id="{ABE75715-67A0-73AC-6B91-FA7168BF0F19}"/>
                </a:ext>
              </a:extLst>
            </p:cNvPr>
            <p:cNvCxnSpPr>
              <a:cxnSpLocks/>
              <a:endCxn id="117" idx="1"/>
            </p:cNvCxnSpPr>
            <p:nvPr/>
          </p:nvCxnSpPr>
          <p:spPr>
            <a:xfrm>
              <a:off x="2986426" y="10708298"/>
              <a:ext cx="4826587" cy="0"/>
            </a:xfrm>
            <a:prstGeom prst="straightConnector1">
              <a:avLst/>
            </a:prstGeom>
            <a:ln w="28575">
              <a:solidFill>
                <a:srgbClr val="416CF9"/>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8FFC4944-1FDE-73CB-FD73-FA4A4938E677}"/>
                </a:ext>
              </a:extLst>
            </p:cNvPr>
            <p:cNvSpPr txBox="1"/>
            <p:nvPr/>
          </p:nvSpPr>
          <p:spPr>
            <a:xfrm>
              <a:off x="3531432" y="10179456"/>
              <a:ext cx="2854820" cy="493484"/>
            </a:xfrm>
            <a:prstGeom prst="rect">
              <a:avLst/>
            </a:prstGeom>
            <a:noFill/>
          </p:spPr>
          <p:txBody>
            <a:bodyPr wrap="square" rtlCol="0">
              <a:spAutoFit/>
            </a:bodyPr>
            <a:lstStyle/>
            <a:p>
              <a:r>
                <a:rPr lang="en-US" sz="1600">
                  <a:solidFill>
                    <a:srgbClr val="0E176D"/>
                  </a:solidFill>
                </a:rPr>
                <a:t>Triggers cost estimation</a:t>
              </a:r>
            </a:p>
            <a:p>
              <a:r>
                <a:rPr lang="en-US" sz="1600">
                  <a:solidFill>
                    <a:srgbClr val="0E176D"/>
                  </a:solidFill>
                </a:rPr>
                <a:t>by pressing the button</a:t>
              </a:r>
            </a:p>
          </p:txBody>
        </p:sp>
        <p:sp>
          <p:nvSpPr>
            <p:cNvPr id="120" name="TextBox 119">
              <a:extLst>
                <a:ext uri="{FF2B5EF4-FFF2-40B4-BE49-F238E27FC236}">
                  <a16:creationId xmlns:a16="http://schemas.microsoft.com/office/drawing/2014/main" id="{AE00B6C4-AA66-16E0-C564-0BADAA4B9D9C}"/>
                </a:ext>
              </a:extLst>
            </p:cNvPr>
            <p:cNvSpPr txBox="1"/>
            <p:nvPr/>
          </p:nvSpPr>
          <p:spPr>
            <a:xfrm>
              <a:off x="12764124" y="10460743"/>
              <a:ext cx="3116818" cy="495108"/>
            </a:xfrm>
            <a:prstGeom prst="rect">
              <a:avLst/>
            </a:prstGeom>
            <a:solidFill>
              <a:srgbClr val="0E176D"/>
            </a:solidFill>
            <a:ln>
              <a:noFill/>
            </a:ln>
          </p:spPr>
          <p:txBody>
            <a:bodyPr wrap="square" lIns="72000" tIns="108000" rIns="72000" bIns="108000" rtlCol="0" anchor="ctr">
              <a:spAutoFit/>
            </a:bodyPr>
            <a:lstStyle/>
            <a:p>
              <a:pPr marR="0" algn="ctr" defTabSz="1828800" hangingPunct="1">
                <a:lnSpc>
                  <a:spcPct val="100000"/>
                </a:lnSpc>
              </a:pPr>
              <a:r>
                <a:rPr lang="en-US" sz="1800" kern="1200">
                  <a:solidFill>
                    <a:schemeClr val="bg1"/>
                  </a:solidFill>
                  <a:uFillTx/>
                </a:rPr>
                <a:t>API request formation</a:t>
              </a:r>
            </a:p>
          </p:txBody>
        </p:sp>
        <p:cxnSp>
          <p:nvCxnSpPr>
            <p:cNvPr id="121" name="Straight Arrow Connector 120">
              <a:extLst>
                <a:ext uri="{FF2B5EF4-FFF2-40B4-BE49-F238E27FC236}">
                  <a16:creationId xmlns:a16="http://schemas.microsoft.com/office/drawing/2014/main" id="{9F561FD3-7442-9E9F-6D95-986D20749E6F}"/>
                </a:ext>
              </a:extLst>
            </p:cNvPr>
            <p:cNvCxnSpPr>
              <a:cxnSpLocks/>
              <a:stCxn id="117" idx="3"/>
              <a:endCxn id="120" idx="1"/>
            </p:cNvCxnSpPr>
            <p:nvPr/>
          </p:nvCxnSpPr>
          <p:spPr>
            <a:xfrm flipV="1">
              <a:off x="10929831" y="10708297"/>
              <a:ext cx="1834293" cy="1"/>
            </a:xfrm>
            <a:prstGeom prst="straightConnector1">
              <a:avLst/>
            </a:prstGeom>
            <a:ln w="28575">
              <a:solidFill>
                <a:srgbClr val="0E176D"/>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D85414AE-65FD-E63B-24E4-CD8AE983F732}"/>
                </a:ext>
              </a:extLst>
            </p:cNvPr>
            <p:cNvCxnSpPr>
              <a:cxnSpLocks/>
            </p:cNvCxnSpPr>
            <p:nvPr/>
          </p:nvCxnSpPr>
          <p:spPr>
            <a:xfrm>
              <a:off x="15892778" y="10708296"/>
              <a:ext cx="1962294" cy="0"/>
            </a:xfrm>
            <a:prstGeom prst="straightConnector1">
              <a:avLst/>
            </a:prstGeom>
            <a:ln w="28575">
              <a:solidFill>
                <a:srgbClr val="416CF9"/>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6746CB3A-148B-EAE0-1CBB-6C238E1B7E8E}"/>
                </a:ext>
              </a:extLst>
            </p:cNvPr>
            <p:cNvCxnSpPr>
              <a:cxnSpLocks/>
            </p:cNvCxnSpPr>
            <p:nvPr/>
          </p:nvCxnSpPr>
          <p:spPr>
            <a:xfrm>
              <a:off x="15892778" y="11456665"/>
              <a:ext cx="1955439" cy="0"/>
            </a:xfrm>
            <a:prstGeom prst="straightConnector1">
              <a:avLst/>
            </a:prstGeom>
            <a:ln w="28575">
              <a:solidFill>
                <a:srgbClr val="416CF9"/>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4319B85D-82D3-2DBB-6EC2-3CD40D0C6517}"/>
                </a:ext>
              </a:extLst>
            </p:cNvPr>
            <p:cNvSpPr txBox="1"/>
            <p:nvPr/>
          </p:nvSpPr>
          <p:spPr>
            <a:xfrm>
              <a:off x="12764124" y="11243703"/>
              <a:ext cx="3116818" cy="495108"/>
            </a:xfrm>
            <a:prstGeom prst="rect">
              <a:avLst/>
            </a:prstGeom>
            <a:solidFill>
              <a:srgbClr val="0E176D"/>
            </a:solidFill>
            <a:ln>
              <a:noFill/>
            </a:ln>
          </p:spPr>
          <p:txBody>
            <a:bodyPr wrap="square" tIns="108000" bIns="108000" rtlCol="0" anchor="ctr">
              <a:spAutoFit/>
            </a:bodyPr>
            <a:lstStyle/>
            <a:p>
              <a:pPr marR="0" algn="ctr" defTabSz="1828800" hangingPunct="1">
                <a:lnSpc>
                  <a:spcPct val="100000"/>
                </a:lnSpc>
              </a:pPr>
              <a:r>
                <a:rPr lang="en-US" sz="1800" kern="1200">
                  <a:solidFill>
                    <a:schemeClr val="bg1"/>
                  </a:solidFill>
                  <a:uFillTx/>
                </a:rPr>
                <a:t>API response parsing</a:t>
              </a:r>
            </a:p>
          </p:txBody>
        </p:sp>
        <p:cxnSp>
          <p:nvCxnSpPr>
            <p:cNvPr id="132" name="Straight Arrow Connector 131">
              <a:extLst>
                <a:ext uri="{FF2B5EF4-FFF2-40B4-BE49-F238E27FC236}">
                  <a16:creationId xmlns:a16="http://schemas.microsoft.com/office/drawing/2014/main" id="{0B311D54-9055-8BD3-1B64-02911E661B62}"/>
                </a:ext>
              </a:extLst>
            </p:cNvPr>
            <p:cNvCxnSpPr>
              <a:cxnSpLocks/>
              <a:endCxn id="124" idx="1"/>
            </p:cNvCxnSpPr>
            <p:nvPr/>
          </p:nvCxnSpPr>
          <p:spPr>
            <a:xfrm>
              <a:off x="10914385" y="11491256"/>
              <a:ext cx="1849739" cy="1"/>
            </a:xfrm>
            <a:prstGeom prst="straightConnector1">
              <a:avLst/>
            </a:prstGeom>
            <a:ln w="28575">
              <a:solidFill>
                <a:srgbClr val="0E176D"/>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65473D1D-5E2A-1CFC-6E17-402AA1D2F9CE}"/>
                </a:ext>
              </a:extLst>
            </p:cNvPr>
            <p:cNvGrpSpPr>
              <a:grpSpLocks noChangeAspect="1"/>
            </p:cNvGrpSpPr>
            <p:nvPr/>
          </p:nvGrpSpPr>
          <p:grpSpPr>
            <a:xfrm>
              <a:off x="18041589" y="10519182"/>
              <a:ext cx="1080000" cy="1080000"/>
              <a:chOff x="17408379" y="10098207"/>
              <a:chExt cx="1260000" cy="1260000"/>
            </a:xfrm>
          </p:grpSpPr>
          <p:sp>
            <p:nvSpPr>
              <p:cNvPr id="134" name="Oval 133">
                <a:extLst>
                  <a:ext uri="{FF2B5EF4-FFF2-40B4-BE49-F238E27FC236}">
                    <a16:creationId xmlns:a16="http://schemas.microsoft.com/office/drawing/2014/main" id="{230608A8-E715-29CF-6B12-C7F0D6E27CC2}"/>
                  </a:ext>
                </a:extLst>
              </p:cNvPr>
              <p:cNvSpPr/>
              <p:nvPr/>
            </p:nvSpPr>
            <p:spPr>
              <a:xfrm>
                <a:off x="17408379" y="10098207"/>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err="1">
                  <a:solidFill>
                    <a:srgbClr val="FFFFFF"/>
                  </a:solidFill>
                  <a:uFillTx/>
                </a:endParaRPr>
              </a:p>
            </p:txBody>
          </p:sp>
          <p:pic>
            <p:nvPicPr>
              <p:cNvPr id="135" name="Graphic 134" descr="Database with solid fill">
                <a:extLst>
                  <a:ext uri="{FF2B5EF4-FFF2-40B4-BE49-F238E27FC236}">
                    <a16:creationId xmlns:a16="http://schemas.microsoft.com/office/drawing/2014/main" id="{885D55D0-72B8-AF61-4066-EDA5B8EE50F0}"/>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17603129" y="10319942"/>
                <a:ext cx="853381" cy="816529"/>
              </a:xfrm>
              <a:prstGeom prst="rect">
                <a:avLst/>
              </a:prstGeom>
            </p:spPr>
          </p:pic>
        </p:grpSp>
        <p:sp>
          <p:nvSpPr>
            <p:cNvPr id="136" name="TextBox 135">
              <a:extLst>
                <a:ext uri="{FF2B5EF4-FFF2-40B4-BE49-F238E27FC236}">
                  <a16:creationId xmlns:a16="http://schemas.microsoft.com/office/drawing/2014/main" id="{109C1279-4106-8F59-A0E5-3491C5C1E9DE}"/>
                </a:ext>
              </a:extLst>
            </p:cNvPr>
            <p:cNvSpPr txBox="1"/>
            <p:nvPr/>
          </p:nvSpPr>
          <p:spPr>
            <a:xfrm>
              <a:off x="19425217" y="10194954"/>
              <a:ext cx="3659856" cy="1692771"/>
            </a:xfrm>
            <a:prstGeom prst="rect">
              <a:avLst/>
            </a:prstGeom>
            <a:noFill/>
          </p:spPr>
          <p:txBody>
            <a:bodyPr wrap="square" rtlCol="0">
              <a:spAutoFit/>
            </a:bodyPr>
            <a:lstStyle/>
            <a:p>
              <a:pPr marR="0" defTabSz="1828800" hangingPunct="1">
                <a:lnSpc>
                  <a:spcPct val="100000"/>
                </a:lnSpc>
              </a:pPr>
              <a:r>
                <a:rPr lang="en-US" sz="2000" b="1" kern="1200">
                  <a:solidFill>
                    <a:prstClr val="black"/>
                  </a:solidFill>
                  <a:uFillTx/>
                </a:rPr>
                <a:t>Data Search Model</a:t>
              </a:r>
            </a:p>
            <a:p>
              <a:pPr marR="0" defTabSz="1828800" hangingPunct="1">
                <a:lnSpc>
                  <a:spcPct val="100000"/>
                </a:lnSpc>
              </a:pPr>
              <a:r>
                <a:rPr lang="en-US" sz="2000" i="1" kern="1200">
                  <a:solidFill>
                    <a:prstClr val="black"/>
                  </a:solidFill>
                  <a:uFillTx/>
                </a:rPr>
                <a:t>Vertex-Search</a:t>
              </a:r>
            </a:p>
            <a:p>
              <a:pPr marR="0" defTabSz="1828800" hangingPunct="1">
                <a:lnSpc>
                  <a:spcPct val="100000"/>
                </a:lnSpc>
                <a:spcBef>
                  <a:spcPts val="1200"/>
                </a:spcBef>
              </a:pPr>
              <a:r>
                <a:rPr lang="en-US" sz="1800" b="1" kern="1200">
                  <a:solidFill>
                    <a:prstClr val="black"/>
                  </a:solidFill>
                  <a:uFillTx/>
                  <a:sym typeface="Wingdings" panose="05000000000000000000" pitchFamily="2" charset="2"/>
                </a:rPr>
                <a:t>Role: </a:t>
              </a:r>
              <a:r>
                <a:rPr lang="en-US" sz="1800" kern="1200">
                  <a:solidFill>
                    <a:prstClr val="black"/>
                  </a:solidFill>
                  <a:uFillTx/>
                  <a:sym typeface="Wingdings" panose="05000000000000000000" pitchFamily="2" charset="2"/>
                </a:rPr>
                <a:t>queries the damages in dedicated data stores to produce cost assessment</a:t>
              </a:r>
              <a:endParaRPr lang="en-US" sz="1800" kern="1200">
                <a:solidFill>
                  <a:prstClr val="black"/>
                </a:solidFill>
                <a:uFillTx/>
              </a:endParaRPr>
            </a:p>
          </p:txBody>
        </p:sp>
        <p:cxnSp>
          <p:nvCxnSpPr>
            <p:cNvPr id="152" name="Straight Arrow Connector 151">
              <a:extLst>
                <a:ext uri="{FF2B5EF4-FFF2-40B4-BE49-F238E27FC236}">
                  <a16:creationId xmlns:a16="http://schemas.microsoft.com/office/drawing/2014/main" id="{CE89DED0-45F8-8CE0-73AF-71046732BCE0}"/>
                </a:ext>
              </a:extLst>
            </p:cNvPr>
            <p:cNvCxnSpPr>
              <a:cxnSpLocks/>
              <a:endCxn id="211" idx="1"/>
            </p:cNvCxnSpPr>
            <p:nvPr/>
          </p:nvCxnSpPr>
          <p:spPr>
            <a:xfrm flipV="1">
              <a:off x="2951435" y="11492249"/>
              <a:ext cx="4859868" cy="0"/>
            </a:xfrm>
            <a:prstGeom prst="straightConnector1">
              <a:avLst/>
            </a:prstGeom>
            <a:ln w="28575">
              <a:solidFill>
                <a:srgbClr val="416CF9"/>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B3B13CEB-1A91-36D5-22D7-941DC640D0A1}"/>
                </a:ext>
              </a:extLst>
            </p:cNvPr>
            <p:cNvSpPr txBox="1"/>
            <p:nvPr/>
          </p:nvSpPr>
          <p:spPr>
            <a:xfrm>
              <a:off x="3544528" y="11205883"/>
              <a:ext cx="2830441" cy="294183"/>
            </a:xfrm>
            <a:prstGeom prst="rect">
              <a:avLst/>
            </a:prstGeom>
            <a:noFill/>
          </p:spPr>
          <p:txBody>
            <a:bodyPr wrap="square" rtlCol="0">
              <a:spAutoFit/>
            </a:bodyPr>
            <a:lstStyle/>
            <a:p>
              <a:r>
                <a:rPr lang="en-US" sz="1600">
                  <a:solidFill>
                    <a:srgbClr val="0E176D"/>
                  </a:solidFill>
                </a:rPr>
                <a:t>GUI output</a:t>
              </a:r>
            </a:p>
          </p:txBody>
        </p:sp>
        <p:cxnSp>
          <p:nvCxnSpPr>
            <p:cNvPr id="184" name="Straight Arrow Connector 183">
              <a:extLst>
                <a:ext uri="{FF2B5EF4-FFF2-40B4-BE49-F238E27FC236}">
                  <a16:creationId xmlns:a16="http://schemas.microsoft.com/office/drawing/2014/main" id="{2B7B728D-469A-EE55-9984-76F39E365021}"/>
                </a:ext>
              </a:extLst>
            </p:cNvPr>
            <p:cNvCxnSpPr>
              <a:cxnSpLocks/>
              <a:stCxn id="117" idx="0"/>
            </p:cNvCxnSpPr>
            <p:nvPr/>
          </p:nvCxnSpPr>
          <p:spPr>
            <a:xfrm flipV="1">
              <a:off x="9371422" y="10223221"/>
              <a:ext cx="8" cy="237523"/>
            </a:xfrm>
            <a:prstGeom prst="straightConnector1">
              <a:avLst/>
            </a:prstGeom>
            <a:ln w="28575">
              <a:solidFill>
                <a:srgbClr val="0E176D"/>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01D6B94B-06BC-A031-ABA2-8AF5079D65C6}"/>
                </a:ext>
              </a:extLst>
            </p:cNvPr>
            <p:cNvGrpSpPr/>
            <p:nvPr/>
          </p:nvGrpSpPr>
          <p:grpSpPr>
            <a:xfrm>
              <a:off x="6771431" y="10497416"/>
              <a:ext cx="447223" cy="446400"/>
              <a:chOff x="6771431" y="10170836"/>
              <a:chExt cx="447223" cy="446400"/>
            </a:xfrm>
          </p:grpSpPr>
          <p:sp>
            <p:nvSpPr>
              <p:cNvPr id="55" name="Oval 54">
                <a:extLst>
                  <a:ext uri="{FF2B5EF4-FFF2-40B4-BE49-F238E27FC236}">
                    <a16:creationId xmlns:a16="http://schemas.microsoft.com/office/drawing/2014/main" id="{7D7337A7-6312-C34C-8059-2D4C0DD727BB}"/>
                  </a:ext>
                </a:extLst>
              </p:cNvPr>
              <p:cNvSpPr/>
              <p:nvPr/>
            </p:nvSpPr>
            <p:spPr>
              <a:xfrm>
                <a:off x="6771431" y="10170836"/>
                <a:ext cx="447223" cy="446400"/>
              </a:xfrm>
              <a:prstGeom prst="ellipse">
                <a:avLst/>
              </a:prstGeom>
              <a:solidFill>
                <a:srgbClr val="416CF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a:solidFill>
                    <a:srgbClr val="FFFFFF"/>
                  </a:solidFill>
                  <a:uFillTx/>
                </a:endParaRPr>
              </a:p>
            </p:txBody>
          </p:sp>
          <p:pic>
            <p:nvPicPr>
              <p:cNvPr id="56" name="Graphic 55" descr="Call center with solid fill">
                <a:extLst>
                  <a:ext uri="{FF2B5EF4-FFF2-40B4-BE49-F238E27FC236}">
                    <a16:creationId xmlns:a16="http://schemas.microsoft.com/office/drawing/2014/main" id="{ABCEFEA1-68E0-C426-B85E-3F3CF8135387}"/>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842728" y="10237877"/>
                <a:ext cx="289029" cy="289568"/>
              </a:xfrm>
              <a:prstGeom prst="rect">
                <a:avLst/>
              </a:prstGeom>
            </p:spPr>
          </p:pic>
        </p:grpSp>
        <p:grpSp>
          <p:nvGrpSpPr>
            <p:cNvPr id="29" name="Group 28">
              <a:extLst>
                <a:ext uri="{FF2B5EF4-FFF2-40B4-BE49-F238E27FC236}">
                  <a16:creationId xmlns:a16="http://schemas.microsoft.com/office/drawing/2014/main" id="{30E478EE-D7BC-7D38-F4FF-1C606F341944}"/>
                </a:ext>
              </a:extLst>
            </p:cNvPr>
            <p:cNvGrpSpPr/>
            <p:nvPr/>
          </p:nvGrpSpPr>
          <p:grpSpPr>
            <a:xfrm>
              <a:off x="6761534" y="11265407"/>
              <a:ext cx="446400" cy="446400"/>
              <a:chOff x="6787963" y="10938827"/>
              <a:chExt cx="446400" cy="446400"/>
            </a:xfrm>
          </p:grpSpPr>
          <p:sp>
            <p:nvSpPr>
              <p:cNvPr id="58" name="Oval 57">
                <a:extLst>
                  <a:ext uri="{FF2B5EF4-FFF2-40B4-BE49-F238E27FC236}">
                    <a16:creationId xmlns:a16="http://schemas.microsoft.com/office/drawing/2014/main" id="{3E1581B2-DD21-9167-D553-8398A86CF102}"/>
                  </a:ext>
                </a:extLst>
              </p:cNvPr>
              <p:cNvSpPr/>
              <p:nvPr/>
            </p:nvSpPr>
            <p:spPr>
              <a:xfrm>
                <a:off x="6787963" y="10938827"/>
                <a:ext cx="446400" cy="446400"/>
              </a:xfrm>
              <a:prstGeom prst="ellipse">
                <a:avLst/>
              </a:prstGeom>
              <a:solidFill>
                <a:srgbClr val="416CF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a:solidFill>
                    <a:srgbClr val="FFFFFF"/>
                  </a:solidFill>
                  <a:uFillTx/>
                </a:endParaRPr>
              </a:p>
            </p:txBody>
          </p:sp>
          <p:pic>
            <p:nvPicPr>
              <p:cNvPr id="61" name="Graphic 60" descr="Table outline">
                <a:extLst>
                  <a:ext uri="{FF2B5EF4-FFF2-40B4-BE49-F238E27FC236}">
                    <a16:creationId xmlns:a16="http://schemas.microsoft.com/office/drawing/2014/main" id="{6328AEDF-9799-6E43-6E30-C20EA80E6DDC}"/>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878663" y="11031044"/>
                <a:ext cx="265000" cy="265000"/>
              </a:xfrm>
              <a:prstGeom prst="rect">
                <a:avLst/>
              </a:prstGeom>
            </p:spPr>
          </p:pic>
        </p:grpSp>
        <p:grpSp>
          <p:nvGrpSpPr>
            <p:cNvPr id="207" name="Group 206">
              <a:extLst>
                <a:ext uri="{FF2B5EF4-FFF2-40B4-BE49-F238E27FC236}">
                  <a16:creationId xmlns:a16="http://schemas.microsoft.com/office/drawing/2014/main" id="{C16EB11D-606F-85E0-FA33-D27ED566F29B}"/>
                </a:ext>
              </a:extLst>
            </p:cNvPr>
            <p:cNvGrpSpPr/>
            <p:nvPr/>
          </p:nvGrpSpPr>
          <p:grpSpPr>
            <a:xfrm>
              <a:off x="7813012" y="9723178"/>
              <a:ext cx="3116818" cy="495108"/>
              <a:chOff x="7556225" y="11243534"/>
              <a:chExt cx="3116818" cy="495108"/>
            </a:xfrm>
          </p:grpSpPr>
          <p:sp>
            <p:nvSpPr>
              <p:cNvPr id="201" name="TextBox 200">
                <a:extLst>
                  <a:ext uri="{FF2B5EF4-FFF2-40B4-BE49-F238E27FC236}">
                    <a16:creationId xmlns:a16="http://schemas.microsoft.com/office/drawing/2014/main" id="{33E21696-6473-9D9C-F0D7-351FDD1A07B6}"/>
                  </a:ext>
                </a:extLst>
              </p:cNvPr>
              <p:cNvSpPr txBox="1"/>
              <p:nvPr/>
            </p:nvSpPr>
            <p:spPr>
              <a:xfrm>
                <a:off x="7556225" y="11243534"/>
                <a:ext cx="3116818" cy="495108"/>
              </a:xfrm>
              <a:prstGeom prst="rect">
                <a:avLst/>
              </a:prstGeom>
              <a:solidFill>
                <a:schemeClr val="bg1"/>
              </a:solidFill>
              <a:ln>
                <a:noFill/>
              </a:ln>
            </p:spPr>
            <p:txBody>
              <a:bodyPr wrap="square" lIns="72000" tIns="108000" rIns="72000" bIns="108000" rtlCol="0" anchor="ctr">
                <a:spAutoFit/>
              </a:bodyPr>
              <a:lstStyle/>
              <a:p>
                <a:pPr marR="0" algn="ctr" defTabSz="1828800" hangingPunct="1">
                  <a:lnSpc>
                    <a:spcPct val="100000"/>
                  </a:lnSpc>
                </a:pPr>
                <a:r>
                  <a:rPr lang="en-US" sz="1800" kern="1200">
                    <a:solidFill>
                      <a:srgbClr val="0E176D"/>
                    </a:solidFill>
                    <a:uFillTx/>
                  </a:rPr>
                  <a:t>Damage information</a:t>
                </a:r>
              </a:p>
            </p:txBody>
          </p:sp>
          <p:grpSp>
            <p:nvGrpSpPr>
              <p:cNvPr id="202" name="Graphic 1040" descr="Database with solid fill">
                <a:extLst>
                  <a:ext uri="{FF2B5EF4-FFF2-40B4-BE49-F238E27FC236}">
                    <a16:creationId xmlns:a16="http://schemas.microsoft.com/office/drawing/2014/main" id="{F4CABF0C-18EB-3EE8-1E97-970BEF6529DC}"/>
                  </a:ext>
                </a:extLst>
              </p:cNvPr>
              <p:cNvGrpSpPr/>
              <p:nvPr/>
            </p:nvGrpSpPr>
            <p:grpSpPr>
              <a:xfrm>
                <a:off x="7646748" y="11305370"/>
                <a:ext cx="281839" cy="367760"/>
                <a:chOff x="5934481" y="4914025"/>
                <a:chExt cx="323037" cy="438412"/>
              </a:xfrm>
              <a:solidFill>
                <a:srgbClr val="7980E7"/>
              </a:solidFill>
            </p:grpSpPr>
            <p:sp>
              <p:nvSpPr>
                <p:cNvPr id="203" name="Freeform: Shape 139">
                  <a:extLst>
                    <a:ext uri="{FF2B5EF4-FFF2-40B4-BE49-F238E27FC236}">
                      <a16:creationId xmlns:a16="http://schemas.microsoft.com/office/drawing/2014/main" id="{F072CEC1-24F5-1966-716D-5CDAAF577485}"/>
                    </a:ext>
                  </a:extLst>
                </p:cNvPr>
                <p:cNvSpPr/>
                <p:nvPr/>
              </p:nvSpPr>
              <p:spPr>
                <a:xfrm>
                  <a:off x="5934481" y="4914025"/>
                  <a:ext cx="323037" cy="92297"/>
                </a:xfrm>
                <a:custGeom>
                  <a:avLst/>
                  <a:gdLst>
                    <a:gd name="connsiteX0" fmla="*/ 323037 w 323037"/>
                    <a:gd name="connsiteY0" fmla="*/ 46148 h 92296"/>
                    <a:gd name="connsiteX1" fmla="*/ 161519 w 323037"/>
                    <a:gd name="connsiteY1" fmla="*/ 92296 h 92296"/>
                    <a:gd name="connsiteX2" fmla="*/ 0 w 323037"/>
                    <a:gd name="connsiteY2" fmla="*/ 46148 h 92296"/>
                    <a:gd name="connsiteX3" fmla="*/ 161519 w 323037"/>
                    <a:gd name="connsiteY3" fmla="*/ 0 h 92296"/>
                    <a:gd name="connsiteX4" fmla="*/ 323037 w 323037"/>
                    <a:gd name="connsiteY4" fmla="*/ 46148 h 92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037" h="92296">
                      <a:moveTo>
                        <a:pt x="323037" y="46148"/>
                      </a:moveTo>
                      <a:cubicBezTo>
                        <a:pt x="323037" y="71635"/>
                        <a:pt x="250723" y="92296"/>
                        <a:pt x="161519" y="92296"/>
                      </a:cubicBezTo>
                      <a:cubicBezTo>
                        <a:pt x="72314" y="92296"/>
                        <a:pt x="0" y="71635"/>
                        <a:pt x="0" y="46148"/>
                      </a:cubicBezTo>
                      <a:cubicBezTo>
                        <a:pt x="0" y="20661"/>
                        <a:pt x="72314" y="0"/>
                        <a:pt x="161519" y="0"/>
                      </a:cubicBezTo>
                      <a:cubicBezTo>
                        <a:pt x="250723" y="0"/>
                        <a:pt x="323037" y="20661"/>
                        <a:pt x="323037" y="46148"/>
                      </a:cubicBezTo>
                      <a:close/>
                    </a:path>
                  </a:pathLst>
                </a:custGeom>
                <a:grpFill/>
                <a:ln w="5755" cap="flat">
                  <a:noFill/>
                  <a:prstDash val="solid"/>
                  <a:miter/>
                </a:ln>
              </p:spPr>
              <p:txBody>
                <a:bodyPr rtlCol="0" anchor="ctr"/>
                <a:lstStyle/>
                <a:p>
                  <a:endParaRPr lang="en-US" sz="2000"/>
                </a:p>
              </p:txBody>
            </p:sp>
            <p:sp>
              <p:nvSpPr>
                <p:cNvPr id="204" name="Freeform: Shape 140">
                  <a:extLst>
                    <a:ext uri="{FF2B5EF4-FFF2-40B4-BE49-F238E27FC236}">
                      <a16:creationId xmlns:a16="http://schemas.microsoft.com/office/drawing/2014/main" id="{72D9038E-48CD-5DCE-6270-65718EC389C1}"/>
                    </a:ext>
                  </a:extLst>
                </p:cNvPr>
                <p:cNvSpPr/>
                <p:nvPr/>
              </p:nvSpPr>
              <p:spPr>
                <a:xfrm>
                  <a:off x="5934481" y="4983250"/>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1"/>
                        <a:pt x="0" y="0"/>
                      </a:cubicBezTo>
                      <a:lnTo>
                        <a:pt x="0" y="92296"/>
                      </a:lnTo>
                      <a:cubicBezTo>
                        <a:pt x="0" y="117678"/>
                        <a:pt x="72683" y="138445"/>
                        <a:pt x="161519" y="138445"/>
                      </a:cubicBezTo>
                      <a:cubicBezTo>
                        <a:pt x="250354" y="138445"/>
                        <a:pt x="323037" y="117678"/>
                        <a:pt x="323037" y="92296"/>
                      </a:cubicBezTo>
                      <a:lnTo>
                        <a:pt x="323037" y="0"/>
                      </a:lnTo>
                      <a:cubicBezTo>
                        <a:pt x="323037" y="25381"/>
                        <a:pt x="250354" y="46148"/>
                        <a:pt x="161519" y="46148"/>
                      </a:cubicBezTo>
                      <a:close/>
                    </a:path>
                  </a:pathLst>
                </a:custGeom>
                <a:grpFill/>
                <a:ln w="5755" cap="flat">
                  <a:noFill/>
                  <a:prstDash val="solid"/>
                  <a:miter/>
                </a:ln>
              </p:spPr>
              <p:txBody>
                <a:bodyPr rtlCol="0" anchor="ctr"/>
                <a:lstStyle/>
                <a:p>
                  <a:endParaRPr lang="en-US" sz="2000"/>
                </a:p>
              </p:txBody>
            </p:sp>
            <p:sp>
              <p:nvSpPr>
                <p:cNvPr id="205" name="Freeform: Shape 141">
                  <a:extLst>
                    <a:ext uri="{FF2B5EF4-FFF2-40B4-BE49-F238E27FC236}">
                      <a16:creationId xmlns:a16="http://schemas.microsoft.com/office/drawing/2014/main" id="{B91E0A76-7CB7-52C7-3ECB-EEC953F47F48}"/>
                    </a:ext>
                  </a:extLst>
                </p:cNvPr>
                <p:cNvSpPr/>
                <p:nvPr/>
              </p:nvSpPr>
              <p:spPr>
                <a:xfrm>
                  <a:off x="5934481" y="5098619"/>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2"/>
                        <a:pt x="0" y="0"/>
                      </a:cubicBezTo>
                      <a:lnTo>
                        <a:pt x="0" y="92296"/>
                      </a:lnTo>
                      <a:cubicBezTo>
                        <a:pt x="0" y="117678"/>
                        <a:pt x="72683" y="138445"/>
                        <a:pt x="161519" y="138445"/>
                      </a:cubicBezTo>
                      <a:cubicBezTo>
                        <a:pt x="250354" y="138445"/>
                        <a:pt x="323037" y="117678"/>
                        <a:pt x="323037" y="92296"/>
                      </a:cubicBezTo>
                      <a:lnTo>
                        <a:pt x="323037" y="0"/>
                      </a:lnTo>
                      <a:cubicBezTo>
                        <a:pt x="323037" y="25382"/>
                        <a:pt x="250354" y="46148"/>
                        <a:pt x="161519" y="46148"/>
                      </a:cubicBezTo>
                      <a:close/>
                    </a:path>
                  </a:pathLst>
                </a:custGeom>
                <a:grpFill/>
                <a:ln w="5755" cap="flat">
                  <a:noFill/>
                  <a:prstDash val="solid"/>
                  <a:miter/>
                </a:ln>
              </p:spPr>
              <p:txBody>
                <a:bodyPr rtlCol="0" anchor="ctr"/>
                <a:lstStyle/>
                <a:p>
                  <a:endParaRPr lang="en-US" sz="2000"/>
                </a:p>
              </p:txBody>
            </p:sp>
            <p:sp>
              <p:nvSpPr>
                <p:cNvPr id="206" name="Freeform: Shape 142">
                  <a:extLst>
                    <a:ext uri="{FF2B5EF4-FFF2-40B4-BE49-F238E27FC236}">
                      <a16:creationId xmlns:a16="http://schemas.microsoft.com/office/drawing/2014/main" id="{A7143E23-6A43-00AC-3EEC-C63674DDF45B}"/>
                    </a:ext>
                  </a:extLst>
                </p:cNvPr>
                <p:cNvSpPr/>
                <p:nvPr/>
              </p:nvSpPr>
              <p:spPr>
                <a:xfrm>
                  <a:off x="5934481" y="5213993"/>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2"/>
                        <a:pt x="0" y="0"/>
                      </a:cubicBezTo>
                      <a:lnTo>
                        <a:pt x="0" y="92296"/>
                      </a:lnTo>
                      <a:cubicBezTo>
                        <a:pt x="0" y="117678"/>
                        <a:pt x="72683" y="138445"/>
                        <a:pt x="161519" y="138445"/>
                      </a:cubicBezTo>
                      <a:cubicBezTo>
                        <a:pt x="250354" y="138445"/>
                        <a:pt x="323037" y="117678"/>
                        <a:pt x="323037" y="92296"/>
                      </a:cubicBezTo>
                      <a:lnTo>
                        <a:pt x="323037" y="0"/>
                      </a:lnTo>
                      <a:cubicBezTo>
                        <a:pt x="323037" y="25382"/>
                        <a:pt x="250354" y="46148"/>
                        <a:pt x="161519" y="46148"/>
                      </a:cubicBezTo>
                      <a:close/>
                    </a:path>
                  </a:pathLst>
                </a:custGeom>
                <a:grpFill/>
                <a:ln w="5755" cap="flat">
                  <a:noFill/>
                  <a:prstDash val="solid"/>
                  <a:miter/>
                </a:ln>
              </p:spPr>
              <p:txBody>
                <a:bodyPr rtlCol="0" anchor="ctr"/>
                <a:lstStyle/>
                <a:p>
                  <a:endParaRPr lang="en-US" sz="2000"/>
                </a:p>
              </p:txBody>
            </p:sp>
          </p:grpSp>
        </p:grpSp>
        <p:grpSp>
          <p:nvGrpSpPr>
            <p:cNvPr id="210" name="Group 209">
              <a:extLst>
                <a:ext uri="{FF2B5EF4-FFF2-40B4-BE49-F238E27FC236}">
                  <a16:creationId xmlns:a16="http://schemas.microsoft.com/office/drawing/2014/main" id="{F5AC2DB9-570A-88EB-F37E-A80D1FCE1524}"/>
                </a:ext>
              </a:extLst>
            </p:cNvPr>
            <p:cNvGrpSpPr/>
            <p:nvPr/>
          </p:nvGrpSpPr>
          <p:grpSpPr>
            <a:xfrm>
              <a:off x="7811303" y="11244695"/>
              <a:ext cx="3116818" cy="495108"/>
              <a:chOff x="7556225" y="11243534"/>
              <a:chExt cx="3116818" cy="495108"/>
            </a:xfrm>
          </p:grpSpPr>
          <p:sp>
            <p:nvSpPr>
              <p:cNvPr id="211" name="TextBox 210">
                <a:extLst>
                  <a:ext uri="{FF2B5EF4-FFF2-40B4-BE49-F238E27FC236}">
                    <a16:creationId xmlns:a16="http://schemas.microsoft.com/office/drawing/2014/main" id="{A9559CFE-A5D4-7575-1AE1-364A103A8C23}"/>
                  </a:ext>
                </a:extLst>
              </p:cNvPr>
              <p:cNvSpPr txBox="1"/>
              <p:nvPr/>
            </p:nvSpPr>
            <p:spPr>
              <a:xfrm>
                <a:off x="7556225" y="11243534"/>
                <a:ext cx="3116818" cy="495108"/>
              </a:xfrm>
              <a:prstGeom prst="rect">
                <a:avLst/>
              </a:prstGeom>
              <a:solidFill>
                <a:schemeClr val="bg1"/>
              </a:solidFill>
              <a:ln>
                <a:noFill/>
              </a:ln>
            </p:spPr>
            <p:txBody>
              <a:bodyPr wrap="square" lIns="72000" tIns="108000" rIns="72000" bIns="108000" rtlCol="0" anchor="ctr">
                <a:spAutoFit/>
              </a:bodyPr>
              <a:lstStyle/>
              <a:p>
                <a:pPr marR="0" algn="ctr" defTabSz="1828800" hangingPunct="1">
                  <a:lnSpc>
                    <a:spcPct val="100000"/>
                  </a:lnSpc>
                </a:pPr>
                <a:r>
                  <a:rPr lang="en-US" sz="1800" kern="1200">
                    <a:solidFill>
                      <a:srgbClr val="0E176D"/>
                    </a:solidFill>
                    <a:uFillTx/>
                  </a:rPr>
                  <a:t>Cost estimation</a:t>
                </a:r>
              </a:p>
            </p:txBody>
          </p:sp>
          <p:grpSp>
            <p:nvGrpSpPr>
              <p:cNvPr id="212" name="Graphic 1040" descr="Database with solid fill">
                <a:extLst>
                  <a:ext uri="{FF2B5EF4-FFF2-40B4-BE49-F238E27FC236}">
                    <a16:creationId xmlns:a16="http://schemas.microsoft.com/office/drawing/2014/main" id="{3B3101E7-B7D1-E1C9-0CDB-AECEF124CFF0}"/>
                  </a:ext>
                </a:extLst>
              </p:cNvPr>
              <p:cNvGrpSpPr/>
              <p:nvPr/>
            </p:nvGrpSpPr>
            <p:grpSpPr>
              <a:xfrm>
                <a:off x="7646748" y="11305370"/>
                <a:ext cx="281839" cy="367760"/>
                <a:chOff x="5934481" y="4914025"/>
                <a:chExt cx="323037" cy="438412"/>
              </a:xfrm>
              <a:solidFill>
                <a:srgbClr val="7980E7"/>
              </a:solidFill>
            </p:grpSpPr>
            <p:sp>
              <p:nvSpPr>
                <p:cNvPr id="213" name="Freeform: Shape 139">
                  <a:extLst>
                    <a:ext uri="{FF2B5EF4-FFF2-40B4-BE49-F238E27FC236}">
                      <a16:creationId xmlns:a16="http://schemas.microsoft.com/office/drawing/2014/main" id="{40FB2543-B78E-BA38-F8F0-52E7379D1062}"/>
                    </a:ext>
                  </a:extLst>
                </p:cNvPr>
                <p:cNvSpPr/>
                <p:nvPr/>
              </p:nvSpPr>
              <p:spPr>
                <a:xfrm>
                  <a:off x="5934481" y="4914025"/>
                  <a:ext cx="323037" cy="92297"/>
                </a:xfrm>
                <a:custGeom>
                  <a:avLst/>
                  <a:gdLst>
                    <a:gd name="connsiteX0" fmla="*/ 323037 w 323037"/>
                    <a:gd name="connsiteY0" fmla="*/ 46148 h 92296"/>
                    <a:gd name="connsiteX1" fmla="*/ 161519 w 323037"/>
                    <a:gd name="connsiteY1" fmla="*/ 92296 h 92296"/>
                    <a:gd name="connsiteX2" fmla="*/ 0 w 323037"/>
                    <a:gd name="connsiteY2" fmla="*/ 46148 h 92296"/>
                    <a:gd name="connsiteX3" fmla="*/ 161519 w 323037"/>
                    <a:gd name="connsiteY3" fmla="*/ 0 h 92296"/>
                    <a:gd name="connsiteX4" fmla="*/ 323037 w 323037"/>
                    <a:gd name="connsiteY4" fmla="*/ 46148 h 92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037" h="92296">
                      <a:moveTo>
                        <a:pt x="323037" y="46148"/>
                      </a:moveTo>
                      <a:cubicBezTo>
                        <a:pt x="323037" y="71635"/>
                        <a:pt x="250723" y="92296"/>
                        <a:pt x="161519" y="92296"/>
                      </a:cubicBezTo>
                      <a:cubicBezTo>
                        <a:pt x="72314" y="92296"/>
                        <a:pt x="0" y="71635"/>
                        <a:pt x="0" y="46148"/>
                      </a:cubicBezTo>
                      <a:cubicBezTo>
                        <a:pt x="0" y="20661"/>
                        <a:pt x="72314" y="0"/>
                        <a:pt x="161519" y="0"/>
                      </a:cubicBezTo>
                      <a:cubicBezTo>
                        <a:pt x="250723" y="0"/>
                        <a:pt x="323037" y="20661"/>
                        <a:pt x="323037" y="46148"/>
                      </a:cubicBezTo>
                      <a:close/>
                    </a:path>
                  </a:pathLst>
                </a:custGeom>
                <a:grpFill/>
                <a:ln w="5755" cap="flat">
                  <a:noFill/>
                  <a:prstDash val="solid"/>
                  <a:miter/>
                </a:ln>
              </p:spPr>
              <p:txBody>
                <a:bodyPr rtlCol="0" anchor="ctr"/>
                <a:lstStyle/>
                <a:p>
                  <a:endParaRPr lang="en-US" sz="2000"/>
                </a:p>
              </p:txBody>
            </p:sp>
            <p:sp>
              <p:nvSpPr>
                <p:cNvPr id="214" name="Freeform: Shape 140">
                  <a:extLst>
                    <a:ext uri="{FF2B5EF4-FFF2-40B4-BE49-F238E27FC236}">
                      <a16:creationId xmlns:a16="http://schemas.microsoft.com/office/drawing/2014/main" id="{A686B5FC-4B45-537F-5E75-1B8CB5A21586}"/>
                    </a:ext>
                  </a:extLst>
                </p:cNvPr>
                <p:cNvSpPr/>
                <p:nvPr/>
              </p:nvSpPr>
              <p:spPr>
                <a:xfrm>
                  <a:off x="5934481" y="4983250"/>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1"/>
                        <a:pt x="0" y="0"/>
                      </a:cubicBezTo>
                      <a:lnTo>
                        <a:pt x="0" y="92296"/>
                      </a:lnTo>
                      <a:cubicBezTo>
                        <a:pt x="0" y="117678"/>
                        <a:pt x="72683" y="138445"/>
                        <a:pt x="161519" y="138445"/>
                      </a:cubicBezTo>
                      <a:cubicBezTo>
                        <a:pt x="250354" y="138445"/>
                        <a:pt x="323037" y="117678"/>
                        <a:pt x="323037" y="92296"/>
                      </a:cubicBezTo>
                      <a:lnTo>
                        <a:pt x="323037" y="0"/>
                      </a:lnTo>
                      <a:cubicBezTo>
                        <a:pt x="323037" y="25381"/>
                        <a:pt x="250354" y="46148"/>
                        <a:pt x="161519" y="46148"/>
                      </a:cubicBezTo>
                      <a:close/>
                    </a:path>
                  </a:pathLst>
                </a:custGeom>
                <a:grpFill/>
                <a:ln w="5755" cap="flat">
                  <a:noFill/>
                  <a:prstDash val="solid"/>
                  <a:miter/>
                </a:ln>
              </p:spPr>
              <p:txBody>
                <a:bodyPr rtlCol="0" anchor="ctr"/>
                <a:lstStyle/>
                <a:p>
                  <a:endParaRPr lang="en-US" sz="2000"/>
                </a:p>
              </p:txBody>
            </p:sp>
            <p:sp>
              <p:nvSpPr>
                <p:cNvPr id="215" name="Freeform: Shape 141">
                  <a:extLst>
                    <a:ext uri="{FF2B5EF4-FFF2-40B4-BE49-F238E27FC236}">
                      <a16:creationId xmlns:a16="http://schemas.microsoft.com/office/drawing/2014/main" id="{F09325F4-C898-0DE9-8B59-19B35FB80332}"/>
                    </a:ext>
                  </a:extLst>
                </p:cNvPr>
                <p:cNvSpPr/>
                <p:nvPr/>
              </p:nvSpPr>
              <p:spPr>
                <a:xfrm>
                  <a:off x="5934481" y="5098619"/>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2"/>
                        <a:pt x="0" y="0"/>
                      </a:cubicBezTo>
                      <a:lnTo>
                        <a:pt x="0" y="92296"/>
                      </a:lnTo>
                      <a:cubicBezTo>
                        <a:pt x="0" y="117678"/>
                        <a:pt x="72683" y="138445"/>
                        <a:pt x="161519" y="138445"/>
                      </a:cubicBezTo>
                      <a:cubicBezTo>
                        <a:pt x="250354" y="138445"/>
                        <a:pt x="323037" y="117678"/>
                        <a:pt x="323037" y="92296"/>
                      </a:cubicBezTo>
                      <a:lnTo>
                        <a:pt x="323037" y="0"/>
                      </a:lnTo>
                      <a:cubicBezTo>
                        <a:pt x="323037" y="25382"/>
                        <a:pt x="250354" y="46148"/>
                        <a:pt x="161519" y="46148"/>
                      </a:cubicBezTo>
                      <a:close/>
                    </a:path>
                  </a:pathLst>
                </a:custGeom>
                <a:grpFill/>
                <a:ln w="5755" cap="flat">
                  <a:noFill/>
                  <a:prstDash val="solid"/>
                  <a:miter/>
                </a:ln>
              </p:spPr>
              <p:txBody>
                <a:bodyPr rtlCol="0" anchor="ctr"/>
                <a:lstStyle/>
                <a:p>
                  <a:endParaRPr lang="en-US" sz="2000"/>
                </a:p>
              </p:txBody>
            </p:sp>
            <p:sp>
              <p:nvSpPr>
                <p:cNvPr id="216" name="Freeform: Shape 142">
                  <a:extLst>
                    <a:ext uri="{FF2B5EF4-FFF2-40B4-BE49-F238E27FC236}">
                      <a16:creationId xmlns:a16="http://schemas.microsoft.com/office/drawing/2014/main" id="{D6D851FB-285C-4506-7A2B-9E4AEE69AC05}"/>
                    </a:ext>
                  </a:extLst>
                </p:cNvPr>
                <p:cNvSpPr/>
                <p:nvPr/>
              </p:nvSpPr>
              <p:spPr>
                <a:xfrm>
                  <a:off x="5934481" y="5213993"/>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2"/>
                        <a:pt x="0" y="0"/>
                      </a:cubicBezTo>
                      <a:lnTo>
                        <a:pt x="0" y="92296"/>
                      </a:lnTo>
                      <a:cubicBezTo>
                        <a:pt x="0" y="117678"/>
                        <a:pt x="72683" y="138445"/>
                        <a:pt x="161519" y="138445"/>
                      </a:cubicBezTo>
                      <a:cubicBezTo>
                        <a:pt x="250354" y="138445"/>
                        <a:pt x="323037" y="117678"/>
                        <a:pt x="323037" y="92296"/>
                      </a:cubicBezTo>
                      <a:lnTo>
                        <a:pt x="323037" y="0"/>
                      </a:lnTo>
                      <a:cubicBezTo>
                        <a:pt x="323037" y="25382"/>
                        <a:pt x="250354" y="46148"/>
                        <a:pt x="161519" y="46148"/>
                      </a:cubicBezTo>
                      <a:close/>
                    </a:path>
                  </a:pathLst>
                </a:custGeom>
                <a:grpFill/>
                <a:ln w="5755" cap="flat">
                  <a:noFill/>
                  <a:prstDash val="solid"/>
                  <a:miter/>
                </a:ln>
              </p:spPr>
              <p:txBody>
                <a:bodyPr rtlCol="0" anchor="ctr"/>
                <a:lstStyle/>
                <a:p>
                  <a:endParaRPr lang="en-US" sz="2000"/>
                </a:p>
              </p:txBody>
            </p:sp>
          </p:grpSp>
        </p:grpSp>
      </p:grpSp>
      <p:grpSp>
        <p:nvGrpSpPr>
          <p:cNvPr id="267" name="Group 266">
            <a:extLst>
              <a:ext uri="{FF2B5EF4-FFF2-40B4-BE49-F238E27FC236}">
                <a16:creationId xmlns:a16="http://schemas.microsoft.com/office/drawing/2014/main" id="{EE77DE1E-F70D-434B-64D1-2ED78F9AFF27}"/>
              </a:ext>
            </a:extLst>
          </p:cNvPr>
          <p:cNvGrpSpPr/>
          <p:nvPr/>
        </p:nvGrpSpPr>
        <p:grpSpPr>
          <a:xfrm>
            <a:off x="2986426" y="6357302"/>
            <a:ext cx="20098647" cy="2339770"/>
            <a:chOff x="2986426" y="6326306"/>
            <a:chExt cx="20098647" cy="2339770"/>
          </a:xfrm>
        </p:grpSpPr>
        <p:sp>
          <p:nvSpPr>
            <p:cNvPr id="94" name="TextBox 93">
              <a:extLst>
                <a:ext uri="{FF2B5EF4-FFF2-40B4-BE49-F238E27FC236}">
                  <a16:creationId xmlns:a16="http://schemas.microsoft.com/office/drawing/2014/main" id="{D4283D7F-CF0B-2609-7DC9-5963F3669547}"/>
                </a:ext>
              </a:extLst>
            </p:cNvPr>
            <p:cNvSpPr txBox="1"/>
            <p:nvPr/>
          </p:nvSpPr>
          <p:spPr>
            <a:xfrm>
              <a:off x="7816624" y="6665961"/>
              <a:ext cx="3116818" cy="646331"/>
            </a:xfrm>
            <a:prstGeom prst="rect">
              <a:avLst/>
            </a:prstGeom>
            <a:solidFill>
              <a:srgbClr val="0E176D"/>
            </a:solidFill>
            <a:ln>
              <a:noFill/>
            </a:ln>
          </p:spPr>
          <p:txBody>
            <a:bodyPr wrap="square" rtlCol="0" anchor="ctr">
              <a:spAutoFit/>
            </a:bodyPr>
            <a:lstStyle/>
            <a:p>
              <a:pPr marR="0" algn="ctr" defTabSz="1828800" hangingPunct="1">
                <a:lnSpc>
                  <a:spcPct val="100000"/>
                </a:lnSpc>
              </a:pPr>
              <a:r>
                <a:rPr lang="en-US" sz="1800" kern="1200">
                  <a:solidFill>
                    <a:schemeClr val="bg1"/>
                  </a:solidFill>
                  <a:uFillTx/>
                </a:rPr>
                <a:t>Prompt augmentation</a:t>
              </a:r>
            </a:p>
            <a:p>
              <a:pPr marR="0" algn="ctr" defTabSz="1828800" hangingPunct="1">
                <a:lnSpc>
                  <a:spcPct val="100000"/>
                </a:lnSpc>
              </a:pPr>
              <a:r>
                <a:rPr lang="en-US" sz="1800" kern="1200">
                  <a:solidFill>
                    <a:schemeClr val="bg1"/>
                  </a:solidFill>
                  <a:uFillTx/>
                </a:rPr>
                <a:t>with image prompt</a:t>
              </a:r>
            </a:p>
          </p:txBody>
        </p:sp>
        <p:cxnSp>
          <p:nvCxnSpPr>
            <p:cNvPr id="95" name="Straight Arrow Connector 94">
              <a:extLst>
                <a:ext uri="{FF2B5EF4-FFF2-40B4-BE49-F238E27FC236}">
                  <a16:creationId xmlns:a16="http://schemas.microsoft.com/office/drawing/2014/main" id="{3E3A188E-38FC-2793-829C-659A63530424}"/>
                </a:ext>
              </a:extLst>
            </p:cNvPr>
            <p:cNvCxnSpPr>
              <a:cxnSpLocks/>
              <a:endCxn id="94" idx="1"/>
            </p:cNvCxnSpPr>
            <p:nvPr/>
          </p:nvCxnSpPr>
          <p:spPr>
            <a:xfrm>
              <a:off x="3009019" y="6964791"/>
              <a:ext cx="4807605" cy="0"/>
            </a:xfrm>
            <a:prstGeom prst="straightConnector1">
              <a:avLst/>
            </a:prstGeom>
            <a:ln w="28575">
              <a:solidFill>
                <a:srgbClr val="416CF9"/>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233C7FD1-CB85-9B9B-326F-53076FF15F95}"/>
                </a:ext>
              </a:extLst>
            </p:cNvPr>
            <p:cNvSpPr txBox="1"/>
            <p:nvPr/>
          </p:nvSpPr>
          <p:spPr>
            <a:xfrm>
              <a:off x="3541310" y="6653701"/>
              <a:ext cx="2290319" cy="294183"/>
            </a:xfrm>
            <a:prstGeom prst="rect">
              <a:avLst/>
            </a:prstGeom>
            <a:noFill/>
          </p:spPr>
          <p:txBody>
            <a:bodyPr wrap="square" rtlCol="0">
              <a:spAutoFit/>
            </a:bodyPr>
            <a:lstStyle/>
            <a:p>
              <a:r>
                <a:rPr lang="en-US" sz="1600">
                  <a:solidFill>
                    <a:srgbClr val="0E176D"/>
                  </a:solidFill>
                </a:rPr>
                <a:t>Uploads image</a:t>
              </a:r>
            </a:p>
          </p:txBody>
        </p:sp>
        <p:cxnSp>
          <p:nvCxnSpPr>
            <p:cNvPr id="98" name="Straight Arrow Connector 97">
              <a:extLst>
                <a:ext uri="{FF2B5EF4-FFF2-40B4-BE49-F238E27FC236}">
                  <a16:creationId xmlns:a16="http://schemas.microsoft.com/office/drawing/2014/main" id="{AE757B5A-585A-7CCD-CD5C-0D365A128F02}"/>
                </a:ext>
              </a:extLst>
            </p:cNvPr>
            <p:cNvCxnSpPr>
              <a:cxnSpLocks/>
              <a:stCxn id="94" idx="3"/>
            </p:cNvCxnSpPr>
            <p:nvPr/>
          </p:nvCxnSpPr>
          <p:spPr>
            <a:xfrm>
              <a:off x="10933442" y="6989127"/>
              <a:ext cx="1834293" cy="0"/>
            </a:xfrm>
            <a:prstGeom prst="straightConnector1">
              <a:avLst/>
            </a:prstGeom>
            <a:ln w="28575">
              <a:solidFill>
                <a:srgbClr val="0E176D"/>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D1A019A-33C7-4B24-61B3-AF070801F184}"/>
                </a:ext>
              </a:extLst>
            </p:cNvPr>
            <p:cNvCxnSpPr>
              <a:cxnSpLocks/>
            </p:cNvCxnSpPr>
            <p:nvPr/>
          </p:nvCxnSpPr>
          <p:spPr>
            <a:xfrm>
              <a:off x="15892778" y="7034406"/>
              <a:ext cx="1962294" cy="0"/>
            </a:xfrm>
            <a:prstGeom prst="straightConnector1">
              <a:avLst/>
            </a:prstGeom>
            <a:ln w="28575">
              <a:solidFill>
                <a:srgbClr val="416CF9"/>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97F18373-DD5C-8A04-9A30-BFA760881D05}"/>
                </a:ext>
              </a:extLst>
            </p:cNvPr>
            <p:cNvCxnSpPr>
              <a:cxnSpLocks/>
            </p:cNvCxnSpPr>
            <p:nvPr/>
          </p:nvCxnSpPr>
          <p:spPr>
            <a:xfrm>
              <a:off x="15892778" y="7782775"/>
              <a:ext cx="1955439" cy="0"/>
            </a:xfrm>
            <a:prstGeom prst="straightConnector1">
              <a:avLst/>
            </a:prstGeom>
            <a:ln w="28575">
              <a:solidFill>
                <a:srgbClr val="416CF9"/>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22E72D24-881D-28FD-B47E-330B4532373B}"/>
                </a:ext>
              </a:extLst>
            </p:cNvPr>
            <p:cNvSpPr txBox="1"/>
            <p:nvPr/>
          </p:nvSpPr>
          <p:spPr>
            <a:xfrm>
              <a:off x="7816623" y="8170968"/>
              <a:ext cx="3116818" cy="495108"/>
            </a:xfrm>
            <a:prstGeom prst="rect">
              <a:avLst/>
            </a:prstGeom>
            <a:solidFill>
              <a:srgbClr val="0E176D"/>
            </a:solidFill>
            <a:ln>
              <a:noFill/>
            </a:ln>
          </p:spPr>
          <p:txBody>
            <a:bodyPr wrap="square" tIns="108000" bIns="108000" rtlCol="0" anchor="ctr">
              <a:spAutoFit/>
            </a:bodyPr>
            <a:lstStyle/>
            <a:p>
              <a:pPr marR="0" algn="ctr" defTabSz="1828800" hangingPunct="1">
                <a:lnSpc>
                  <a:spcPct val="100000"/>
                </a:lnSpc>
              </a:pPr>
              <a:r>
                <a:rPr lang="en-US" sz="1800" kern="1200">
                  <a:solidFill>
                    <a:schemeClr val="bg1"/>
                  </a:solidFill>
                  <a:uFillTx/>
                </a:rPr>
                <a:t>User output</a:t>
              </a:r>
            </a:p>
          </p:txBody>
        </p:sp>
        <p:cxnSp>
          <p:nvCxnSpPr>
            <p:cNvPr id="110" name="Straight Arrow Connector 109">
              <a:extLst>
                <a:ext uri="{FF2B5EF4-FFF2-40B4-BE49-F238E27FC236}">
                  <a16:creationId xmlns:a16="http://schemas.microsoft.com/office/drawing/2014/main" id="{61D155F0-9BE7-6D90-79BA-60F4EEECC72B}"/>
                </a:ext>
              </a:extLst>
            </p:cNvPr>
            <p:cNvCxnSpPr>
              <a:cxnSpLocks/>
              <a:stCxn id="109" idx="3"/>
            </p:cNvCxnSpPr>
            <p:nvPr/>
          </p:nvCxnSpPr>
          <p:spPr>
            <a:xfrm flipV="1">
              <a:off x="10933441" y="7751882"/>
              <a:ext cx="1834294" cy="666640"/>
            </a:xfrm>
            <a:prstGeom prst="straightConnector1">
              <a:avLst/>
            </a:prstGeom>
            <a:ln w="28575">
              <a:solidFill>
                <a:srgbClr val="0E176D"/>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691AD202-4A39-0A4F-D84F-B809D639139E}"/>
                </a:ext>
              </a:extLst>
            </p:cNvPr>
            <p:cNvCxnSpPr>
              <a:cxnSpLocks/>
              <a:endCxn id="232" idx="1"/>
            </p:cNvCxnSpPr>
            <p:nvPr/>
          </p:nvCxnSpPr>
          <p:spPr>
            <a:xfrm>
              <a:off x="10877849" y="7730118"/>
              <a:ext cx="1898111" cy="0"/>
            </a:xfrm>
            <a:prstGeom prst="straightConnector1">
              <a:avLst/>
            </a:prstGeom>
            <a:ln w="28575">
              <a:solidFill>
                <a:srgbClr val="0E176D"/>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F9EB971F-C832-514D-5067-1C03F85F79C6}"/>
                </a:ext>
              </a:extLst>
            </p:cNvPr>
            <p:cNvCxnSpPr>
              <a:cxnSpLocks/>
              <a:endCxn id="109" idx="1"/>
            </p:cNvCxnSpPr>
            <p:nvPr/>
          </p:nvCxnSpPr>
          <p:spPr>
            <a:xfrm>
              <a:off x="2986426" y="8418522"/>
              <a:ext cx="4830197" cy="0"/>
            </a:xfrm>
            <a:prstGeom prst="straightConnector1">
              <a:avLst/>
            </a:prstGeom>
            <a:ln w="28575">
              <a:solidFill>
                <a:srgbClr val="416CF9"/>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42C8747F-0366-8D71-6A92-1018BE764953}"/>
                </a:ext>
              </a:extLst>
            </p:cNvPr>
            <p:cNvGrpSpPr>
              <a:grpSpLocks noChangeAspect="1"/>
            </p:cNvGrpSpPr>
            <p:nvPr/>
          </p:nvGrpSpPr>
          <p:grpSpPr>
            <a:xfrm>
              <a:off x="18046879" y="6744434"/>
              <a:ext cx="1080000" cy="1080000"/>
              <a:chOff x="17288298" y="6553200"/>
              <a:chExt cx="1260000" cy="1260000"/>
            </a:xfrm>
          </p:grpSpPr>
          <p:sp>
            <p:nvSpPr>
              <p:cNvPr id="114" name="Oval 113">
                <a:extLst>
                  <a:ext uri="{FF2B5EF4-FFF2-40B4-BE49-F238E27FC236}">
                    <a16:creationId xmlns:a16="http://schemas.microsoft.com/office/drawing/2014/main" id="{0919C5EB-53AA-B4B4-EFCA-A4A36A450412}"/>
                  </a:ext>
                </a:extLst>
              </p:cNvPr>
              <p:cNvSpPr/>
              <p:nvPr/>
            </p:nvSpPr>
            <p:spPr>
              <a:xfrm>
                <a:off x="17288298" y="6553200"/>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a:solidFill>
                    <a:srgbClr val="FFFFFF"/>
                  </a:solidFill>
                  <a:uFillTx/>
                </a:endParaRPr>
              </a:p>
            </p:txBody>
          </p:sp>
          <p:pic>
            <p:nvPicPr>
              <p:cNvPr id="115" name="Graphic 114" descr="Images with solid fill">
                <a:extLst>
                  <a:ext uri="{FF2B5EF4-FFF2-40B4-BE49-F238E27FC236}">
                    <a16:creationId xmlns:a16="http://schemas.microsoft.com/office/drawing/2014/main" id="{06BBB605-5C69-EEF0-EA9B-150DDF158E80}"/>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17565663" y="6818661"/>
                <a:ext cx="730344" cy="698805"/>
              </a:xfrm>
              <a:prstGeom prst="rect">
                <a:avLst/>
              </a:prstGeom>
            </p:spPr>
          </p:pic>
        </p:grpSp>
        <p:sp>
          <p:nvSpPr>
            <p:cNvPr id="116" name="TextBox 115">
              <a:extLst>
                <a:ext uri="{FF2B5EF4-FFF2-40B4-BE49-F238E27FC236}">
                  <a16:creationId xmlns:a16="http://schemas.microsoft.com/office/drawing/2014/main" id="{101F29AB-F0BD-4384-223F-D63EE52FBE75}"/>
                </a:ext>
              </a:extLst>
            </p:cNvPr>
            <p:cNvSpPr txBox="1"/>
            <p:nvPr/>
          </p:nvSpPr>
          <p:spPr>
            <a:xfrm>
              <a:off x="19425217" y="6326306"/>
              <a:ext cx="3659856" cy="1969770"/>
            </a:xfrm>
            <a:prstGeom prst="rect">
              <a:avLst/>
            </a:prstGeom>
            <a:noFill/>
          </p:spPr>
          <p:txBody>
            <a:bodyPr wrap="square" rtlCol="0">
              <a:spAutoFit/>
            </a:bodyPr>
            <a:lstStyle/>
            <a:p>
              <a:pPr marR="0" defTabSz="1828800" hangingPunct="1">
                <a:lnSpc>
                  <a:spcPct val="100000"/>
                </a:lnSpc>
              </a:pPr>
              <a:r>
                <a:rPr lang="en-US" sz="2000" b="1" kern="1200">
                  <a:solidFill>
                    <a:prstClr val="black"/>
                  </a:solidFill>
                  <a:uFillTx/>
                </a:rPr>
                <a:t>Image Model</a:t>
              </a:r>
            </a:p>
            <a:p>
              <a:pPr marR="0" defTabSz="1828800" hangingPunct="1">
                <a:lnSpc>
                  <a:spcPct val="100000"/>
                </a:lnSpc>
              </a:pPr>
              <a:r>
                <a:rPr lang="en-US" sz="2000" i="1" kern="1200">
                  <a:solidFill>
                    <a:prstClr val="black"/>
                  </a:solidFill>
                  <a:uFillTx/>
                </a:rPr>
                <a:t>Gemini-1-pro-Vision</a:t>
              </a:r>
            </a:p>
            <a:p>
              <a:pPr marR="0" defTabSz="1828800" hangingPunct="1">
                <a:lnSpc>
                  <a:spcPct val="100000"/>
                </a:lnSpc>
                <a:spcBef>
                  <a:spcPts val="1200"/>
                </a:spcBef>
              </a:pPr>
              <a:r>
                <a:rPr lang="en-US" sz="1800" b="1" kern="1200">
                  <a:solidFill>
                    <a:prstClr val="black"/>
                  </a:solidFill>
                  <a:uFillTx/>
                  <a:sym typeface="Wingdings" panose="05000000000000000000" pitchFamily="2" charset="2"/>
                </a:rPr>
                <a:t>Role: </a:t>
              </a:r>
              <a:r>
                <a:rPr lang="en-US" sz="1800" kern="1200">
                  <a:solidFill>
                    <a:prstClr val="black"/>
                  </a:solidFill>
                  <a:uFillTx/>
                  <a:sym typeface="Wingdings" panose="05000000000000000000" pitchFamily="2" charset="2"/>
                </a:rPr>
                <a:t>takes care of specific image-based assessment tasks and provides damage description to the chatbot model</a:t>
              </a:r>
              <a:endParaRPr lang="en-US" sz="1800" kern="1200">
                <a:solidFill>
                  <a:prstClr val="black"/>
                </a:solidFill>
                <a:uFillTx/>
              </a:endParaRPr>
            </a:p>
          </p:txBody>
        </p:sp>
        <p:sp>
          <p:nvSpPr>
            <p:cNvPr id="137" name="TextBox 136">
              <a:extLst>
                <a:ext uri="{FF2B5EF4-FFF2-40B4-BE49-F238E27FC236}">
                  <a16:creationId xmlns:a16="http://schemas.microsoft.com/office/drawing/2014/main" id="{199835F0-156F-21C3-3C47-4E0A747EE75C}"/>
                </a:ext>
              </a:extLst>
            </p:cNvPr>
            <p:cNvSpPr txBox="1"/>
            <p:nvPr/>
          </p:nvSpPr>
          <p:spPr>
            <a:xfrm>
              <a:off x="3541310" y="8060578"/>
              <a:ext cx="2980976" cy="489558"/>
            </a:xfrm>
            <a:prstGeom prst="rect">
              <a:avLst/>
            </a:prstGeom>
            <a:noFill/>
          </p:spPr>
          <p:txBody>
            <a:bodyPr wrap="square" rtlCol="0">
              <a:spAutoFit/>
            </a:bodyPr>
            <a:lstStyle/>
            <a:p>
              <a:r>
                <a:rPr lang="en-US" sz="1600" dirty="0">
                  <a:solidFill>
                    <a:srgbClr val="0E176D"/>
                  </a:solidFill>
                </a:rPr>
                <a:t>Damage assessment completed</a:t>
              </a:r>
            </a:p>
          </p:txBody>
        </p:sp>
        <p:sp>
          <p:nvSpPr>
            <p:cNvPr id="156" name="TextBox 155">
              <a:extLst>
                <a:ext uri="{FF2B5EF4-FFF2-40B4-BE49-F238E27FC236}">
                  <a16:creationId xmlns:a16="http://schemas.microsoft.com/office/drawing/2014/main" id="{C013CDF5-D592-9333-4427-5A3466E8E489}"/>
                </a:ext>
              </a:extLst>
            </p:cNvPr>
            <p:cNvSpPr txBox="1"/>
            <p:nvPr/>
          </p:nvSpPr>
          <p:spPr>
            <a:xfrm>
              <a:off x="3565640" y="7420463"/>
              <a:ext cx="2830441" cy="294183"/>
            </a:xfrm>
            <a:prstGeom prst="rect">
              <a:avLst/>
            </a:prstGeom>
            <a:noFill/>
          </p:spPr>
          <p:txBody>
            <a:bodyPr wrap="square" rtlCol="0">
              <a:spAutoFit/>
            </a:bodyPr>
            <a:lstStyle/>
            <a:p>
              <a:r>
                <a:rPr lang="en-US" sz="1600">
                  <a:solidFill>
                    <a:srgbClr val="0E176D"/>
                  </a:solidFill>
                </a:rPr>
                <a:t>GUI output</a:t>
              </a:r>
            </a:p>
          </p:txBody>
        </p:sp>
        <p:cxnSp>
          <p:nvCxnSpPr>
            <p:cNvPr id="157" name="Straight Arrow Connector 156">
              <a:extLst>
                <a:ext uri="{FF2B5EF4-FFF2-40B4-BE49-F238E27FC236}">
                  <a16:creationId xmlns:a16="http://schemas.microsoft.com/office/drawing/2014/main" id="{E51E6225-DC19-D531-58E9-5E05ABF82501}"/>
                </a:ext>
              </a:extLst>
            </p:cNvPr>
            <p:cNvCxnSpPr>
              <a:cxnSpLocks/>
              <a:endCxn id="218" idx="1"/>
            </p:cNvCxnSpPr>
            <p:nvPr/>
          </p:nvCxnSpPr>
          <p:spPr>
            <a:xfrm>
              <a:off x="2993558" y="7748126"/>
              <a:ext cx="4807605" cy="0"/>
            </a:xfrm>
            <a:prstGeom prst="straightConnector1">
              <a:avLst/>
            </a:prstGeom>
            <a:ln w="28575">
              <a:solidFill>
                <a:srgbClr val="416CF9"/>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7" name="Group 146">
              <a:extLst>
                <a:ext uri="{FF2B5EF4-FFF2-40B4-BE49-F238E27FC236}">
                  <a16:creationId xmlns:a16="http://schemas.microsoft.com/office/drawing/2014/main" id="{AD278F92-C80E-36EC-E865-4CEA9A5DCB17}"/>
                </a:ext>
              </a:extLst>
            </p:cNvPr>
            <p:cNvGrpSpPr/>
            <p:nvPr/>
          </p:nvGrpSpPr>
          <p:grpSpPr>
            <a:xfrm>
              <a:off x="6771128" y="8196799"/>
              <a:ext cx="447223" cy="446400"/>
              <a:chOff x="6771431" y="10170836"/>
              <a:chExt cx="447223" cy="446400"/>
            </a:xfrm>
          </p:grpSpPr>
          <p:sp>
            <p:nvSpPr>
              <p:cNvPr id="148" name="Oval 147">
                <a:extLst>
                  <a:ext uri="{FF2B5EF4-FFF2-40B4-BE49-F238E27FC236}">
                    <a16:creationId xmlns:a16="http://schemas.microsoft.com/office/drawing/2014/main" id="{C1BD9F1B-FB3B-EC2C-2D0A-26E435FDE8D6}"/>
                  </a:ext>
                </a:extLst>
              </p:cNvPr>
              <p:cNvSpPr/>
              <p:nvPr/>
            </p:nvSpPr>
            <p:spPr>
              <a:xfrm>
                <a:off x="6771431" y="10170836"/>
                <a:ext cx="447223" cy="446400"/>
              </a:xfrm>
              <a:prstGeom prst="ellipse">
                <a:avLst/>
              </a:prstGeom>
              <a:solidFill>
                <a:srgbClr val="416CF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a:solidFill>
                    <a:srgbClr val="FFFFFF"/>
                  </a:solidFill>
                  <a:uFillTx/>
                </a:endParaRPr>
              </a:p>
            </p:txBody>
          </p:sp>
          <p:pic>
            <p:nvPicPr>
              <p:cNvPr id="149" name="Graphic 148" descr="Call center with solid fill">
                <a:extLst>
                  <a:ext uri="{FF2B5EF4-FFF2-40B4-BE49-F238E27FC236}">
                    <a16:creationId xmlns:a16="http://schemas.microsoft.com/office/drawing/2014/main" id="{2EAEA01D-9441-4F48-DD98-4011CAD4AA72}"/>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842728" y="10237877"/>
                <a:ext cx="289029" cy="289568"/>
              </a:xfrm>
              <a:prstGeom prst="rect">
                <a:avLst/>
              </a:prstGeom>
            </p:spPr>
          </p:pic>
        </p:grpSp>
        <p:grpSp>
          <p:nvGrpSpPr>
            <p:cNvPr id="150" name="Group 149">
              <a:extLst>
                <a:ext uri="{FF2B5EF4-FFF2-40B4-BE49-F238E27FC236}">
                  <a16:creationId xmlns:a16="http://schemas.microsoft.com/office/drawing/2014/main" id="{AC74192E-FDAA-83AE-41B4-1C752C39A847}"/>
                </a:ext>
              </a:extLst>
            </p:cNvPr>
            <p:cNvGrpSpPr/>
            <p:nvPr/>
          </p:nvGrpSpPr>
          <p:grpSpPr>
            <a:xfrm>
              <a:off x="6762421" y="6758802"/>
              <a:ext cx="447223" cy="446400"/>
              <a:chOff x="6771431" y="10170836"/>
              <a:chExt cx="447223" cy="446400"/>
            </a:xfrm>
          </p:grpSpPr>
          <p:sp>
            <p:nvSpPr>
              <p:cNvPr id="151" name="Oval 150">
                <a:extLst>
                  <a:ext uri="{FF2B5EF4-FFF2-40B4-BE49-F238E27FC236}">
                    <a16:creationId xmlns:a16="http://schemas.microsoft.com/office/drawing/2014/main" id="{47D9974E-B6C6-7FD7-6B11-3F1BED9ECE8F}"/>
                  </a:ext>
                </a:extLst>
              </p:cNvPr>
              <p:cNvSpPr/>
              <p:nvPr/>
            </p:nvSpPr>
            <p:spPr>
              <a:xfrm>
                <a:off x="6771431" y="10170836"/>
                <a:ext cx="447223" cy="446400"/>
              </a:xfrm>
              <a:prstGeom prst="ellipse">
                <a:avLst/>
              </a:prstGeom>
              <a:solidFill>
                <a:srgbClr val="416CF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a:solidFill>
                    <a:srgbClr val="FFFFFF"/>
                  </a:solidFill>
                  <a:uFillTx/>
                </a:endParaRPr>
              </a:p>
            </p:txBody>
          </p:sp>
          <p:pic>
            <p:nvPicPr>
              <p:cNvPr id="163" name="Graphic 162" descr="Call center with solid fill">
                <a:extLst>
                  <a:ext uri="{FF2B5EF4-FFF2-40B4-BE49-F238E27FC236}">
                    <a16:creationId xmlns:a16="http://schemas.microsoft.com/office/drawing/2014/main" id="{F4678FF2-8DFD-34E9-0409-57DE99C396A9}"/>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842728" y="10237877"/>
                <a:ext cx="289029" cy="289568"/>
              </a:xfrm>
              <a:prstGeom prst="rect">
                <a:avLst/>
              </a:prstGeom>
            </p:spPr>
          </p:pic>
        </p:grpSp>
        <p:grpSp>
          <p:nvGrpSpPr>
            <p:cNvPr id="173" name="Group 172">
              <a:extLst>
                <a:ext uri="{FF2B5EF4-FFF2-40B4-BE49-F238E27FC236}">
                  <a16:creationId xmlns:a16="http://schemas.microsoft.com/office/drawing/2014/main" id="{7203150F-6C6E-35CB-803C-5B0152DB7931}"/>
                </a:ext>
              </a:extLst>
            </p:cNvPr>
            <p:cNvGrpSpPr/>
            <p:nvPr/>
          </p:nvGrpSpPr>
          <p:grpSpPr>
            <a:xfrm>
              <a:off x="6761534" y="7501265"/>
              <a:ext cx="446400" cy="446400"/>
              <a:chOff x="6787963" y="10938827"/>
              <a:chExt cx="446400" cy="446400"/>
            </a:xfrm>
          </p:grpSpPr>
          <p:sp>
            <p:nvSpPr>
              <p:cNvPr id="175" name="Oval 174">
                <a:extLst>
                  <a:ext uri="{FF2B5EF4-FFF2-40B4-BE49-F238E27FC236}">
                    <a16:creationId xmlns:a16="http://schemas.microsoft.com/office/drawing/2014/main" id="{F79C97B0-B182-4A47-0056-F892560A817E}"/>
                  </a:ext>
                </a:extLst>
              </p:cNvPr>
              <p:cNvSpPr/>
              <p:nvPr/>
            </p:nvSpPr>
            <p:spPr>
              <a:xfrm>
                <a:off x="6787963" y="10938827"/>
                <a:ext cx="446400" cy="446400"/>
              </a:xfrm>
              <a:prstGeom prst="ellipse">
                <a:avLst/>
              </a:prstGeom>
              <a:solidFill>
                <a:srgbClr val="416CF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a:solidFill>
                    <a:srgbClr val="FFFFFF"/>
                  </a:solidFill>
                  <a:uFillTx/>
                </a:endParaRPr>
              </a:p>
            </p:txBody>
          </p:sp>
          <p:pic>
            <p:nvPicPr>
              <p:cNvPr id="176" name="Graphic 175" descr="Table outline">
                <a:extLst>
                  <a:ext uri="{FF2B5EF4-FFF2-40B4-BE49-F238E27FC236}">
                    <a16:creationId xmlns:a16="http://schemas.microsoft.com/office/drawing/2014/main" id="{D4B26F7D-ABEC-EBDF-C275-D84D581BAD41}"/>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878663" y="11031044"/>
                <a:ext cx="265000" cy="265000"/>
              </a:xfrm>
              <a:prstGeom prst="rect">
                <a:avLst/>
              </a:prstGeom>
            </p:spPr>
          </p:pic>
        </p:grpSp>
        <p:grpSp>
          <p:nvGrpSpPr>
            <p:cNvPr id="217" name="Group 216">
              <a:extLst>
                <a:ext uri="{FF2B5EF4-FFF2-40B4-BE49-F238E27FC236}">
                  <a16:creationId xmlns:a16="http://schemas.microsoft.com/office/drawing/2014/main" id="{FD05BAFF-1B45-EDAC-AF7E-B11F9AF8EF0E}"/>
                </a:ext>
              </a:extLst>
            </p:cNvPr>
            <p:cNvGrpSpPr/>
            <p:nvPr/>
          </p:nvGrpSpPr>
          <p:grpSpPr>
            <a:xfrm>
              <a:off x="7801163" y="7500572"/>
              <a:ext cx="3116818" cy="495108"/>
              <a:chOff x="7556225" y="11243534"/>
              <a:chExt cx="3116818" cy="495108"/>
            </a:xfrm>
          </p:grpSpPr>
          <p:sp>
            <p:nvSpPr>
              <p:cNvPr id="218" name="TextBox 217">
                <a:extLst>
                  <a:ext uri="{FF2B5EF4-FFF2-40B4-BE49-F238E27FC236}">
                    <a16:creationId xmlns:a16="http://schemas.microsoft.com/office/drawing/2014/main" id="{D0E34028-F7AB-E013-DCB2-07E1A97523C1}"/>
                  </a:ext>
                </a:extLst>
              </p:cNvPr>
              <p:cNvSpPr txBox="1"/>
              <p:nvPr/>
            </p:nvSpPr>
            <p:spPr>
              <a:xfrm>
                <a:off x="7556225" y="11243534"/>
                <a:ext cx="3116818" cy="495108"/>
              </a:xfrm>
              <a:prstGeom prst="rect">
                <a:avLst/>
              </a:prstGeom>
              <a:solidFill>
                <a:schemeClr val="bg1"/>
              </a:solidFill>
              <a:ln>
                <a:noFill/>
              </a:ln>
            </p:spPr>
            <p:txBody>
              <a:bodyPr wrap="square" lIns="72000" tIns="108000" rIns="72000" bIns="108000" rtlCol="0" anchor="ctr">
                <a:spAutoFit/>
              </a:bodyPr>
              <a:lstStyle/>
              <a:p>
                <a:pPr marR="0" algn="ctr" defTabSz="1828800" hangingPunct="1">
                  <a:lnSpc>
                    <a:spcPct val="100000"/>
                  </a:lnSpc>
                </a:pPr>
                <a:r>
                  <a:rPr lang="en-US" sz="1800" kern="1200">
                    <a:solidFill>
                      <a:srgbClr val="0E176D"/>
                    </a:solidFill>
                    <a:uFillTx/>
                  </a:rPr>
                  <a:t>Damage information</a:t>
                </a:r>
              </a:p>
            </p:txBody>
          </p:sp>
          <p:grpSp>
            <p:nvGrpSpPr>
              <p:cNvPr id="219" name="Graphic 1040" descr="Database with solid fill">
                <a:extLst>
                  <a:ext uri="{FF2B5EF4-FFF2-40B4-BE49-F238E27FC236}">
                    <a16:creationId xmlns:a16="http://schemas.microsoft.com/office/drawing/2014/main" id="{176447A4-7FA0-1790-3E2C-384B7C508CA5}"/>
                  </a:ext>
                </a:extLst>
              </p:cNvPr>
              <p:cNvGrpSpPr/>
              <p:nvPr/>
            </p:nvGrpSpPr>
            <p:grpSpPr>
              <a:xfrm>
                <a:off x="7646748" y="11305370"/>
                <a:ext cx="281839" cy="367760"/>
                <a:chOff x="5934481" y="4914025"/>
                <a:chExt cx="323037" cy="438412"/>
              </a:xfrm>
              <a:solidFill>
                <a:srgbClr val="7980E7"/>
              </a:solidFill>
            </p:grpSpPr>
            <p:sp>
              <p:nvSpPr>
                <p:cNvPr id="220" name="Freeform: Shape 139">
                  <a:extLst>
                    <a:ext uri="{FF2B5EF4-FFF2-40B4-BE49-F238E27FC236}">
                      <a16:creationId xmlns:a16="http://schemas.microsoft.com/office/drawing/2014/main" id="{26F28105-68C2-4DA7-64A9-297A73A1E357}"/>
                    </a:ext>
                  </a:extLst>
                </p:cNvPr>
                <p:cNvSpPr/>
                <p:nvPr/>
              </p:nvSpPr>
              <p:spPr>
                <a:xfrm>
                  <a:off x="5934481" y="4914025"/>
                  <a:ext cx="323037" cy="92297"/>
                </a:xfrm>
                <a:custGeom>
                  <a:avLst/>
                  <a:gdLst>
                    <a:gd name="connsiteX0" fmla="*/ 323037 w 323037"/>
                    <a:gd name="connsiteY0" fmla="*/ 46148 h 92296"/>
                    <a:gd name="connsiteX1" fmla="*/ 161519 w 323037"/>
                    <a:gd name="connsiteY1" fmla="*/ 92296 h 92296"/>
                    <a:gd name="connsiteX2" fmla="*/ 0 w 323037"/>
                    <a:gd name="connsiteY2" fmla="*/ 46148 h 92296"/>
                    <a:gd name="connsiteX3" fmla="*/ 161519 w 323037"/>
                    <a:gd name="connsiteY3" fmla="*/ 0 h 92296"/>
                    <a:gd name="connsiteX4" fmla="*/ 323037 w 323037"/>
                    <a:gd name="connsiteY4" fmla="*/ 46148 h 92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037" h="92296">
                      <a:moveTo>
                        <a:pt x="323037" y="46148"/>
                      </a:moveTo>
                      <a:cubicBezTo>
                        <a:pt x="323037" y="71635"/>
                        <a:pt x="250723" y="92296"/>
                        <a:pt x="161519" y="92296"/>
                      </a:cubicBezTo>
                      <a:cubicBezTo>
                        <a:pt x="72314" y="92296"/>
                        <a:pt x="0" y="71635"/>
                        <a:pt x="0" y="46148"/>
                      </a:cubicBezTo>
                      <a:cubicBezTo>
                        <a:pt x="0" y="20661"/>
                        <a:pt x="72314" y="0"/>
                        <a:pt x="161519" y="0"/>
                      </a:cubicBezTo>
                      <a:cubicBezTo>
                        <a:pt x="250723" y="0"/>
                        <a:pt x="323037" y="20661"/>
                        <a:pt x="323037" y="46148"/>
                      </a:cubicBezTo>
                      <a:close/>
                    </a:path>
                  </a:pathLst>
                </a:custGeom>
                <a:grpFill/>
                <a:ln w="5755" cap="flat">
                  <a:noFill/>
                  <a:prstDash val="solid"/>
                  <a:miter/>
                </a:ln>
              </p:spPr>
              <p:txBody>
                <a:bodyPr rtlCol="0" anchor="ctr"/>
                <a:lstStyle/>
                <a:p>
                  <a:endParaRPr lang="en-US" sz="2000"/>
                </a:p>
              </p:txBody>
            </p:sp>
            <p:sp>
              <p:nvSpPr>
                <p:cNvPr id="221" name="Freeform: Shape 140">
                  <a:extLst>
                    <a:ext uri="{FF2B5EF4-FFF2-40B4-BE49-F238E27FC236}">
                      <a16:creationId xmlns:a16="http://schemas.microsoft.com/office/drawing/2014/main" id="{A30AFAEE-BEB5-482B-D707-1F469F086CB3}"/>
                    </a:ext>
                  </a:extLst>
                </p:cNvPr>
                <p:cNvSpPr/>
                <p:nvPr/>
              </p:nvSpPr>
              <p:spPr>
                <a:xfrm>
                  <a:off x="5934481" y="4983250"/>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1"/>
                        <a:pt x="0" y="0"/>
                      </a:cubicBezTo>
                      <a:lnTo>
                        <a:pt x="0" y="92296"/>
                      </a:lnTo>
                      <a:cubicBezTo>
                        <a:pt x="0" y="117678"/>
                        <a:pt x="72683" y="138445"/>
                        <a:pt x="161519" y="138445"/>
                      </a:cubicBezTo>
                      <a:cubicBezTo>
                        <a:pt x="250354" y="138445"/>
                        <a:pt x="323037" y="117678"/>
                        <a:pt x="323037" y="92296"/>
                      </a:cubicBezTo>
                      <a:lnTo>
                        <a:pt x="323037" y="0"/>
                      </a:lnTo>
                      <a:cubicBezTo>
                        <a:pt x="323037" y="25381"/>
                        <a:pt x="250354" y="46148"/>
                        <a:pt x="161519" y="46148"/>
                      </a:cubicBezTo>
                      <a:close/>
                    </a:path>
                  </a:pathLst>
                </a:custGeom>
                <a:grpFill/>
                <a:ln w="5755" cap="flat">
                  <a:noFill/>
                  <a:prstDash val="solid"/>
                  <a:miter/>
                </a:ln>
              </p:spPr>
              <p:txBody>
                <a:bodyPr rtlCol="0" anchor="ctr"/>
                <a:lstStyle/>
                <a:p>
                  <a:endParaRPr lang="en-US" sz="2000"/>
                </a:p>
              </p:txBody>
            </p:sp>
            <p:sp>
              <p:nvSpPr>
                <p:cNvPr id="222" name="Freeform: Shape 141">
                  <a:extLst>
                    <a:ext uri="{FF2B5EF4-FFF2-40B4-BE49-F238E27FC236}">
                      <a16:creationId xmlns:a16="http://schemas.microsoft.com/office/drawing/2014/main" id="{5B14E8E3-7A5F-E5CE-4865-5E1BE574836C}"/>
                    </a:ext>
                  </a:extLst>
                </p:cNvPr>
                <p:cNvSpPr/>
                <p:nvPr/>
              </p:nvSpPr>
              <p:spPr>
                <a:xfrm>
                  <a:off x="5934481" y="5098619"/>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2"/>
                        <a:pt x="0" y="0"/>
                      </a:cubicBezTo>
                      <a:lnTo>
                        <a:pt x="0" y="92296"/>
                      </a:lnTo>
                      <a:cubicBezTo>
                        <a:pt x="0" y="117678"/>
                        <a:pt x="72683" y="138445"/>
                        <a:pt x="161519" y="138445"/>
                      </a:cubicBezTo>
                      <a:cubicBezTo>
                        <a:pt x="250354" y="138445"/>
                        <a:pt x="323037" y="117678"/>
                        <a:pt x="323037" y="92296"/>
                      </a:cubicBezTo>
                      <a:lnTo>
                        <a:pt x="323037" y="0"/>
                      </a:lnTo>
                      <a:cubicBezTo>
                        <a:pt x="323037" y="25382"/>
                        <a:pt x="250354" y="46148"/>
                        <a:pt x="161519" y="46148"/>
                      </a:cubicBezTo>
                      <a:close/>
                    </a:path>
                  </a:pathLst>
                </a:custGeom>
                <a:grpFill/>
                <a:ln w="5755" cap="flat">
                  <a:noFill/>
                  <a:prstDash val="solid"/>
                  <a:miter/>
                </a:ln>
              </p:spPr>
              <p:txBody>
                <a:bodyPr rtlCol="0" anchor="ctr"/>
                <a:lstStyle/>
                <a:p>
                  <a:endParaRPr lang="en-US" sz="2000"/>
                </a:p>
              </p:txBody>
            </p:sp>
            <p:sp>
              <p:nvSpPr>
                <p:cNvPr id="223" name="Freeform: Shape 142">
                  <a:extLst>
                    <a:ext uri="{FF2B5EF4-FFF2-40B4-BE49-F238E27FC236}">
                      <a16:creationId xmlns:a16="http://schemas.microsoft.com/office/drawing/2014/main" id="{A5A74D2A-F270-7F21-5427-015D8AD18F30}"/>
                    </a:ext>
                  </a:extLst>
                </p:cNvPr>
                <p:cNvSpPr/>
                <p:nvPr/>
              </p:nvSpPr>
              <p:spPr>
                <a:xfrm>
                  <a:off x="5934481" y="5213993"/>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2"/>
                        <a:pt x="0" y="0"/>
                      </a:cubicBezTo>
                      <a:lnTo>
                        <a:pt x="0" y="92296"/>
                      </a:lnTo>
                      <a:cubicBezTo>
                        <a:pt x="0" y="117678"/>
                        <a:pt x="72683" y="138445"/>
                        <a:pt x="161519" y="138445"/>
                      </a:cubicBezTo>
                      <a:cubicBezTo>
                        <a:pt x="250354" y="138445"/>
                        <a:pt x="323037" y="117678"/>
                        <a:pt x="323037" y="92296"/>
                      </a:cubicBezTo>
                      <a:lnTo>
                        <a:pt x="323037" y="0"/>
                      </a:lnTo>
                      <a:cubicBezTo>
                        <a:pt x="323037" y="25382"/>
                        <a:pt x="250354" y="46148"/>
                        <a:pt x="161519" y="46148"/>
                      </a:cubicBezTo>
                      <a:close/>
                    </a:path>
                  </a:pathLst>
                </a:custGeom>
                <a:grpFill/>
                <a:ln w="5755" cap="flat">
                  <a:noFill/>
                  <a:prstDash val="solid"/>
                  <a:miter/>
                </a:ln>
              </p:spPr>
              <p:txBody>
                <a:bodyPr rtlCol="0" anchor="ctr"/>
                <a:lstStyle/>
                <a:p>
                  <a:endParaRPr lang="en-US" sz="2000"/>
                </a:p>
              </p:txBody>
            </p:sp>
          </p:grpSp>
        </p:grpSp>
        <p:sp>
          <p:nvSpPr>
            <p:cNvPr id="231" name="TextBox 230">
              <a:extLst>
                <a:ext uri="{FF2B5EF4-FFF2-40B4-BE49-F238E27FC236}">
                  <a16:creationId xmlns:a16="http://schemas.microsoft.com/office/drawing/2014/main" id="{610FDF51-D7F6-3D2D-9332-4E318F780C06}"/>
                </a:ext>
              </a:extLst>
            </p:cNvPr>
            <p:cNvSpPr txBox="1"/>
            <p:nvPr/>
          </p:nvSpPr>
          <p:spPr>
            <a:xfrm>
              <a:off x="12767735" y="6774923"/>
              <a:ext cx="3116818" cy="495108"/>
            </a:xfrm>
            <a:prstGeom prst="rect">
              <a:avLst/>
            </a:prstGeom>
            <a:solidFill>
              <a:srgbClr val="0E176D"/>
            </a:solidFill>
            <a:ln>
              <a:noFill/>
            </a:ln>
          </p:spPr>
          <p:txBody>
            <a:bodyPr wrap="square" lIns="72000" tIns="108000" rIns="72000" bIns="108000" rtlCol="0" anchor="ctr">
              <a:spAutoFit/>
            </a:bodyPr>
            <a:lstStyle/>
            <a:p>
              <a:pPr marR="0" algn="ctr" defTabSz="1828800" hangingPunct="1">
                <a:lnSpc>
                  <a:spcPct val="100000"/>
                </a:lnSpc>
              </a:pPr>
              <a:r>
                <a:rPr lang="en-US" sz="1800" kern="1200">
                  <a:solidFill>
                    <a:schemeClr val="bg1"/>
                  </a:solidFill>
                  <a:uFillTx/>
                </a:rPr>
                <a:t>API request formation</a:t>
              </a:r>
            </a:p>
          </p:txBody>
        </p:sp>
        <p:sp>
          <p:nvSpPr>
            <p:cNvPr id="232" name="TextBox 231">
              <a:extLst>
                <a:ext uri="{FF2B5EF4-FFF2-40B4-BE49-F238E27FC236}">
                  <a16:creationId xmlns:a16="http://schemas.microsoft.com/office/drawing/2014/main" id="{3A01087A-6057-4056-6469-3B09DE34FA14}"/>
                </a:ext>
              </a:extLst>
            </p:cNvPr>
            <p:cNvSpPr txBox="1"/>
            <p:nvPr/>
          </p:nvSpPr>
          <p:spPr>
            <a:xfrm>
              <a:off x="12775960" y="7516332"/>
              <a:ext cx="3116818" cy="495108"/>
            </a:xfrm>
            <a:prstGeom prst="rect">
              <a:avLst/>
            </a:prstGeom>
            <a:solidFill>
              <a:srgbClr val="0E176D"/>
            </a:solidFill>
            <a:ln>
              <a:noFill/>
            </a:ln>
          </p:spPr>
          <p:txBody>
            <a:bodyPr wrap="square" tIns="108000" bIns="108000" rtlCol="0" anchor="ctr">
              <a:spAutoFit/>
            </a:bodyPr>
            <a:lstStyle/>
            <a:p>
              <a:pPr marR="0" algn="ctr" defTabSz="1828800" hangingPunct="1">
                <a:lnSpc>
                  <a:spcPct val="100000"/>
                </a:lnSpc>
              </a:pPr>
              <a:r>
                <a:rPr lang="en-US" sz="1800" kern="1200">
                  <a:solidFill>
                    <a:schemeClr val="bg1"/>
                  </a:solidFill>
                  <a:uFillTx/>
                </a:rPr>
                <a:t>API response parsing</a:t>
              </a:r>
            </a:p>
          </p:txBody>
        </p:sp>
      </p:grpSp>
      <p:cxnSp>
        <p:nvCxnSpPr>
          <p:cNvPr id="158" name="Straight Connector 157">
            <a:extLst>
              <a:ext uri="{FF2B5EF4-FFF2-40B4-BE49-F238E27FC236}">
                <a16:creationId xmlns:a16="http://schemas.microsoft.com/office/drawing/2014/main" id="{6239F488-E748-4693-0759-F29183C74C24}"/>
              </a:ext>
            </a:extLst>
          </p:cNvPr>
          <p:cNvCxnSpPr>
            <a:cxnSpLocks/>
          </p:cNvCxnSpPr>
          <p:nvPr/>
        </p:nvCxnSpPr>
        <p:spPr>
          <a:xfrm>
            <a:off x="6502795" y="5926850"/>
            <a:ext cx="10827387" cy="0"/>
          </a:xfrm>
          <a:prstGeom prst="line">
            <a:avLst/>
          </a:prstGeom>
          <a:ln w="28575">
            <a:solidFill>
              <a:srgbClr val="0E176D"/>
            </a:solidFill>
            <a:prstDash val="lgDash"/>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62DCB424-64C7-9182-AA5F-43D0B77E67FE}"/>
              </a:ext>
            </a:extLst>
          </p:cNvPr>
          <p:cNvGrpSpPr/>
          <p:nvPr/>
        </p:nvGrpSpPr>
        <p:grpSpPr>
          <a:xfrm>
            <a:off x="2986426" y="2992500"/>
            <a:ext cx="20102544" cy="2606235"/>
            <a:chOff x="2986426" y="2930508"/>
            <a:chExt cx="20102544" cy="2606235"/>
          </a:xfrm>
        </p:grpSpPr>
        <p:sp>
          <p:nvSpPr>
            <p:cNvPr id="8" name="TextBox 7">
              <a:extLst>
                <a:ext uri="{FF2B5EF4-FFF2-40B4-BE49-F238E27FC236}">
                  <a16:creationId xmlns:a16="http://schemas.microsoft.com/office/drawing/2014/main" id="{D76C6F5F-DFC9-133B-DDC9-40BA56DF6D94}"/>
                </a:ext>
              </a:extLst>
            </p:cNvPr>
            <p:cNvSpPr txBox="1"/>
            <p:nvPr/>
          </p:nvSpPr>
          <p:spPr>
            <a:xfrm>
              <a:off x="7836117" y="3536629"/>
              <a:ext cx="3116818" cy="646331"/>
            </a:xfrm>
            <a:prstGeom prst="rect">
              <a:avLst/>
            </a:prstGeom>
            <a:solidFill>
              <a:srgbClr val="0E176D"/>
            </a:solidFill>
            <a:ln>
              <a:noFill/>
            </a:ln>
          </p:spPr>
          <p:txBody>
            <a:bodyPr wrap="square" rtlCol="0" anchor="ctr">
              <a:spAutoFit/>
            </a:bodyPr>
            <a:lstStyle/>
            <a:p>
              <a:pPr marR="0" algn="ctr" defTabSz="1828800" hangingPunct="1">
                <a:lnSpc>
                  <a:spcPct val="100000"/>
                </a:lnSpc>
              </a:pPr>
              <a:r>
                <a:rPr lang="en-US" sz="1800" kern="1200">
                  <a:solidFill>
                    <a:schemeClr val="bg1"/>
                  </a:solidFill>
                  <a:uFillTx/>
                </a:rPr>
                <a:t>Prompt augmentation</a:t>
              </a:r>
            </a:p>
            <a:p>
              <a:pPr marR="0" algn="ctr" defTabSz="1828800" hangingPunct="1">
                <a:lnSpc>
                  <a:spcPct val="100000"/>
                </a:lnSpc>
              </a:pPr>
              <a:r>
                <a:rPr lang="en-US" sz="1800" kern="1200">
                  <a:solidFill>
                    <a:schemeClr val="bg1"/>
                  </a:solidFill>
                  <a:uFillTx/>
                </a:rPr>
                <a:t>with system prompt</a:t>
              </a:r>
            </a:p>
          </p:txBody>
        </p:sp>
        <p:cxnSp>
          <p:nvCxnSpPr>
            <p:cNvPr id="9" name="Straight Arrow Connector 8">
              <a:extLst>
                <a:ext uri="{FF2B5EF4-FFF2-40B4-BE49-F238E27FC236}">
                  <a16:creationId xmlns:a16="http://schemas.microsoft.com/office/drawing/2014/main" id="{B34FFDE3-B325-3E43-896E-F5FA7448EB68}"/>
                </a:ext>
              </a:extLst>
            </p:cNvPr>
            <p:cNvCxnSpPr>
              <a:cxnSpLocks/>
              <a:endCxn id="8" idx="1"/>
            </p:cNvCxnSpPr>
            <p:nvPr/>
          </p:nvCxnSpPr>
          <p:spPr>
            <a:xfrm>
              <a:off x="2993558" y="3859795"/>
              <a:ext cx="4842559" cy="0"/>
            </a:xfrm>
            <a:prstGeom prst="straightConnector1">
              <a:avLst/>
            </a:prstGeom>
            <a:ln w="28575">
              <a:solidFill>
                <a:srgbClr val="416CF9"/>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9502F4C7-1BCF-0408-25FC-993019A145A0}"/>
                </a:ext>
              </a:extLst>
            </p:cNvPr>
            <p:cNvCxnSpPr>
              <a:cxnSpLocks/>
            </p:cNvCxnSpPr>
            <p:nvPr/>
          </p:nvCxnSpPr>
          <p:spPr>
            <a:xfrm flipV="1">
              <a:off x="2986426" y="3236488"/>
              <a:ext cx="3947550" cy="0"/>
            </a:xfrm>
            <a:prstGeom prst="straightConnector1">
              <a:avLst/>
            </a:prstGeom>
            <a:ln w="28575">
              <a:solidFill>
                <a:srgbClr val="416CF9"/>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1ADFFF5-BF0F-82F4-7925-C8BB1E0EF1D5}"/>
                </a:ext>
              </a:extLst>
            </p:cNvPr>
            <p:cNvSpPr txBox="1"/>
            <p:nvPr/>
          </p:nvSpPr>
          <p:spPr>
            <a:xfrm>
              <a:off x="3493648" y="2930508"/>
              <a:ext cx="3407396" cy="292581"/>
            </a:xfrm>
            <a:prstGeom prst="rect">
              <a:avLst/>
            </a:prstGeom>
            <a:noFill/>
          </p:spPr>
          <p:txBody>
            <a:bodyPr wrap="square" rtlCol="0">
              <a:spAutoFit/>
            </a:bodyPr>
            <a:lstStyle/>
            <a:p>
              <a:r>
                <a:rPr lang="en-US" sz="1600">
                  <a:solidFill>
                    <a:srgbClr val="0E176D"/>
                  </a:solidFill>
                </a:rPr>
                <a:t>Vehicle information request</a:t>
              </a:r>
            </a:p>
          </p:txBody>
        </p:sp>
        <p:sp>
          <p:nvSpPr>
            <p:cNvPr id="12" name="TextBox 11">
              <a:extLst>
                <a:ext uri="{FF2B5EF4-FFF2-40B4-BE49-F238E27FC236}">
                  <a16:creationId xmlns:a16="http://schemas.microsoft.com/office/drawing/2014/main" id="{16D5A934-C93A-274D-2C1A-25F1FEB6276E}"/>
                </a:ext>
              </a:extLst>
            </p:cNvPr>
            <p:cNvSpPr txBox="1"/>
            <p:nvPr/>
          </p:nvSpPr>
          <p:spPr>
            <a:xfrm>
              <a:off x="3462838" y="3512113"/>
              <a:ext cx="3162632" cy="294183"/>
            </a:xfrm>
            <a:prstGeom prst="rect">
              <a:avLst/>
            </a:prstGeom>
            <a:noFill/>
          </p:spPr>
          <p:txBody>
            <a:bodyPr wrap="square" rtlCol="0">
              <a:spAutoFit/>
            </a:bodyPr>
            <a:lstStyle/>
            <a:p>
              <a:r>
                <a:rPr lang="en-US" sz="1600">
                  <a:solidFill>
                    <a:srgbClr val="0E176D"/>
                  </a:solidFill>
                </a:rPr>
                <a:t>Provides vehicle information</a:t>
              </a:r>
            </a:p>
          </p:txBody>
        </p:sp>
        <p:cxnSp>
          <p:nvCxnSpPr>
            <p:cNvPr id="33" name="Straight Arrow Connector 32">
              <a:extLst>
                <a:ext uri="{FF2B5EF4-FFF2-40B4-BE49-F238E27FC236}">
                  <a16:creationId xmlns:a16="http://schemas.microsoft.com/office/drawing/2014/main" id="{AF290643-5A13-530D-1D53-4102DB4C70A2}"/>
                </a:ext>
              </a:extLst>
            </p:cNvPr>
            <p:cNvCxnSpPr>
              <a:cxnSpLocks/>
              <a:stCxn id="8" idx="3"/>
            </p:cNvCxnSpPr>
            <p:nvPr/>
          </p:nvCxnSpPr>
          <p:spPr>
            <a:xfrm>
              <a:off x="10952935" y="3859795"/>
              <a:ext cx="1834293" cy="0"/>
            </a:xfrm>
            <a:prstGeom prst="straightConnector1">
              <a:avLst/>
            </a:prstGeom>
            <a:ln w="28575">
              <a:solidFill>
                <a:srgbClr val="0E176D"/>
              </a:solidFill>
              <a:prstDash val="solid"/>
              <a:tailEnd type="arrow"/>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9988F778-6EC7-1D10-C340-928B3A9256A7}"/>
                </a:ext>
              </a:extLst>
            </p:cNvPr>
            <p:cNvGrpSpPr/>
            <p:nvPr/>
          </p:nvGrpSpPr>
          <p:grpSpPr>
            <a:xfrm>
              <a:off x="18041589" y="3720307"/>
              <a:ext cx="1080000" cy="1080000"/>
              <a:chOff x="17376762" y="3958824"/>
              <a:chExt cx="1260000" cy="1260000"/>
            </a:xfrm>
          </p:grpSpPr>
          <p:sp>
            <p:nvSpPr>
              <p:cNvPr id="36" name="Oval 35">
                <a:extLst>
                  <a:ext uri="{FF2B5EF4-FFF2-40B4-BE49-F238E27FC236}">
                    <a16:creationId xmlns:a16="http://schemas.microsoft.com/office/drawing/2014/main" id="{1F9752C9-31CA-129C-9A24-EA18F1C52B8B}"/>
                  </a:ext>
                </a:extLst>
              </p:cNvPr>
              <p:cNvSpPr/>
              <p:nvPr/>
            </p:nvSpPr>
            <p:spPr>
              <a:xfrm>
                <a:off x="17376762" y="3958824"/>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a:solidFill>
                    <a:srgbClr val="FFFFFF"/>
                  </a:solidFill>
                  <a:uFillTx/>
                </a:endParaRPr>
              </a:p>
            </p:txBody>
          </p:sp>
          <p:pic>
            <p:nvPicPr>
              <p:cNvPr id="37" name="Graphic 36" descr="Call center with solid fill">
                <a:extLst>
                  <a:ext uri="{FF2B5EF4-FFF2-40B4-BE49-F238E27FC236}">
                    <a16:creationId xmlns:a16="http://schemas.microsoft.com/office/drawing/2014/main" id="{4578176B-A960-EB08-7416-20C67FF7326A}"/>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7622600" y="4164657"/>
                <a:ext cx="763046" cy="730095"/>
              </a:xfrm>
              <a:prstGeom prst="rect">
                <a:avLst/>
              </a:prstGeom>
            </p:spPr>
          </p:pic>
        </p:grpSp>
        <p:sp>
          <p:nvSpPr>
            <p:cNvPr id="46" name="TextBox 45">
              <a:extLst>
                <a:ext uri="{FF2B5EF4-FFF2-40B4-BE49-F238E27FC236}">
                  <a16:creationId xmlns:a16="http://schemas.microsoft.com/office/drawing/2014/main" id="{37F54F4C-81F8-2067-3FF9-CEBEA6629120}"/>
                </a:ext>
              </a:extLst>
            </p:cNvPr>
            <p:cNvSpPr txBox="1"/>
            <p:nvPr/>
          </p:nvSpPr>
          <p:spPr>
            <a:xfrm>
              <a:off x="19429115" y="3288089"/>
              <a:ext cx="3659855" cy="1969770"/>
            </a:xfrm>
            <a:prstGeom prst="rect">
              <a:avLst/>
            </a:prstGeom>
            <a:noFill/>
          </p:spPr>
          <p:txBody>
            <a:bodyPr wrap="square" rtlCol="0">
              <a:spAutoFit/>
            </a:bodyPr>
            <a:lstStyle/>
            <a:p>
              <a:pPr marR="0" defTabSz="1828800" hangingPunct="1">
                <a:lnSpc>
                  <a:spcPct val="100000"/>
                </a:lnSpc>
              </a:pPr>
              <a:r>
                <a:rPr lang="en-US" sz="2000" b="1" kern="1200" dirty="0">
                  <a:solidFill>
                    <a:prstClr val="black"/>
                  </a:solidFill>
                  <a:uFillTx/>
                </a:rPr>
                <a:t>Chatbot Model </a:t>
              </a:r>
            </a:p>
            <a:p>
              <a:pPr marR="0" defTabSz="1828800" hangingPunct="1">
                <a:lnSpc>
                  <a:spcPct val="100000"/>
                </a:lnSpc>
              </a:pPr>
              <a:r>
                <a:rPr lang="en-US" sz="2000" i="1" kern="1200" dirty="0">
                  <a:solidFill>
                    <a:prstClr val="black"/>
                  </a:solidFill>
                  <a:uFillTx/>
                </a:rPr>
                <a:t>Gemini-1-pro</a:t>
              </a:r>
            </a:p>
            <a:p>
              <a:pPr marR="0" defTabSz="1828800" hangingPunct="1">
                <a:lnSpc>
                  <a:spcPct val="100000"/>
                </a:lnSpc>
                <a:spcBef>
                  <a:spcPts val="1200"/>
                </a:spcBef>
              </a:pPr>
              <a:r>
                <a:rPr lang="en-US" sz="1800" b="1" kern="1200" dirty="0">
                  <a:solidFill>
                    <a:prstClr val="black"/>
                  </a:solidFill>
                  <a:uFillTx/>
                  <a:sym typeface="Wingdings" panose="05000000000000000000" pitchFamily="2" charset="2"/>
                </a:rPr>
                <a:t>Role: </a:t>
              </a:r>
              <a:r>
                <a:rPr lang="en-US" sz="1800" kern="1200" dirty="0">
                  <a:solidFill>
                    <a:prstClr val="black"/>
                  </a:solidFill>
                  <a:uFillTx/>
                  <a:sym typeface="Wingdings" panose="05000000000000000000" pitchFamily="2" charset="2"/>
                </a:rPr>
                <a:t>Interacts with the user and masterminds the assessment, guides the user throughout the entire inspection routine</a:t>
              </a:r>
              <a:endParaRPr lang="en-US" sz="1800" kern="1200" dirty="0">
                <a:solidFill>
                  <a:prstClr val="black"/>
                </a:solidFill>
                <a:uFillTx/>
              </a:endParaRPr>
            </a:p>
          </p:txBody>
        </p:sp>
        <p:cxnSp>
          <p:nvCxnSpPr>
            <p:cNvPr id="51" name="Straight Arrow Connector 50">
              <a:extLst>
                <a:ext uri="{FF2B5EF4-FFF2-40B4-BE49-F238E27FC236}">
                  <a16:creationId xmlns:a16="http://schemas.microsoft.com/office/drawing/2014/main" id="{BEDEFAAA-A8F8-5DBE-97D8-4BE70485B692}"/>
                </a:ext>
              </a:extLst>
            </p:cNvPr>
            <p:cNvCxnSpPr>
              <a:cxnSpLocks/>
            </p:cNvCxnSpPr>
            <p:nvPr/>
          </p:nvCxnSpPr>
          <p:spPr>
            <a:xfrm>
              <a:off x="15892778" y="3949359"/>
              <a:ext cx="1953184" cy="0"/>
            </a:xfrm>
            <a:prstGeom prst="straightConnector1">
              <a:avLst/>
            </a:prstGeom>
            <a:ln w="28575">
              <a:solidFill>
                <a:srgbClr val="416CF9"/>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9FC5F5CB-098B-D142-63F4-B43E2ED56CB6}"/>
                </a:ext>
              </a:extLst>
            </p:cNvPr>
            <p:cNvCxnSpPr>
              <a:cxnSpLocks/>
            </p:cNvCxnSpPr>
            <p:nvPr/>
          </p:nvCxnSpPr>
          <p:spPr>
            <a:xfrm>
              <a:off x="15892778" y="4667092"/>
              <a:ext cx="1953184" cy="0"/>
            </a:xfrm>
            <a:prstGeom prst="straightConnector1">
              <a:avLst/>
            </a:prstGeom>
            <a:ln w="28575">
              <a:solidFill>
                <a:srgbClr val="416CF9"/>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65950EE7-5DD0-F3EE-1644-35BE56FBBC91}"/>
                </a:ext>
              </a:extLst>
            </p:cNvPr>
            <p:cNvSpPr txBox="1"/>
            <p:nvPr/>
          </p:nvSpPr>
          <p:spPr>
            <a:xfrm>
              <a:off x="7836116" y="5041635"/>
              <a:ext cx="3116818" cy="495108"/>
            </a:xfrm>
            <a:prstGeom prst="rect">
              <a:avLst/>
            </a:prstGeom>
            <a:solidFill>
              <a:srgbClr val="0E176D"/>
            </a:solidFill>
            <a:ln>
              <a:noFill/>
            </a:ln>
          </p:spPr>
          <p:txBody>
            <a:bodyPr wrap="square" tIns="108000" bIns="108000" rtlCol="0" anchor="ctr">
              <a:spAutoFit/>
            </a:bodyPr>
            <a:lstStyle/>
            <a:p>
              <a:pPr marR="0" algn="ctr" defTabSz="1828800" hangingPunct="1">
                <a:lnSpc>
                  <a:spcPct val="100000"/>
                </a:lnSpc>
              </a:pPr>
              <a:r>
                <a:rPr lang="en-US" sz="1800" kern="1200">
                  <a:solidFill>
                    <a:schemeClr val="bg1"/>
                  </a:solidFill>
                  <a:uFillTx/>
                </a:rPr>
                <a:t>User output</a:t>
              </a:r>
            </a:p>
          </p:txBody>
        </p:sp>
        <p:cxnSp>
          <p:nvCxnSpPr>
            <p:cNvPr id="87" name="Straight Arrow Connector 86">
              <a:extLst>
                <a:ext uri="{FF2B5EF4-FFF2-40B4-BE49-F238E27FC236}">
                  <a16:creationId xmlns:a16="http://schemas.microsoft.com/office/drawing/2014/main" id="{6F955305-BDB0-20A5-A6DA-CD5A11EF3DE1}"/>
                </a:ext>
              </a:extLst>
            </p:cNvPr>
            <p:cNvCxnSpPr>
              <a:cxnSpLocks/>
              <a:stCxn id="86" idx="3"/>
            </p:cNvCxnSpPr>
            <p:nvPr/>
          </p:nvCxnSpPr>
          <p:spPr>
            <a:xfrm flipV="1">
              <a:off x="10952934" y="4622550"/>
              <a:ext cx="1834294" cy="666639"/>
            </a:xfrm>
            <a:prstGeom prst="straightConnector1">
              <a:avLst/>
            </a:prstGeom>
            <a:ln w="28575">
              <a:solidFill>
                <a:srgbClr val="0E176D"/>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A865BBA3-988C-E46F-79BE-800D4CA5CB40}"/>
                </a:ext>
              </a:extLst>
            </p:cNvPr>
            <p:cNvCxnSpPr>
              <a:cxnSpLocks/>
            </p:cNvCxnSpPr>
            <p:nvPr/>
          </p:nvCxnSpPr>
          <p:spPr>
            <a:xfrm flipV="1">
              <a:off x="10952950" y="4622550"/>
              <a:ext cx="1834278" cy="0"/>
            </a:xfrm>
            <a:prstGeom prst="straightConnector1">
              <a:avLst/>
            </a:prstGeom>
            <a:ln w="28575">
              <a:solidFill>
                <a:srgbClr val="0E176D"/>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345A3645-B6EA-CA13-56FD-B1B57CB5FFA1}"/>
                </a:ext>
              </a:extLst>
            </p:cNvPr>
            <p:cNvCxnSpPr>
              <a:cxnSpLocks/>
              <a:endCxn id="86" idx="1"/>
            </p:cNvCxnSpPr>
            <p:nvPr/>
          </p:nvCxnSpPr>
          <p:spPr>
            <a:xfrm>
              <a:off x="2986426" y="5289189"/>
              <a:ext cx="4849690" cy="0"/>
            </a:xfrm>
            <a:prstGeom prst="straightConnector1">
              <a:avLst/>
            </a:prstGeom>
            <a:ln w="28575">
              <a:solidFill>
                <a:srgbClr val="416CF9"/>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6BB73A05-D15B-E6FF-1B56-85327E7AA9C9}"/>
                </a:ext>
              </a:extLst>
            </p:cNvPr>
            <p:cNvSpPr txBox="1"/>
            <p:nvPr/>
          </p:nvSpPr>
          <p:spPr>
            <a:xfrm>
              <a:off x="3493648" y="4326284"/>
              <a:ext cx="2830441" cy="294183"/>
            </a:xfrm>
            <a:prstGeom prst="rect">
              <a:avLst/>
            </a:prstGeom>
            <a:noFill/>
          </p:spPr>
          <p:txBody>
            <a:bodyPr wrap="square" rtlCol="0">
              <a:spAutoFit/>
            </a:bodyPr>
            <a:lstStyle/>
            <a:p>
              <a:r>
                <a:rPr lang="en-US" sz="1600">
                  <a:solidFill>
                    <a:srgbClr val="0E176D"/>
                  </a:solidFill>
                </a:rPr>
                <a:t>GUI output</a:t>
              </a:r>
            </a:p>
          </p:txBody>
        </p:sp>
        <p:cxnSp>
          <p:nvCxnSpPr>
            <p:cNvPr id="155" name="Straight Arrow Connector 154">
              <a:extLst>
                <a:ext uri="{FF2B5EF4-FFF2-40B4-BE49-F238E27FC236}">
                  <a16:creationId xmlns:a16="http://schemas.microsoft.com/office/drawing/2014/main" id="{610D7128-5316-395B-7C31-12976055CE22}"/>
                </a:ext>
              </a:extLst>
            </p:cNvPr>
            <p:cNvCxnSpPr>
              <a:cxnSpLocks/>
            </p:cNvCxnSpPr>
            <p:nvPr/>
          </p:nvCxnSpPr>
          <p:spPr>
            <a:xfrm>
              <a:off x="2993558" y="4632681"/>
              <a:ext cx="4817745" cy="0"/>
            </a:xfrm>
            <a:prstGeom prst="straightConnector1">
              <a:avLst/>
            </a:prstGeom>
            <a:ln w="28575">
              <a:solidFill>
                <a:srgbClr val="416CF9"/>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TextBox 184">
              <a:extLst>
                <a:ext uri="{FF2B5EF4-FFF2-40B4-BE49-F238E27FC236}">
                  <a16:creationId xmlns:a16="http://schemas.microsoft.com/office/drawing/2014/main" id="{8D348CF2-A662-5E2E-D9A7-741ADC1600CC}"/>
                </a:ext>
              </a:extLst>
            </p:cNvPr>
            <p:cNvSpPr txBox="1"/>
            <p:nvPr/>
          </p:nvSpPr>
          <p:spPr>
            <a:xfrm>
              <a:off x="3462838" y="4961070"/>
              <a:ext cx="3045521" cy="292581"/>
            </a:xfrm>
            <a:prstGeom prst="rect">
              <a:avLst/>
            </a:prstGeom>
            <a:noFill/>
            <a:ln>
              <a:noFill/>
            </a:ln>
          </p:spPr>
          <p:txBody>
            <a:bodyPr wrap="square" rtlCol="0">
              <a:spAutoFit/>
            </a:bodyPr>
            <a:lstStyle/>
            <a:p>
              <a:r>
                <a:rPr lang="en-US" sz="1600">
                  <a:solidFill>
                    <a:srgbClr val="0E176D"/>
                  </a:solidFill>
                </a:rPr>
                <a:t>Damage information request</a:t>
              </a:r>
            </a:p>
          </p:txBody>
        </p:sp>
        <p:grpSp>
          <p:nvGrpSpPr>
            <p:cNvPr id="164" name="Group 163">
              <a:extLst>
                <a:ext uri="{FF2B5EF4-FFF2-40B4-BE49-F238E27FC236}">
                  <a16:creationId xmlns:a16="http://schemas.microsoft.com/office/drawing/2014/main" id="{F866315B-97E8-9E94-DC27-DC58074E61C3}"/>
                </a:ext>
              </a:extLst>
            </p:cNvPr>
            <p:cNvGrpSpPr/>
            <p:nvPr/>
          </p:nvGrpSpPr>
          <p:grpSpPr>
            <a:xfrm>
              <a:off x="6771127" y="5060811"/>
              <a:ext cx="447223" cy="446400"/>
              <a:chOff x="6771431" y="10170836"/>
              <a:chExt cx="447223" cy="446400"/>
            </a:xfrm>
          </p:grpSpPr>
          <p:sp>
            <p:nvSpPr>
              <p:cNvPr id="165" name="Oval 164">
                <a:extLst>
                  <a:ext uri="{FF2B5EF4-FFF2-40B4-BE49-F238E27FC236}">
                    <a16:creationId xmlns:a16="http://schemas.microsoft.com/office/drawing/2014/main" id="{E672AE8B-A175-745F-B647-80A860A4734F}"/>
                  </a:ext>
                </a:extLst>
              </p:cNvPr>
              <p:cNvSpPr/>
              <p:nvPr/>
            </p:nvSpPr>
            <p:spPr>
              <a:xfrm>
                <a:off x="6771431" y="10170836"/>
                <a:ext cx="447223" cy="446400"/>
              </a:xfrm>
              <a:prstGeom prst="ellipse">
                <a:avLst/>
              </a:prstGeom>
              <a:solidFill>
                <a:srgbClr val="416CF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a:solidFill>
                    <a:srgbClr val="FFFFFF"/>
                  </a:solidFill>
                  <a:uFillTx/>
                </a:endParaRPr>
              </a:p>
            </p:txBody>
          </p:sp>
          <p:pic>
            <p:nvPicPr>
              <p:cNvPr id="166" name="Graphic 165" descr="Call center with solid fill">
                <a:extLst>
                  <a:ext uri="{FF2B5EF4-FFF2-40B4-BE49-F238E27FC236}">
                    <a16:creationId xmlns:a16="http://schemas.microsoft.com/office/drawing/2014/main" id="{24D6AB5C-F02C-A76F-8B20-F3871A0F7C9D}"/>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842728" y="10237877"/>
                <a:ext cx="289029" cy="289568"/>
              </a:xfrm>
              <a:prstGeom prst="rect">
                <a:avLst/>
              </a:prstGeom>
            </p:spPr>
          </p:pic>
        </p:grpSp>
        <p:grpSp>
          <p:nvGrpSpPr>
            <p:cNvPr id="167" name="Group 166">
              <a:extLst>
                <a:ext uri="{FF2B5EF4-FFF2-40B4-BE49-F238E27FC236}">
                  <a16:creationId xmlns:a16="http://schemas.microsoft.com/office/drawing/2014/main" id="{C46772BA-745A-4565-54AA-E6811A79032E}"/>
                </a:ext>
              </a:extLst>
            </p:cNvPr>
            <p:cNvGrpSpPr/>
            <p:nvPr/>
          </p:nvGrpSpPr>
          <p:grpSpPr>
            <a:xfrm>
              <a:off x="6771127" y="3623031"/>
              <a:ext cx="447223" cy="446400"/>
              <a:chOff x="6771431" y="10170836"/>
              <a:chExt cx="447223" cy="446400"/>
            </a:xfrm>
          </p:grpSpPr>
          <p:sp>
            <p:nvSpPr>
              <p:cNvPr id="168" name="Oval 167">
                <a:extLst>
                  <a:ext uri="{FF2B5EF4-FFF2-40B4-BE49-F238E27FC236}">
                    <a16:creationId xmlns:a16="http://schemas.microsoft.com/office/drawing/2014/main" id="{E8FF1936-7237-4D37-9022-8A203D651718}"/>
                  </a:ext>
                </a:extLst>
              </p:cNvPr>
              <p:cNvSpPr/>
              <p:nvPr/>
            </p:nvSpPr>
            <p:spPr>
              <a:xfrm>
                <a:off x="6771431" y="10170836"/>
                <a:ext cx="447223" cy="446400"/>
              </a:xfrm>
              <a:prstGeom prst="ellipse">
                <a:avLst/>
              </a:prstGeom>
              <a:solidFill>
                <a:srgbClr val="416CF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a:solidFill>
                    <a:srgbClr val="FFFFFF"/>
                  </a:solidFill>
                  <a:uFillTx/>
                </a:endParaRPr>
              </a:p>
            </p:txBody>
          </p:sp>
          <p:pic>
            <p:nvPicPr>
              <p:cNvPr id="169" name="Graphic 168" descr="Call center with solid fill">
                <a:extLst>
                  <a:ext uri="{FF2B5EF4-FFF2-40B4-BE49-F238E27FC236}">
                    <a16:creationId xmlns:a16="http://schemas.microsoft.com/office/drawing/2014/main" id="{009F9C25-E74C-B615-A92B-F6ACFFC4B48E}"/>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842728" y="10237877"/>
                <a:ext cx="289029" cy="289568"/>
              </a:xfrm>
              <a:prstGeom prst="rect">
                <a:avLst/>
              </a:prstGeom>
            </p:spPr>
          </p:pic>
        </p:grpSp>
        <p:grpSp>
          <p:nvGrpSpPr>
            <p:cNvPr id="170" name="Group 169">
              <a:extLst>
                <a:ext uri="{FF2B5EF4-FFF2-40B4-BE49-F238E27FC236}">
                  <a16:creationId xmlns:a16="http://schemas.microsoft.com/office/drawing/2014/main" id="{AAE80003-2DC9-7412-83BC-BF114C8F848F}"/>
                </a:ext>
              </a:extLst>
            </p:cNvPr>
            <p:cNvGrpSpPr/>
            <p:nvPr/>
          </p:nvGrpSpPr>
          <p:grpSpPr>
            <a:xfrm>
              <a:off x="6771127" y="3021215"/>
              <a:ext cx="447223" cy="446400"/>
              <a:chOff x="6771431" y="10170836"/>
              <a:chExt cx="447223" cy="446400"/>
            </a:xfrm>
          </p:grpSpPr>
          <p:sp>
            <p:nvSpPr>
              <p:cNvPr id="171" name="Oval 170">
                <a:extLst>
                  <a:ext uri="{FF2B5EF4-FFF2-40B4-BE49-F238E27FC236}">
                    <a16:creationId xmlns:a16="http://schemas.microsoft.com/office/drawing/2014/main" id="{C52C8BFE-3CD3-387D-5BC8-0FEDDD2453E9}"/>
                  </a:ext>
                </a:extLst>
              </p:cNvPr>
              <p:cNvSpPr/>
              <p:nvPr/>
            </p:nvSpPr>
            <p:spPr>
              <a:xfrm>
                <a:off x="6771431" y="10170836"/>
                <a:ext cx="447223" cy="446400"/>
              </a:xfrm>
              <a:prstGeom prst="ellipse">
                <a:avLst/>
              </a:prstGeom>
              <a:solidFill>
                <a:srgbClr val="416CF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a:solidFill>
                    <a:srgbClr val="FFFFFF"/>
                  </a:solidFill>
                  <a:uFillTx/>
                </a:endParaRPr>
              </a:p>
            </p:txBody>
          </p:sp>
          <p:pic>
            <p:nvPicPr>
              <p:cNvPr id="172" name="Graphic 171" descr="Call center with solid fill">
                <a:extLst>
                  <a:ext uri="{FF2B5EF4-FFF2-40B4-BE49-F238E27FC236}">
                    <a16:creationId xmlns:a16="http://schemas.microsoft.com/office/drawing/2014/main" id="{092FD864-06DC-61F6-F911-E9DD231F0839}"/>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842728" y="10237877"/>
                <a:ext cx="289029" cy="289568"/>
              </a:xfrm>
              <a:prstGeom prst="rect">
                <a:avLst/>
              </a:prstGeom>
            </p:spPr>
          </p:pic>
        </p:grpSp>
        <p:grpSp>
          <p:nvGrpSpPr>
            <p:cNvPr id="177" name="Group 176">
              <a:extLst>
                <a:ext uri="{FF2B5EF4-FFF2-40B4-BE49-F238E27FC236}">
                  <a16:creationId xmlns:a16="http://schemas.microsoft.com/office/drawing/2014/main" id="{2C9BDBC4-6382-7752-1A20-103F99A7E979}"/>
                </a:ext>
              </a:extLst>
            </p:cNvPr>
            <p:cNvGrpSpPr/>
            <p:nvPr/>
          </p:nvGrpSpPr>
          <p:grpSpPr>
            <a:xfrm>
              <a:off x="6761534" y="4390066"/>
              <a:ext cx="446400" cy="446400"/>
              <a:chOff x="6787963" y="10938827"/>
              <a:chExt cx="446400" cy="446400"/>
            </a:xfrm>
          </p:grpSpPr>
          <p:sp>
            <p:nvSpPr>
              <p:cNvPr id="178" name="Oval 177">
                <a:extLst>
                  <a:ext uri="{FF2B5EF4-FFF2-40B4-BE49-F238E27FC236}">
                    <a16:creationId xmlns:a16="http://schemas.microsoft.com/office/drawing/2014/main" id="{EDB50EDE-BDCF-6D55-06DC-13A21508EB5A}"/>
                  </a:ext>
                </a:extLst>
              </p:cNvPr>
              <p:cNvSpPr/>
              <p:nvPr/>
            </p:nvSpPr>
            <p:spPr>
              <a:xfrm>
                <a:off x="6787963" y="10938827"/>
                <a:ext cx="446400" cy="446400"/>
              </a:xfrm>
              <a:prstGeom prst="ellipse">
                <a:avLst/>
              </a:prstGeom>
              <a:solidFill>
                <a:srgbClr val="416CF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R="0" algn="ctr" defTabSz="1828800" hangingPunct="1">
                  <a:lnSpc>
                    <a:spcPct val="100000"/>
                  </a:lnSpc>
                </a:pPr>
                <a:endParaRPr lang="en-US" sz="2800" kern="1200">
                  <a:solidFill>
                    <a:srgbClr val="FFFFFF"/>
                  </a:solidFill>
                  <a:uFillTx/>
                </a:endParaRPr>
              </a:p>
            </p:txBody>
          </p:sp>
          <p:pic>
            <p:nvPicPr>
              <p:cNvPr id="179" name="Graphic 178" descr="Table outline">
                <a:extLst>
                  <a:ext uri="{FF2B5EF4-FFF2-40B4-BE49-F238E27FC236}">
                    <a16:creationId xmlns:a16="http://schemas.microsoft.com/office/drawing/2014/main" id="{6D81C412-65FA-4336-C450-33314ACB0F7E}"/>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878663" y="11031044"/>
                <a:ext cx="265000" cy="265000"/>
              </a:xfrm>
              <a:prstGeom prst="rect">
                <a:avLst/>
              </a:prstGeom>
            </p:spPr>
          </p:pic>
        </p:grpSp>
        <p:grpSp>
          <p:nvGrpSpPr>
            <p:cNvPr id="224" name="Group 223">
              <a:extLst>
                <a:ext uri="{FF2B5EF4-FFF2-40B4-BE49-F238E27FC236}">
                  <a16:creationId xmlns:a16="http://schemas.microsoft.com/office/drawing/2014/main" id="{3775196A-7C96-AA8D-FA18-EE52121210AF}"/>
                </a:ext>
              </a:extLst>
            </p:cNvPr>
            <p:cNvGrpSpPr/>
            <p:nvPr/>
          </p:nvGrpSpPr>
          <p:grpSpPr>
            <a:xfrm>
              <a:off x="7834407" y="4353605"/>
              <a:ext cx="3116818" cy="495108"/>
              <a:chOff x="7556225" y="11243534"/>
              <a:chExt cx="3116818" cy="495108"/>
            </a:xfrm>
          </p:grpSpPr>
          <p:sp>
            <p:nvSpPr>
              <p:cNvPr id="225" name="TextBox 224">
                <a:extLst>
                  <a:ext uri="{FF2B5EF4-FFF2-40B4-BE49-F238E27FC236}">
                    <a16:creationId xmlns:a16="http://schemas.microsoft.com/office/drawing/2014/main" id="{D370DB4E-EE89-49A3-FF50-05C6B0F6D41F}"/>
                  </a:ext>
                </a:extLst>
              </p:cNvPr>
              <p:cNvSpPr txBox="1"/>
              <p:nvPr/>
            </p:nvSpPr>
            <p:spPr>
              <a:xfrm>
                <a:off x="7556225" y="11243534"/>
                <a:ext cx="3116818" cy="495108"/>
              </a:xfrm>
              <a:prstGeom prst="rect">
                <a:avLst/>
              </a:prstGeom>
              <a:solidFill>
                <a:schemeClr val="bg1"/>
              </a:solidFill>
              <a:ln>
                <a:noFill/>
              </a:ln>
            </p:spPr>
            <p:txBody>
              <a:bodyPr wrap="square" lIns="72000" tIns="108000" rIns="72000" bIns="108000" rtlCol="0" anchor="ctr">
                <a:spAutoFit/>
              </a:bodyPr>
              <a:lstStyle/>
              <a:p>
                <a:pPr marR="0" algn="ctr" defTabSz="1828800" hangingPunct="1">
                  <a:lnSpc>
                    <a:spcPct val="100000"/>
                  </a:lnSpc>
                </a:pPr>
                <a:r>
                  <a:rPr lang="en-US" sz="1800" kern="1200">
                    <a:solidFill>
                      <a:srgbClr val="0E176D"/>
                    </a:solidFill>
                    <a:uFillTx/>
                  </a:rPr>
                  <a:t>Vehicle information</a:t>
                </a:r>
              </a:p>
            </p:txBody>
          </p:sp>
          <p:grpSp>
            <p:nvGrpSpPr>
              <p:cNvPr id="226" name="Graphic 1040" descr="Database with solid fill">
                <a:extLst>
                  <a:ext uri="{FF2B5EF4-FFF2-40B4-BE49-F238E27FC236}">
                    <a16:creationId xmlns:a16="http://schemas.microsoft.com/office/drawing/2014/main" id="{99FDFA46-0090-4061-D83D-406C4FEE8BDE}"/>
                  </a:ext>
                </a:extLst>
              </p:cNvPr>
              <p:cNvGrpSpPr/>
              <p:nvPr/>
            </p:nvGrpSpPr>
            <p:grpSpPr>
              <a:xfrm>
                <a:off x="7646748" y="11305370"/>
                <a:ext cx="281839" cy="367760"/>
                <a:chOff x="5934481" y="4914025"/>
                <a:chExt cx="323037" cy="438412"/>
              </a:xfrm>
              <a:solidFill>
                <a:srgbClr val="7980E7"/>
              </a:solidFill>
            </p:grpSpPr>
            <p:sp>
              <p:nvSpPr>
                <p:cNvPr id="227" name="Freeform: Shape 139">
                  <a:extLst>
                    <a:ext uri="{FF2B5EF4-FFF2-40B4-BE49-F238E27FC236}">
                      <a16:creationId xmlns:a16="http://schemas.microsoft.com/office/drawing/2014/main" id="{6BE1054F-1AA3-C479-1F69-C78345D8A3AD}"/>
                    </a:ext>
                  </a:extLst>
                </p:cNvPr>
                <p:cNvSpPr/>
                <p:nvPr/>
              </p:nvSpPr>
              <p:spPr>
                <a:xfrm>
                  <a:off x="5934481" y="4914025"/>
                  <a:ext cx="323037" cy="92297"/>
                </a:xfrm>
                <a:custGeom>
                  <a:avLst/>
                  <a:gdLst>
                    <a:gd name="connsiteX0" fmla="*/ 323037 w 323037"/>
                    <a:gd name="connsiteY0" fmla="*/ 46148 h 92296"/>
                    <a:gd name="connsiteX1" fmla="*/ 161519 w 323037"/>
                    <a:gd name="connsiteY1" fmla="*/ 92296 h 92296"/>
                    <a:gd name="connsiteX2" fmla="*/ 0 w 323037"/>
                    <a:gd name="connsiteY2" fmla="*/ 46148 h 92296"/>
                    <a:gd name="connsiteX3" fmla="*/ 161519 w 323037"/>
                    <a:gd name="connsiteY3" fmla="*/ 0 h 92296"/>
                    <a:gd name="connsiteX4" fmla="*/ 323037 w 323037"/>
                    <a:gd name="connsiteY4" fmla="*/ 46148 h 92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037" h="92296">
                      <a:moveTo>
                        <a:pt x="323037" y="46148"/>
                      </a:moveTo>
                      <a:cubicBezTo>
                        <a:pt x="323037" y="71635"/>
                        <a:pt x="250723" y="92296"/>
                        <a:pt x="161519" y="92296"/>
                      </a:cubicBezTo>
                      <a:cubicBezTo>
                        <a:pt x="72314" y="92296"/>
                        <a:pt x="0" y="71635"/>
                        <a:pt x="0" y="46148"/>
                      </a:cubicBezTo>
                      <a:cubicBezTo>
                        <a:pt x="0" y="20661"/>
                        <a:pt x="72314" y="0"/>
                        <a:pt x="161519" y="0"/>
                      </a:cubicBezTo>
                      <a:cubicBezTo>
                        <a:pt x="250723" y="0"/>
                        <a:pt x="323037" y="20661"/>
                        <a:pt x="323037" y="46148"/>
                      </a:cubicBezTo>
                      <a:close/>
                    </a:path>
                  </a:pathLst>
                </a:custGeom>
                <a:grpFill/>
                <a:ln w="5755" cap="flat">
                  <a:noFill/>
                  <a:prstDash val="solid"/>
                  <a:miter/>
                </a:ln>
              </p:spPr>
              <p:txBody>
                <a:bodyPr rtlCol="0" anchor="ctr"/>
                <a:lstStyle/>
                <a:p>
                  <a:endParaRPr lang="en-US" sz="2000"/>
                </a:p>
              </p:txBody>
            </p:sp>
            <p:sp>
              <p:nvSpPr>
                <p:cNvPr id="228" name="Freeform: Shape 140">
                  <a:extLst>
                    <a:ext uri="{FF2B5EF4-FFF2-40B4-BE49-F238E27FC236}">
                      <a16:creationId xmlns:a16="http://schemas.microsoft.com/office/drawing/2014/main" id="{F16E9D51-7C57-267D-234B-8CD0FAE73672}"/>
                    </a:ext>
                  </a:extLst>
                </p:cNvPr>
                <p:cNvSpPr/>
                <p:nvPr/>
              </p:nvSpPr>
              <p:spPr>
                <a:xfrm>
                  <a:off x="5934481" y="4983250"/>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1"/>
                        <a:pt x="0" y="0"/>
                      </a:cubicBezTo>
                      <a:lnTo>
                        <a:pt x="0" y="92296"/>
                      </a:lnTo>
                      <a:cubicBezTo>
                        <a:pt x="0" y="117678"/>
                        <a:pt x="72683" y="138445"/>
                        <a:pt x="161519" y="138445"/>
                      </a:cubicBezTo>
                      <a:cubicBezTo>
                        <a:pt x="250354" y="138445"/>
                        <a:pt x="323037" y="117678"/>
                        <a:pt x="323037" y="92296"/>
                      </a:cubicBezTo>
                      <a:lnTo>
                        <a:pt x="323037" y="0"/>
                      </a:lnTo>
                      <a:cubicBezTo>
                        <a:pt x="323037" y="25381"/>
                        <a:pt x="250354" y="46148"/>
                        <a:pt x="161519" y="46148"/>
                      </a:cubicBezTo>
                      <a:close/>
                    </a:path>
                  </a:pathLst>
                </a:custGeom>
                <a:grpFill/>
                <a:ln w="5755" cap="flat">
                  <a:noFill/>
                  <a:prstDash val="solid"/>
                  <a:miter/>
                </a:ln>
              </p:spPr>
              <p:txBody>
                <a:bodyPr rtlCol="0" anchor="ctr"/>
                <a:lstStyle/>
                <a:p>
                  <a:endParaRPr lang="en-US" sz="2000"/>
                </a:p>
              </p:txBody>
            </p:sp>
            <p:sp>
              <p:nvSpPr>
                <p:cNvPr id="229" name="Freeform: Shape 141">
                  <a:extLst>
                    <a:ext uri="{FF2B5EF4-FFF2-40B4-BE49-F238E27FC236}">
                      <a16:creationId xmlns:a16="http://schemas.microsoft.com/office/drawing/2014/main" id="{57445049-93D1-C0B7-EC4A-255DA6B3863C}"/>
                    </a:ext>
                  </a:extLst>
                </p:cNvPr>
                <p:cNvSpPr/>
                <p:nvPr/>
              </p:nvSpPr>
              <p:spPr>
                <a:xfrm>
                  <a:off x="5934481" y="5098619"/>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2"/>
                        <a:pt x="0" y="0"/>
                      </a:cubicBezTo>
                      <a:lnTo>
                        <a:pt x="0" y="92296"/>
                      </a:lnTo>
                      <a:cubicBezTo>
                        <a:pt x="0" y="117678"/>
                        <a:pt x="72683" y="138445"/>
                        <a:pt x="161519" y="138445"/>
                      </a:cubicBezTo>
                      <a:cubicBezTo>
                        <a:pt x="250354" y="138445"/>
                        <a:pt x="323037" y="117678"/>
                        <a:pt x="323037" y="92296"/>
                      </a:cubicBezTo>
                      <a:lnTo>
                        <a:pt x="323037" y="0"/>
                      </a:lnTo>
                      <a:cubicBezTo>
                        <a:pt x="323037" y="25382"/>
                        <a:pt x="250354" y="46148"/>
                        <a:pt x="161519" y="46148"/>
                      </a:cubicBezTo>
                      <a:close/>
                    </a:path>
                  </a:pathLst>
                </a:custGeom>
                <a:grpFill/>
                <a:ln w="5755" cap="flat">
                  <a:noFill/>
                  <a:prstDash val="solid"/>
                  <a:miter/>
                </a:ln>
              </p:spPr>
              <p:txBody>
                <a:bodyPr rtlCol="0" anchor="ctr"/>
                <a:lstStyle/>
                <a:p>
                  <a:endParaRPr lang="en-US" sz="2000"/>
                </a:p>
              </p:txBody>
            </p:sp>
            <p:sp>
              <p:nvSpPr>
                <p:cNvPr id="230" name="Freeform: Shape 142">
                  <a:extLst>
                    <a:ext uri="{FF2B5EF4-FFF2-40B4-BE49-F238E27FC236}">
                      <a16:creationId xmlns:a16="http://schemas.microsoft.com/office/drawing/2014/main" id="{A15CC584-4900-A283-30C9-1A01F6876F22}"/>
                    </a:ext>
                  </a:extLst>
                </p:cNvPr>
                <p:cNvSpPr/>
                <p:nvPr/>
              </p:nvSpPr>
              <p:spPr>
                <a:xfrm>
                  <a:off x="5934481" y="5213993"/>
                  <a:ext cx="323037" cy="138444"/>
                </a:xfrm>
                <a:custGeom>
                  <a:avLst/>
                  <a:gdLst>
                    <a:gd name="connsiteX0" fmla="*/ 276889 w 323037"/>
                    <a:gd name="connsiteY0" fmla="*/ 92296 h 138444"/>
                    <a:gd name="connsiteX1" fmla="*/ 265352 w 323037"/>
                    <a:gd name="connsiteY1" fmla="*/ 80759 h 138444"/>
                    <a:gd name="connsiteX2" fmla="*/ 276889 w 323037"/>
                    <a:gd name="connsiteY2" fmla="*/ 69222 h 138444"/>
                    <a:gd name="connsiteX3" fmla="*/ 288426 w 323037"/>
                    <a:gd name="connsiteY3" fmla="*/ 80759 h 138444"/>
                    <a:gd name="connsiteX4" fmla="*/ 276889 w 323037"/>
                    <a:gd name="connsiteY4" fmla="*/ 92296 h 138444"/>
                    <a:gd name="connsiteX5" fmla="*/ 161519 w 323037"/>
                    <a:gd name="connsiteY5" fmla="*/ 46148 h 138444"/>
                    <a:gd name="connsiteX6" fmla="*/ 0 w 323037"/>
                    <a:gd name="connsiteY6" fmla="*/ 0 h 138444"/>
                    <a:gd name="connsiteX7" fmla="*/ 0 w 323037"/>
                    <a:gd name="connsiteY7" fmla="*/ 92296 h 138444"/>
                    <a:gd name="connsiteX8" fmla="*/ 161519 w 323037"/>
                    <a:gd name="connsiteY8" fmla="*/ 138445 h 138444"/>
                    <a:gd name="connsiteX9" fmla="*/ 323037 w 323037"/>
                    <a:gd name="connsiteY9" fmla="*/ 92296 h 138444"/>
                    <a:gd name="connsiteX10" fmla="*/ 323037 w 323037"/>
                    <a:gd name="connsiteY10" fmla="*/ 0 h 138444"/>
                    <a:gd name="connsiteX11" fmla="*/ 161519 w 323037"/>
                    <a:gd name="connsiteY11" fmla="*/ 46148 h 13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037" h="138444">
                      <a:moveTo>
                        <a:pt x="276889" y="92296"/>
                      </a:moveTo>
                      <a:cubicBezTo>
                        <a:pt x="269967" y="92296"/>
                        <a:pt x="265352" y="87682"/>
                        <a:pt x="265352" y="80759"/>
                      </a:cubicBezTo>
                      <a:cubicBezTo>
                        <a:pt x="265352" y="73837"/>
                        <a:pt x="269967" y="69222"/>
                        <a:pt x="276889" y="69222"/>
                      </a:cubicBezTo>
                      <a:cubicBezTo>
                        <a:pt x="283811" y="69222"/>
                        <a:pt x="288426" y="73837"/>
                        <a:pt x="288426" y="80759"/>
                      </a:cubicBezTo>
                      <a:cubicBezTo>
                        <a:pt x="288426" y="87682"/>
                        <a:pt x="283811" y="92296"/>
                        <a:pt x="276889" y="92296"/>
                      </a:cubicBezTo>
                      <a:close/>
                      <a:moveTo>
                        <a:pt x="161519" y="46148"/>
                      </a:moveTo>
                      <a:cubicBezTo>
                        <a:pt x="72683" y="46148"/>
                        <a:pt x="0" y="25382"/>
                        <a:pt x="0" y="0"/>
                      </a:cubicBezTo>
                      <a:lnTo>
                        <a:pt x="0" y="92296"/>
                      </a:lnTo>
                      <a:cubicBezTo>
                        <a:pt x="0" y="117678"/>
                        <a:pt x="72683" y="138445"/>
                        <a:pt x="161519" y="138445"/>
                      </a:cubicBezTo>
                      <a:cubicBezTo>
                        <a:pt x="250354" y="138445"/>
                        <a:pt x="323037" y="117678"/>
                        <a:pt x="323037" y="92296"/>
                      </a:cubicBezTo>
                      <a:lnTo>
                        <a:pt x="323037" y="0"/>
                      </a:lnTo>
                      <a:cubicBezTo>
                        <a:pt x="323037" y="25382"/>
                        <a:pt x="250354" y="46148"/>
                        <a:pt x="161519" y="46148"/>
                      </a:cubicBezTo>
                      <a:close/>
                    </a:path>
                  </a:pathLst>
                </a:custGeom>
                <a:grpFill/>
                <a:ln w="5755" cap="flat">
                  <a:noFill/>
                  <a:prstDash val="solid"/>
                  <a:miter/>
                </a:ln>
              </p:spPr>
              <p:txBody>
                <a:bodyPr rtlCol="0" anchor="ctr"/>
                <a:lstStyle/>
                <a:p>
                  <a:endParaRPr lang="en-US" sz="2000"/>
                </a:p>
              </p:txBody>
            </p:sp>
          </p:grpSp>
        </p:grpSp>
        <p:sp>
          <p:nvSpPr>
            <p:cNvPr id="244" name="TextBox 243">
              <a:extLst>
                <a:ext uri="{FF2B5EF4-FFF2-40B4-BE49-F238E27FC236}">
                  <a16:creationId xmlns:a16="http://schemas.microsoft.com/office/drawing/2014/main" id="{F51B646C-6534-1DD3-3A23-DDA143DA7003}"/>
                </a:ext>
              </a:extLst>
            </p:cNvPr>
            <p:cNvSpPr txBox="1"/>
            <p:nvPr/>
          </p:nvSpPr>
          <p:spPr>
            <a:xfrm>
              <a:off x="12767735" y="3656412"/>
              <a:ext cx="3116818" cy="495108"/>
            </a:xfrm>
            <a:prstGeom prst="rect">
              <a:avLst/>
            </a:prstGeom>
            <a:solidFill>
              <a:srgbClr val="0E176D"/>
            </a:solidFill>
            <a:ln>
              <a:noFill/>
            </a:ln>
          </p:spPr>
          <p:txBody>
            <a:bodyPr wrap="square" lIns="72000" tIns="108000" rIns="72000" bIns="108000" rtlCol="0" anchor="ctr">
              <a:spAutoFit/>
            </a:bodyPr>
            <a:lstStyle/>
            <a:p>
              <a:pPr marR="0" algn="ctr" defTabSz="1828800" hangingPunct="1">
                <a:lnSpc>
                  <a:spcPct val="100000"/>
                </a:lnSpc>
              </a:pPr>
              <a:r>
                <a:rPr lang="en-US" sz="1800" kern="1200">
                  <a:solidFill>
                    <a:schemeClr val="bg1"/>
                  </a:solidFill>
                  <a:uFillTx/>
                </a:rPr>
                <a:t>API request formation</a:t>
              </a:r>
            </a:p>
          </p:txBody>
        </p:sp>
        <p:sp>
          <p:nvSpPr>
            <p:cNvPr id="245" name="TextBox 244">
              <a:extLst>
                <a:ext uri="{FF2B5EF4-FFF2-40B4-BE49-F238E27FC236}">
                  <a16:creationId xmlns:a16="http://schemas.microsoft.com/office/drawing/2014/main" id="{A21C250C-C300-8E05-4346-DEB3AC36276F}"/>
                </a:ext>
              </a:extLst>
            </p:cNvPr>
            <p:cNvSpPr txBox="1"/>
            <p:nvPr/>
          </p:nvSpPr>
          <p:spPr>
            <a:xfrm>
              <a:off x="12775960" y="4397821"/>
              <a:ext cx="3116818" cy="495108"/>
            </a:xfrm>
            <a:prstGeom prst="rect">
              <a:avLst/>
            </a:prstGeom>
            <a:solidFill>
              <a:srgbClr val="0E176D"/>
            </a:solidFill>
            <a:ln>
              <a:noFill/>
            </a:ln>
          </p:spPr>
          <p:txBody>
            <a:bodyPr wrap="square" tIns="108000" bIns="108000" rtlCol="0" anchor="ctr">
              <a:spAutoFit/>
            </a:bodyPr>
            <a:lstStyle/>
            <a:p>
              <a:pPr marR="0" algn="ctr" defTabSz="1828800" hangingPunct="1">
                <a:lnSpc>
                  <a:spcPct val="100000"/>
                </a:lnSpc>
              </a:pPr>
              <a:r>
                <a:rPr lang="en-US" sz="1800" kern="1200">
                  <a:solidFill>
                    <a:schemeClr val="bg1"/>
                  </a:solidFill>
                  <a:uFillTx/>
                </a:rPr>
                <a:t>API response parsing</a:t>
              </a:r>
            </a:p>
          </p:txBody>
        </p:sp>
      </p:grpSp>
      <p:sp>
        <p:nvSpPr>
          <p:cNvPr id="252" name="TextBox 251">
            <a:extLst>
              <a:ext uri="{FF2B5EF4-FFF2-40B4-BE49-F238E27FC236}">
                <a16:creationId xmlns:a16="http://schemas.microsoft.com/office/drawing/2014/main" id="{D1FDF074-54D3-78BA-8033-74AC7724C17F}"/>
              </a:ext>
            </a:extLst>
          </p:cNvPr>
          <p:cNvSpPr txBox="1"/>
          <p:nvPr/>
        </p:nvSpPr>
        <p:spPr>
          <a:xfrm>
            <a:off x="5005953" y="9066508"/>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GB" sz="28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spTree>
    <p:extLst>
      <p:ext uri="{BB962C8B-B14F-4D97-AF65-F5344CB8AC3E}">
        <p14:creationId xmlns:p14="http://schemas.microsoft.com/office/powerpoint/2010/main" val="276821105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5">
            <a:extLst>
              <a:ext uri="{FF2B5EF4-FFF2-40B4-BE49-F238E27FC236}">
                <a16:creationId xmlns:a16="http://schemas.microsoft.com/office/drawing/2014/main" id="{102D5A78-DDF8-126D-780D-91EFFFDFD38C}"/>
              </a:ext>
            </a:extLst>
          </p:cNvPr>
          <p:cNvSpPr txBox="1">
            <a:spLocks/>
          </p:cNvSpPr>
          <p:nvPr>
            <p:custDataLst>
              <p:tags r:id="rId1"/>
            </p:custDataLst>
          </p:nvPr>
        </p:nvSpPr>
        <p:spPr bwMode="auto">
          <a:xfrm>
            <a:off x="1224656" y="3709727"/>
            <a:ext cx="9998357" cy="9001811"/>
          </a:xfrm>
          <a:prstGeom prst="rect">
            <a:avLst/>
          </a:prstGeom>
          <a:solidFill>
            <a:srgbClr val="EFF2FF"/>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buClr>
                <a:prstClr val="white"/>
              </a:buClr>
              <a:buFont typeface="Wingdings" panose="05000000000000000000" pitchFamily="2" charset="2"/>
              <a:buNone/>
              <a:defRPr/>
            </a:pPr>
            <a:br>
              <a:rPr lang="en-US" sz="2000">
                <a:solidFill>
                  <a:prstClr val="black"/>
                </a:solidFill>
                <a:uFillTx/>
              </a:rPr>
            </a:br>
            <a:endParaRPr lang="en-US" sz="2000">
              <a:solidFill>
                <a:prstClr val="black"/>
              </a:solidFill>
              <a:uFillTx/>
            </a:endParaRPr>
          </a:p>
        </p:txBody>
      </p:sp>
      <p:sp>
        <p:nvSpPr>
          <p:cNvPr id="2" name="Title 1">
            <a:extLst>
              <a:ext uri="{FF2B5EF4-FFF2-40B4-BE49-F238E27FC236}">
                <a16:creationId xmlns:a16="http://schemas.microsoft.com/office/drawing/2014/main" id="{6890D2E5-47F2-9FD0-62E9-2860C50D196B}"/>
              </a:ext>
            </a:extLst>
          </p:cNvPr>
          <p:cNvSpPr>
            <a:spLocks noGrp="1"/>
          </p:cNvSpPr>
          <p:nvPr>
            <p:ph type="title"/>
          </p:nvPr>
        </p:nvSpPr>
        <p:spPr>
          <a:xfrm>
            <a:off x="1763673" y="1828800"/>
            <a:ext cx="20845501" cy="997196"/>
          </a:xfrm>
        </p:spPr>
        <p:txBody>
          <a:bodyPr/>
          <a:lstStyle/>
          <a:p>
            <a:r>
              <a:rPr lang="en-US" b="0"/>
              <a:t>We Established a Framework for Measuring the Model on Technical Reliability and Delivery Effectiveness </a:t>
            </a:r>
            <a:endParaRPr lang="en-US"/>
          </a:p>
        </p:txBody>
      </p:sp>
      <p:sp>
        <p:nvSpPr>
          <p:cNvPr id="4" name="Text Placeholder 3">
            <a:extLst>
              <a:ext uri="{FF2B5EF4-FFF2-40B4-BE49-F238E27FC236}">
                <a16:creationId xmlns:a16="http://schemas.microsoft.com/office/drawing/2014/main" id="{3B667888-B63F-D3B4-D9B1-823EFD31CAEA}"/>
              </a:ext>
            </a:extLst>
          </p:cNvPr>
          <p:cNvSpPr>
            <a:spLocks noGrp="1"/>
          </p:cNvSpPr>
          <p:nvPr>
            <p:ph type="body" sz="quarter" idx="26"/>
          </p:nvPr>
        </p:nvSpPr>
        <p:spPr>
          <a:xfrm>
            <a:off x="1763673" y="838200"/>
            <a:ext cx="20845501" cy="307777"/>
          </a:xfrm>
        </p:spPr>
        <p:txBody>
          <a:bodyPr/>
          <a:lstStyle/>
          <a:p>
            <a:r>
              <a:rPr lang="en-US"/>
              <a:t>METRICS</a:t>
            </a:r>
          </a:p>
        </p:txBody>
      </p:sp>
      <p:sp>
        <p:nvSpPr>
          <p:cNvPr id="7" name="Slide Number Placeholder 6">
            <a:extLst>
              <a:ext uri="{FF2B5EF4-FFF2-40B4-BE49-F238E27FC236}">
                <a16:creationId xmlns:a16="http://schemas.microsoft.com/office/drawing/2014/main" id="{659214A2-9950-465A-7809-E997685A8AB3}"/>
              </a:ext>
            </a:extLst>
          </p:cNvPr>
          <p:cNvSpPr>
            <a:spLocks noGrp="1"/>
          </p:cNvSpPr>
          <p:nvPr>
            <p:ph type="sldNum" sz="quarter" idx="12"/>
          </p:nvPr>
        </p:nvSpPr>
        <p:spPr/>
        <p:txBody>
          <a:bodyPr/>
          <a:lstStyle/>
          <a:p>
            <a:fld id="{F4562D32-726A-4413-ACA3-4E6BD640C7C8}" type="slidenum">
              <a:rPr lang="de-DE" smtClean="0"/>
              <a:pPr/>
              <a:t>5</a:t>
            </a:fld>
            <a:endParaRPr lang="de-DE"/>
          </a:p>
        </p:txBody>
      </p:sp>
      <p:sp>
        <p:nvSpPr>
          <p:cNvPr id="124" name="Rectangle 15">
            <a:extLst>
              <a:ext uri="{FF2B5EF4-FFF2-40B4-BE49-F238E27FC236}">
                <a16:creationId xmlns:a16="http://schemas.microsoft.com/office/drawing/2014/main" id="{7636741A-9250-3159-CAF6-0C37EF1CCB14}"/>
              </a:ext>
            </a:extLst>
          </p:cNvPr>
          <p:cNvSpPr txBox="1">
            <a:spLocks/>
          </p:cNvSpPr>
          <p:nvPr>
            <p:custDataLst>
              <p:tags r:id="rId2"/>
            </p:custDataLst>
          </p:nvPr>
        </p:nvSpPr>
        <p:spPr bwMode="auto">
          <a:xfrm>
            <a:off x="11521343" y="3709727"/>
            <a:ext cx="11673135" cy="9024324"/>
          </a:xfrm>
          <a:prstGeom prst="rect">
            <a:avLst/>
          </a:prstGeom>
          <a:solidFill>
            <a:srgbClr val="EFF2FF"/>
          </a:solidFill>
          <a:ln>
            <a:no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buClr>
                <a:prstClr val="white"/>
              </a:buClr>
              <a:buFont typeface="Wingdings" panose="05000000000000000000" pitchFamily="2" charset="2"/>
              <a:buNone/>
              <a:defRPr/>
            </a:pPr>
            <a:endParaRPr lang="en-US" sz="1800">
              <a:solidFill>
                <a:prstClr val="black"/>
              </a:solidFill>
              <a:uFillTx/>
            </a:endParaRPr>
          </a:p>
        </p:txBody>
      </p:sp>
      <p:sp>
        <p:nvSpPr>
          <p:cNvPr id="128" name="Rectangle 127">
            <a:extLst>
              <a:ext uri="{FF2B5EF4-FFF2-40B4-BE49-F238E27FC236}">
                <a16:creationId xmlns:a16="http://schemas.microsoft.com/office/drawing/2014/main" id="{F7345EF8-C1FD-FFD4-EE9B-69918B763DB2}"/>
              </a:ext>
            </a:extLst>
          </p:cNvPr>
          <p:cNvSpPr>
            <a:spLocks/>
          </p:cNvSpPr>
          <p:nvPr/>
        </p:nvSpPr>
        <p:spPr>
          <a:xfrm>
            <a:off x="11844907" y="9392838"/>
            <a:ext cx="10948823" cy="502813"/>
          </a:xfrm>
          <a:prstGeom prst="rect">
            <a:avLst/>
          </a:prstGeom>
          <a:solidFill>
            <a:srgbClr val="0E176D"/>
          </a:solidFill>
          <a:ln w="12700" cap="flat" cmpd="sng" algn="ctr">
            <a:noFill/>
            <a:prstDash val="solid"/>
            <a:miter lim="800000"/>
          </a:ln>
          <a:effectLst/>
        </p:spPr>
        <p:txBody>
          <a:bodyPr rtlCol="0" anchor="ctr"/>
          <a:lstStyle/>
          <a:p>
            <a:pPr marR="0" algn="ctr" defTabSz="457200" hangingPunct="1">
              <a:lnSpc>
                <a:spcPct val="100000"/>
              </a:lnSpc>
              <a:defRPr/>
            </a:pPr>
            <a:r>
              <a:rPr lang="en-US" sz="2000" b="1" kern="1200">
                <a:solidFill>
                  <a:prstClr val="white"/>
                </a:solidFill>
                <a:uFillTx/>
              </a:rPr>
              <a:t>Measure of Effectiveness and Value</a:t>
            </a:r>
          </a:p>
        </p:txBody>
      </p:sp>
      <p:grpSp>
        <p:nvGrpSpPr>
          <p:cNvPr id="39" name="Group 38">
            <a:extLst>
              <a:ext uri="{FF2B5EF4-FFF2-40B4-BE49-F238E27FC236}">
                <a16:creationId xmlns:a16="http://schemas.microsoft.com/office/drawing/2014/main" id="{B4F5C28F-54D9-6605-76C7-886FF476CC3B}"/>
              </a:ext>
            </a:extLst>
          </p:cNvPr>
          <p:cNvGrpSpPr/>
          <p:nvPr/>
        </p:nvGrpSpPr>
        <p:grpSpPr>
          <a:xfrm>
            <a:off x="11844907" y="10183785"/>
            <a:ext cx="10948823" cy="2349120"/>
            <a:chOff x="11844907" y="10147154"/>
            <a:chExt cx="10948823" cy="2349120"/>
          </a:xfrm>
        </p:grpSpPr>
        <p:sp>
          <p:nvSpPr>
            <p:cNvPr id="133" name="TextBox 132">
              <a:extLst>
                <a:ext uri="{FF2B5EF4-FFF2-40B4-BE49-F238E27FC236}">
                  <a16:creationId xmlns:a16="http://schemas.microsoft.com/office/drawing/2014/main" id="{D40C32B9-CACC-D1FE-C334-79AE068A7DA8}"/>
                </a:ext>
              </a:extLst>
            </p:cNvPr>
            <p:cNvSpPr txBox="1">
              <a:spLocks/>
            </p:cNvSpPr>
            <p:nvPr/>
          </p:nvSpPr>
          <p:spPr>
            <a:xfrm>
              <a:off x="14607297" y="10788116"/>
              <a:ext cx="2736000" cy="1461939"/>
            </a:xfrm>
            <a:prstGeom prst="rect">
              <a:avLst/>
            </a:prstGeom>
            <a:noFill/>
            <a:ln>
              <a:noFill/>
            </a:ln>
          </p:spPr>
          <p:txBody>
            <a:bodyPr wrap="square" lIns="36000" rIns="36000" rtlCol="0">
              <a:spAutoFit/>
            </a:bodyPr>
            <a:lstStyle/>
            <a:p>
              <a:pPr marR="0" algn="ctr" defTabSz="457200" hangingPunct="1">
                <a:lnSpc>
                  <a:spcPct val="100000"/>
                </a:lnSpc>
                <a:defRPr/>
              </a:pPr>
              <a:r>
                <a:rPr lang="en-US" sz="1800" b="1" kern="1200">
                  <a:solidFill>
                    <a:srgbClr val="0E176D"/>
                  </a:solidFill>
                  <a:uFillTx/>
                  <a:ea typeface="Times New Roman" panose="02020603050405020304" pitchFamily="18" charset="0"/>
                </a:rPr>
                <a:t>Decrease Repair Estimation Time</a:t>
              </a:r>
            </a:p>
            <a:p>
              <a:pPr marR="0" algn="ctr" defTabSz="457200" hangingPunct="1">
                <a:lnSpc>
                  <a:spcPct val="100000"/>
                </a:lnSpc>
                <a:spcBef>
                  <a:spcPts val="600"/>
                </a:spcBef>
                <a:defRPr/>
              </a:pPr>
              <a:r>
                <a:rPr lang="en-US" sz="1600" kern="1200">
                  <a:solidFill>
                    <a:prstClr val="black"/>
                  </a:solidFill>
                  <a:uFillTx/>
                  <a:ea typeface="Times New Roman" panose="02020603050405020304" pitchFamily="18" charset="0"/>
                </a:rPr>
                <a:t>Evaluate time saved by using </a:t>
              </a:r>
              <a:r>
                <a:rPr lang="en-US" sz="1600" kern="1200" err="1">
                  <a:solidFill>
                    <a:prstClr val="black"/>
                  </a:solidFill>
                  <a:uFillTx/>
                  <a:ea typeface="Times New Roman" panose="02020603050405020304" pitchFamily="18" charset="0"/>
                </a:rPr>
                <a:t>GenAI</a:t>
              </a:r>
              <a:r>
                <a:rPr lang="en-US" sz="1600" kern="1200">
                  <a:solidFill>
                    <a:prstClr val="black"/>
                  </a:solidFill>
                  <a:uFillTx/>
                  <a:ea typeface="Times New Roman" panose="02020603050405020304" pitchFamily="18" charset="0"/>
                </a:rPr>
                <a:t> compared to manual methods.</a:t>
              </a:r>
              <a:endParaRPr lang="en-US" sz="1600" kern="1200">
                <a:solidFill>
                  <a:prstClr val="black"/>
                </a:solidFill>
                <a:uFillTx/>
              </a:endParaRPr>
            </a:p>
          </p:txBody>
        </p:sp>
        <p:sp>
          <p:nvSpPr>
            <p:cNvPr id="134" name="TextBox 133">
              <a:extLst>
                <a:ext uri="{FF2B5EF4-FFF2-40B4-BE49-F238E27FC236}">
                  <a16:creationId xmlns:a16="http://schemas.microsoft.com/office/drawing/2014/main" id="{3436F92D-5B1F-8BB0-8F66-20E85B8C8FCC}"/>
                </a:ext>
              </a:extLst>
            </p:cNvPr>
            <p:cNvSpPr txBox="1">
              <a:spLocks/>
            </p:cNvSpPr>
            <p:nvPr/>
          </p:nvSpPr>
          <p:spPr>
            <a:xfrm>
              <a:off x="17370841" y="10788114"/>
              <a:ext cx="2734846" cy="1461939"/>
            </a:xfrm>
            <a:prstGeom prst="rect">
              <a:avLst/>
            </a:prstGeom>
            <a:noFill/>
            <a:ln>
              <a:noFill/>
            </a:ln>
          </p:spPr>
          <p:txBody>
            <a:bodyPr wrap="square" lIns="36000" rIns="36000" rtlCol="0">
              <a:spAutoFit/>
            </a:bodyPr>
            <a:lstStyle/>
            <a:p>
              <a:pPr marR="0" algn="ctr" defTabSz="457200" hangingPunct="1">
                <a:lnSpc>
                  <a:spcPct val="100000"/>
                </a:lnSpc>
                <a:defRPr/>
              </a:pPr>
              <a:r>
                <a:rPr lang="en-US" sz="1800" b="1" kern="1200">
                  <a:solidFill>
                    <a:srgbClr val="0E176D"/>
                  </a:solidFill>
                  <a:uFillTx/>
                  <a:ea typeface="Times New Roman" panose="02020603050405020304" pitchFamily="18" charset="0"/>
                </a:rPr>
                <a:t>Improvement in Repair Estimation Accuracy</a:t>
              </a:r>
            </a:p>
            <a:p>
              <a:pPr marR="0" algn="ctr" defTabSz="457200" hangingPunct="1">
                <a:lnSpc>
                  <a:spcPct val="100000"/>
                </a:lnSpc>
                <a:spcBef>
                  <a:spcPts val="600"/>
                </a:spcBef>
                <a:defRPr/>
              </a:pPr>
              <a:r>
                <a:rPr lang="en-US" sz="1600" kern="1200">
                  <a:solidFill>
                    <a:prstClr val="black"/>
                  </a:solidFill>
                  <a:uFillTx/>
                  <a:ea typeface="Times New Roman" panose="02020603050405020304" pitchFamily="18" charset="0"/>
                </a:rPr>
                <a:t>Assess precision and reliability of damage and cost estimates generated. </a:t>
              </a:r>
              <a:endParaRPr lang="en-US" sz="1600" kern="1200">
                <a:solidFill>
                  <a:prstClr val="black"/>
                </a:solidFill>
                <a:uFillTx/>
              </a:endParaRPr>
            </a:p>
          </p:txBody>
        </p:sp>
        <p:sp>
          <p:nvSpPr>
            <p:cNvPr id="135" name="TextBox 134">
              <a:extLst>
                <a:ext uri="{FF2B5EF4-FFF2-40B4-BE49-F238E27FC236}">
                  <a16:creationId xmlns:a16="http://schemas.microsoft.com/office/drawing/2014/main" id="{BF0AC173-E409-D27C-3A3F-759928FF8B86}"/>
                </a:ext>
              </a:extLst>
            </p:cNvPr>
            <p:cNvSpPr txBox="1">
              <a:spLocks/>
            </p:cNvSpPr>
            <p:nvPr/>
          </p:nvSpPr>
          <p:spPr>
            <a:xfrm>
              <a:off x="20133232" y="10788114"/>
              <a:ext cx="2660498" cy="1708160"/>
            </a:xfrm>
            <a:prstGeom prst="rect">
              <a:avLst/>
            </a:prstGeom>
            <a:noFill/>
            <a:ln>
              <a:noFill/>
            </a:ln>
          </p:spPr>
          <p:txBody>
            <a:bodyPr wrap="square" lIns="36000" rIns="36000" rtlCol="0">
              <a:spAutoFit/>
            </a:bodyPr>
            <a:lstStyle/>
            <a:p>
              <a:pPr marR="0" algn="ctr" defTabSz="457200" hangingPunct="1">
                <a:lnSpc>
                  <a:spcPct val="100000"/>
                </a:lnSpc>
                <a:defRPr/>
              </a:pPr>
              <a:r>
                <a:rPr lang="en-US" sz="1800" b="1" kern="1200">
                  <a:solidFill>
                    <a:srgbClr val="0E176D"/>
                  </a:solidFill>
                  <a:uFillTx/>
                  <a:ea typeface="Times New Roman" panose="02020603050405020304" pitchFamily="18" charset="0"/>
                </a:rPr>
                <a:t>Increased Customer Satisfaction</a:t>
              </a:r>
            </a:p>
            <a:p>
              <a:pPr marR="0" algn="ctr" defTabSz="457200" hangingPunct="1">
                <a:lnSpc>
                  <a:spcPct val="100000"/>
                </a:lnSpc>
                <a:spcBef>
                  <a:spcPts val="600"/>
                </a:spcBef>
                <a:defRPr/>
              </a:pPr>
              <a:r>
                <a:rPr lang="en-US" sz="1600" kern="1200">
                  <a:solidFill>
                    <a:prstClr val="black"/>
                  </a:solidFill>
                  <a:uFillTx/>
                  <a:ea typeface="Times New Roman" panose="02020603050405020304" pitchFamily="18" charset="0"/>
                </a:rPr>
                <a:t>Evaluate impact of faster, accurate estimates and smoother claims processing.</a:t>
              </a:r>
            </a:p>
          </p:txBody>
        </p:sp>
        <p:sp>
          <p:nvSpPr>
            <p:cNvPr id="136" name="TextBox 135">
              <a:extLst>
                <a:ext uri="{FF2B5EF4-FFF2-40B4-BE49-F238E27FC236}">
                  <a16:creationId xmlns:a16="http://schemas.microsoft.com/office/drawing/2014/main" id="{21B4378F-3B3A-C9AB-9517-52C7D68BA0AE}"/>
                </a:ext>
              </a:extLst>
            </p:cNvPr>
            <p:cNvSpPr txBox="1">
              <a:spLocks/>
            </p:cNvSpPr>
            <p:nvPr/>
          </p:nvSpPr>
          <p:spPr>
            <a:xfrm>
              <a:off x="11844907" y="10788118"/>
              <a:ext cx="2734846" cy="1461939"/>
            </a:xfrm>
            <a:prstGeom prst="rect">
              <a:avLst/>
            </a:prstGeom>
            <a:noFill/>
            <a:ln>
              <a:noFill/>
            </a:ln>
          </p:spPr>
          <p:txBody>
            <a:bodyPr wrap="square" lIns="36000" rIns="36000" rtlCol="0">
              <a:spAutoFit/>
            </a:bodyPr>
            <a:lstStyle/>
            <a:p>
              <a:pPr marR="0" algn="ctr" defTabSz="457200" hangingPunct="1">
                <a:lnSpc>
                  <a:spcPct val="100000"/>
                </a:lnSpc>
                <a:defRPr/>
              </a:pPr>
              <a:r>
                <a:rPr lang="en-US" sz="1800" b="1" kern="1200">
                  <a:solidFill>
                    <a:srgbClr val="0E176D"/>
                  </a:solidFill>
                  <a:uFillTx/>
                  <a:ea typeface="Times New Roman" panose="02020603050405020304" pitchFamily="18" charset="0"/>
                </a:rPr>
                <a:t>Improved Repair</a:t>
              </a:r>
              <a:br>
                <a:rPr lang="en-US" sz="1800" b="1" kern="1200">
                  <a:solidFill>
                    <a:srgbClr val="0E176D"/>
                  </a:solidFill>
                  <a:uFillTx/>
                  <a:ea typeface="Times New Roman" panose="02020603050405020304" pitchFamily="18" charset="0"/>
                </a:rPr>
              </a:br>
              <a:r>
                <a:rPr lang="en-US" sz="1800" b="1" kern="1200">
                  <a:solidFill>
                    <a:srgbClr val="0E176D"/>
                  </a:solidFill>
                  <a:uFillTx/>
                  <a:ea typeface="Times New Roman" panose="02020603050405020304" pitchFamily="18" charset="0"/>
                </a:rPr>
                <a:t>Center Throughput </a:t>
              </a:r>
            </a:p>
            <a:p>
              <a:pPr marR="0" algn="ctr" defTabSz="457200" hangingPunct="1">
                <a:lnSpc>
                  <a:spcPct val="100000"/>
                </a:lnSpc>
                <a:spcBef>
                  <a:spcPts val="600"/>
                </a:spcBef>
                <a:defRPr/>
              </a:pPr>
              <a:r>
                <a:rPr lang="en-US" sz="1600" kern="1200">
                  <a:solidFill>
                    <a:prstClr val="black"/>
                  </a:solidFill>
                  <a:uFillTx/>
                  <a:ea typeface="Times New Roman" panose="02020603050405020304" pitchFamily="18" charset="0"/>
                </a:rPr>
                <a:t>Assess increase in repairs per unit time from streamlined estimation.</a:t>
              </a:r>
            </a:p>
          </p:txBody>
        </p:sp>
        <p:grpSp>
          <p:nvGrpSpPr>
            <p:cNvPr id="137" name="Graphic 3">
              <a:extLst>
                <a:ext uri="{FF2B5EF4-FFF2-40B4-BE49-F238E27FC236}">
                  <a16:creationId xmlns:a16="http://schemas.microsoft.com/office/drawing/2014/main" id="{A2C7F50B-3672-9A4F-6A2C-F25C616C1A07}"/>
                </a:ext>
              </a:extLst>
            </p:cNvPr>
            <p:cNvGrpSpPr>
              <a:grpSpLocks noChangeAspect="1"/>
            </p:cNvGrpSpPr>
            <p:nvPr/>
          </p:nvGrpSpPr>
          <p:grpSpPr>
            <a:xfrm>
              <a:off x="12907799" y="10147167"/>
              <a:ext cx="600461" cy="454455"/>
              <a:chOff x="5934075" y="3296126"/>
              <a:chExt cx="320040" cy="256223"/>
            </a:xfrm>
            <a:solidFill>
              <a:srgbClr val="416CF9"/>
            </a:solidFill>
          </p:grpSpPr>
          <p:sp>
            <p:nvSpPr>
              <p:cNvPr id="138" name="Freeform: Shape 137">
                <a:extLst>
                  <a:ext uri="{FF2B5EF4-FFF2-40B4-BE49-F238E27FC236}">
                    <a16:creationId xmlns:a16="http://schemas.microsoft.com/office/drawing/2014/main" id="{BD8414F0-8ECC-9EB3-8295-A0E3D0EF92C5}"/>
                  </a:ext>
                </a:extLst>
              </p:cNvPr>
              <p:cNvSpPr/>
              <p:nvPr/>
            </p:nvSpPr>
            <p:spPr>
              <a:xfrm>
                <a:off x="6120765" y="3381851"/>
                <a:ext cx="133350" cy="85725"/>
              </a:xfrm>
              <a:custGeom>
                <a:avLst/>
                <a:gdLst>
                  <a:gd name="connsiteX0" fmla="*/ 136208 w 133350"/>
                  <a:gd name="connsiteY0" fmla="*/ 50006 h 85725"/>
                  <a:gd name="connsiteX1" fmla="*/ 137160 w 133350"/>
                  <a:gd name="connsiteY1" fmla="*/ 49054 h 85725"/>
                  <a:gd name="connsiteX2" fmla="*/ 137160 w 133350"/>
                  <a:gd name="connsiteY2" fmla="*/ 45244 h 85725"/>
                  <a:gd name="connsiteX3" fmla="*/ 136208 w 133350"/>
                  <a:gd name="connsiteY3" fmla="*/ 43339 h 85725"/>
                  <a:gd name="connsiteX4" fmla="*/ 136208 w 133350"/>
                  <a:gd name="connsiteY4" fmla="*/ 43339 h 85725"/>
                  <a:gd name="connsiteX5" fmla="*/ 136208 w 133350"/>
                  <a:gd name="connsiteY5" fmla="*/ 43339 h 85725"/>
                  <a:gd name="connsiteX6" fmla="*/ 136208 w 133350"/>
                  <a:gd name="connsiteY6" fmla="*/ 43339 h 85725"/>
                  <a:gd name="connsiteX7" fmla="*/ 94298 w 133350"/>
                  <a:gd name="connsiteY7" fmla="*/ 1429 h 85725"/>
                  <a:gd name="connsiteX8" fmla="*/ 87630 w 133350"/>
                  <a:gd name="connsiteY8" fmla="*/ 1429 h 85725"/>
                  <a:gd name="connsiteX9" fmla="*/ 87630 w 133350"/>
                  <a:gd name="connsiteY9" fmla="*/ 8096 h 85725"/>
                  <a:gd name="connsiteX10" fmla="*/ 120967 w 133350"/>
                  <a:gd name="connsiteY10" fmla="*/ 42386 h 85725"/>
                  <a:gd name="connsiteX11" fmla="*/ 4763 w 133350"/>
                  <a:gd name="connsiteY11" fmla="*/ 42386 h 85725"/>
                  <a:gd name="connsiteX12" fmla="*/ 0 w 133350"/>
                  <a:gd name="connsiteY12" fmla="*/ 47149 h 85725"/>
                  <a:gd name="connsiteX13" fmla="*/ 4763 w 133350"/>
                  <a:gd name="connsiteY13" fmla="*/ 51911 h 85725"/>
                  <a:gd name="connsiteX14" fmla="*/ 120967 w 133350"/>
                  <a:gd name="connsiteY14" fmla="*/ 51911 h 85725"/>
                  <a:gd name="connsiteX15" fmla="*/ 87630 w 133350"/>
                  <a:gd name="connsiteY15" fmla="*/ 86201 h 85725"/>
                  <a:gd name="connsiteX16" fmla="*/ 87630 w 133350"/>
                  <a:gd name="connsiteY16" fmla="*/ 92869 h 85725"/>
                  <a:gd name="connsiteX17" fmla="*/ 91440 w 133350"/>
                  <a:gd name="connsiteY17" fmla="*/ 93821 h 85725"/>
                  <a:gd name="connsiteX18" fmla="*/ 95250 w 133350"/>
                  <a:gd name="connsiteY18" fmla="*/ 92869 h 85725"/>
                  <a:gd name="connsiteX19" fmla="*/ 136208 w 133350"/>
                  <a:gd name="connsiteY19" fmla="*/ 50006 h 85725"/>
                  <a:gd name="connsiteX20" fmla="*/ 136208 w 133350"/>
                  <a:gd name="connsiteY20" fmla="*/ 50006 h 85725"/>
                  <a:gd name="connsiteX21" fmla="*/ 136208 w 133350"/>
                  <a:gd name="connsiteY21" fmla="*/ 50006 h 85725"/>
                  <a:gd name="connsiteX22" fmla="*/ 136208 w 133350"/>
                  <a:gd name="connsiteY22" fmla="*/ 5000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136208" y="50006"/>
                    </a:moveTo>
                    <a:cubicBezTo>
                      <a:pt x="136208" y="50006"/>
                      <a:pt x="137160" y="49054"/>
                      <a:pt x="137160" y="49054"/>
                    </a:cubicBezTo>
                    <a:cubicBezTo>
                      <a:pt x="138112" y="48101"/>
                      <a:pt x="138112" y="46196"/>
                      <a:pt x="137160" y="45244"/>
                    </a:cubicBezTo>
                    <a:cubicBezTo>
                      <a:pt x="137160" y="44291"/>
                      <a:pt x="136208" y="44291"/>
                      <a:pt x="136208" y="43339"/>
                    </a:cubicBezTo>
                    <a:cubicBezTo>
                      <a:pt x="136208" y="43339"/>
                      <a:pt x="136208" y="43339"/>
                      <a:pt x="136208" y="43339"/>
                    </a:cubicBezTo>
                    <a:lnTo>
                      <a:pt x="136208" y="43339"/>
                    </a:lnTo>
                    <a:cubicBezTo>
                      <a:pt x="136208" y="43339"/>
                      <a:pt x="136208" y="43339"/>
                      <a:pt x="136208" y="43339"/>
                    </a:cubicBezTo>
                    <a:lnTo>
                      <a:pt x="94298" y="1429"/>
                    </a:lnTo>
                    <a:cubicBezTo>
                      <a:pt x="92392" y="-476"/>
                      <a:pt x="89535" y="-476"/>
                      <a:pt x="87630" y="1429"/>
                    </a:cubicBezTo>
                    <a:cubicBezTo>
                      <a:pt x="85725" y="3334"/>
                      <a:pt x="85725" y="6191"/>
                      <a:pt x="87630" y="8096"/>
                    </a:cubicBezTo>
                    <a:lnTo>
                      <a:pt x="120967" y="42386"/>
                    </a:lnTo>
                    <a:lnTo>
                      <a:pt x="4763" y="42386"/>
                    </a:lnTo>
                    <a:cubicBezTo>
                      <a:pt x="1905" y="42386"/>
                      <a:pt x="0" y="44291"/>
                      <a:pt x="0" y="47149"/>
                    </a:cubicBezTo>
                    <a:cubicBezTo>
                      <a:pt x="0" y="50006"/>
                      <a:pt x="1905" y="51911"/>
                      <a:pt x="4763" y="51911"/>
                    </a:cubicBezTo>
                    <a:lnTo>
                      <a:pt x="120967" y="51911"/>
                    </a:lnTo>
                    <a:lnTo>
                      <a:pt x="87630" y="86201"/>
                    </a:lnTo>
                    <a:cubicBezTo>
                      <a:pt x="85725" y="88106"/>
                      <a:pt x="85725" y="90964"/>
                      <a:pt x="87630" y="92869"/>
                    </a:cubicBezTo>
                    <a:cubicBezTo>
                      <a:pt x="88582" y="93821"/>
                      <a:pt x="89535" y="93821"/>
                      <a:pt x="91440" y="93821"/>
                    </a:cubicBezTo>
                    <a:cubicBezTo>
                      <a:pt x="92392" y="93821"/>
                      <a:pt x="94298" y="93821"/>
                      <a:pt x="95250" y="92869"/>
                    </a:cubicBezTo>
                    <a:lnTo>
                      <a:pt x="136208" y="50006"/>
                    </a:lnTo>
                    <a:cubicBezTo>
                      <a:pt x="136208" y="50959"/>
                      <a:pt x="136208" y="50959"/>
                      <a:pt x="136208" y="50006"/>
                    </a:cubicBezTo>
                    <a:lnTo>
                      <a:pt x="136208" y="50006"/>
                    </a:lnTo>
                    <a:cubicBezTo>
                      <a:pt x="136208" y="50006"/>
                      <a:pt x="136208" y="50006"/>
                      <a:pt x="136208" y="50006"/>
                    </a:cubicBezTo>
                    <a:close/>
                  </a:path>
                </a:pathLst>
              </a:custGeom>
              <a:grpFill/>
              <a:ln w="1905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16CF9"/>
                  </a:solidFill>
                  <a:effectLst/>
                  <a:uLnTx/>
                  <a:uFill>
                    <a:solidFill>
                      <a:srgbClr val="F7580E">
                        <a:lumOff val="-57413"/>
                      </a:srgbClr>
                    </a:solidFill>
                  </a:uFill>
                </a:endParaRPr>
              </a:p>
            </p:txBody>
          </p:sp>
          <p:sp>
            <p:nvSpPr>
              <p:cNvPr id="139" name="Freeform: Shape 138">
                <a:extLst>
                  <a:ext uri="{FF2B5EF4-FFF2-40B4-BE49-F238E27FC236}">
                    <a16:creationId xmlns:a16="http://schemas.microsoft.com/office/drawing/2014/main" id="{11D04032-9215-47BF-E593-E196009745EB}"/>
                  </a:ext>
                </a:extLst>
              </p:cNvPr>
              <p:cNvSpPr/>
              <p:nvPr/>
            </p:nvSpPr>
            <p:spPr>
              <a:xfrm>
                <a:off x="5934075" y="3381851"/>
                <a:ext cx="133350" cy="85725"/>
              </a:xfrm>
              <a:custGeom>
                <a:avLst/>
                <a:gdLst>
                  <a:gd name="connsiteX0" fmla="*/ 86678 w 133350"/>
                  <a:gd name="connsiteY0" fmla="*/ 92869 h 85725"/>
                  <a:gd name="connsiteX1" fmla="*/ 90488 w 133350"/>
                  <a:gd name="connsiteY1" fmla="*/ 93821 h 85725"/>
                  <a:gd name="connsiteX2" fmla="*/ 94298 w 133350"/>
                  <a:gd name="connsiteY2" fmla="*/ 92869 h 85725"/>
                  <a:gd name="connsiteX3" fmla="*/ 136208 w 133350"/>
                  <a:gd name="connsiteY3" fmla="*/ 50959 h 85725"/>
                  <a:gd name="connsiteX4" fmla="*/ 136208 w 133350"/>
                  <a:gd name="connsiteY4" fmla="*/ 50959 h 85725"/>
                  <a:gd name="connsiteX5" fmla="*/ 136208 w 133350"/>
                  <a:gd name="connsiteY5" fmla="*/ 50959 h 85725"/>
                  <a:gd name="connsiteX6" fmla="*/ 136208 w 133350"/>
                  <a:gd name="connsiteY6" fmla="*/ 50959 h 85725"/>
                  <a:gd name="connsiteX7" fmla="*/ 137160 w 133350"/>
                  <a:gd name="connsiteY7" fmla="*/ 50006 h 85725"/>
                  <a:gd name="connsiteX8" fmla="*/ 137160 w 133350"/>
                  <a:gd name="connsiteY8" fmla="*/ 46196 h 85725"/>
                  <a:gd name="connsiteX9" fmla="*/ 136208 w 133350"/>
                  <a:gd name="connsiteY9" fmla="*/ 44291 h 85725"/>
                  <a:gd name="connsiteX10" fmla="*/ 136208 w 133350"/>
                  <a:gd name="connsiteY10" fmla="*/ 44291 h 85725"/>
                  <a:gd name="connsiteX11" fmla="*/ 136208 w 133350"/>
                  <a:gd name="connsiteY11" fmla="*/ 44291 h 85725"/>
                  <a:gd name="connsiteX12" fmla="*/ 136208 w 133350"/>
                  <a:gd name="connsiteY12" fmla="*/ 44291 h 85725"/>
                  <a:gd name="connsiteX13" fmla="*/ 93345 w 133350"/>
                  <a:gd name="connsiteY13" fmla="*/ 1429 h 85725"/>
                  <a:gd name="connsiteX14" fmla="*/ 86678 w 133350"/>
                  <a:gd name="connsiteY14" fmla="*/ 1429 h 85725"/>
                  <a:gd name="connsiteX15" fmla="*/ 86678 w 133350"/>
                  <a:gd name="connsiteY15" fmla="*/ 8096 h 85725"/>
                  <a:gd name="connsiteX16" fmla="*/ 120015 w 133350"/>
                  <a:gd name="connsiteY16" fmla="*/ 42386 h 85725"/>
                  <a:gd name="connsiteX17" fmla="*/ 4763 w 133350"/>
                  <a:gd name="connsiteY17" fmla="*/ 42386 h 85725"/>
                  <a:gd name="connsiteX18" fmla="*/ 0 w 133350"/>
                  <a:gd name="connsiteY18" fmla="*/ 47149 h 85725"/>
                  <a:gd name="connsiteX19" fmla="*/ 4763 w 133350"/>
                  <a:gd name="connsiteY19" fmla="*/ 51911 h 85725"/>
                  <a:gd name="connsiteX20" fmla="*/ 120968 w 133350"/>
                  <a:gd name="connsiteY20" fmla="*/ 51911 h 85725"/>
                  <a:gd name="connsiteX21" fmla="*/ 87630 w 133350"/>
                  <a:gd name="connsiteY21" fmla="*/ 86201 h 85725"/>
                  <a:gd name="connsiteX22" fmla="*/ 86678 w 133350"/>
                  <a:gd name="connsiteY22" fmla="*/ 9286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86678" y="92869"/>
                    </a:moveTo>
                    <a:cubicBezTo>
                      <a:pt x="87630" y="93821"/>
                      <a:pt x="88583" y="93821"/>
                      <a:pt x="90488" y="93821"/>
                    </a:cubicBezTo>
                    <a:cubicBezTo>
                      <a:pt x="91440" y="93821"/>
                      <a:pt x="93345" y="93821"/>
                      <a:pt x="94298" y="92869"/>
                    </a:cubicBezTo>
                    <a:lnTo>
                      <a:pt x="136208" y="50959"/>
                    </a:lnTo>
                    <a:cubicBezTo>
                      <a:pt x="136208" y="50959"/>
                      <a:pt x="136208" y="50959"/>
                      <a:pt x="136208" y="50959"/>
                    </a:cubicBezTo>
                    <a:lnTo>
                      <a:pt x="136208" y="50959"/>
                    </a:lnTo>
                    <a:cubicBezTo>
                      <a:pt x="136208" y="50959"/>
                      <a:pt x="136208" y="50959"/>
                      <a:pt x="136208" y="50959"/>
                    </a:cubicBezTo>
                    <a:cubicBezTo>
                      <a:pt x="136208" y="50959"/>
                      <a:pt x="137160" y="50006"/>
                      <a:pt x="137160" y="50006"/>
                    </a:cubicBezTo>
                    <a:cubicBezTo>
                      <a:pt x="138113" y="49054"/>
                      <a:pt x="138113" y="47149"/>
                      <a:pt x="137160" y="46196"/>
                    </a:cubicBezTo>
                    <a:cubicBezTo>
                      <a:pt x="137160" y="45244"/>
                      <a:pt x="136208" y="45244"/>
                      <a:pt x="136208" y="44291"/>
                    </a:cubicBezTo>
                    <a:cubicBezTo>
                      <a:pt x="136208" y="44291"/>
                      <a:pt x="136208" y="44291"/>
                      <a:pt x="136208" y="44291"/>
                    </a:cubicBezTo>
                    <a:lnTo>
                      <a:pt x="136208" y="44291"/>
                    </a:lnTo>
                    <a:cubicBezTo>
                      <a:pt x="136208" y="44291"/>
                      <a:pt x="136208" y="44291"/>
                      <a:pt x="136208" y="44291"/>
                    </a:cubicBezTo>
                    <a:lnTo>
                      <a:pt x="93345" y="1429"/>
                    </a:lnTo>
                    <a:cubicBezTo>
                      <a:pt x="91440" y="-476"/>
                      <a:pt x="88583" y="-476"/>
                      <a:pt x="86678" y="1429"/>
                    </a:cubicBezTo>
                    <a:cubicBezTo>
                      <a:pt x="84773" y="3334"/>
                      <a:pt x="84773" y="6191"/>
                      <a:pt x="86678" y="8096"/>
                    </a:cubicBezTo>
                    <a:lnTo>
                      <a:pt x="120015" y="42386"/>
                    </a:lnTo>
                    <a:lnTo>
                      <a:pt x="4763" y="42386"/>
                    </a:lnTo>
                    <a:cubicBezTo>
                      <a:pt x="1905" y="42386"/>
                      <a:pt x="0" y="44291"/>
                      <a:pt x="0" y="47149"/>
                    </a:cubicBezTo>
                    <a:cubicBezTo>
                      <a:pt x="0" y="50006"/>
                      <a:pt x="1905" y="51911"/>
                      <a:pt x="4763" y="51911"/>
                    </a:cubicBezTo>
                    <a:lnTo>
                      <a:pt x="120968" y="51911"/>
                    </a:lnTo>
                    <a:lnTo>
                      <a:pt x="87630" y="86201"/>
                    </a:lnTo>
                    <a:cubicBezTo>
                      <a:pt x="84773" y="88106"/>
                      <a:pt x="84773" y="90964"/>
                      <a:pt x="86678" y="92869"/>
                    </a:cubicBezTo>
                    <a:close/>
                  </a:path>
                </a:pathLst>
              </a:custGeom>
              <a:grpFill/>
              <a:ln w="1905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16CF9"/>
                  </a:solidFill>
                  <a:effectLst/>
                  <a:uLnTx/>
                  <a:uFill>
                    <a:solidFill>
                      <a:srgbClr val="F7580E">
                        <a:lumOff val="-57413"/>
                      </a:srgbClr>
                    </a:solidFill>
                  </a:uFill>
                </a:endParaRPr>
              </a:p>
            </p:txBody>
          </p:sp>
          <p:sp>
            <p:nvSpPr>
              <p:cNvPr id="140" name="Freeform: Shape 139">
                <a:extLst>
                  <a:ext uri="{FF2B5EF4-FFF2-40B4-BE49-F238E27FC236}">
                    <a16:creationId xmlns:a16="http://schemas.microsoft.com/office/drawing/2014/main" id="{88A3E1E2-A80B-E7E4-1B69-85B959BAD6DB}"/>
                  </a:ext>
                </a:extLst>
              </p:cNvPr>
              <p:cNvSpPr/>
              <p:nvPr/>
            </p:nvSpPr>
            <p:spPr>
              <a:xfrm>
                <a:off x="6019800" y="3296126"/>
                <a:ext cx="133350" cy="85725"/>
              </a:xfrm>
              <a:custGeom>
                <a:avLst/>
                <a:gdLst>
                  <a:gd name="connsiteX0" fmla="*/ 4763 w 133350"/>
                  <a:gd name="connsiteY0" fmla="*/ 50959 h 85725"/>
                  <a:gd name="connsiteX1" fmla="*/ 120968 w 133350"/>
                  <a:gd name="connsiteY1" fmla="*/ 50959 h 85725"/>
                  <a:gd name="connsiteX2" fmla="*/ 86678 w 133350"/>
                  <a:gd name="connsiteY2" fmla="*/ 85249 h 85725"/>
                  <a:gd name="connsiteX3" fmla="*/ 86678 w 133350"/>
                  <a:gd name="connsiteY3" fmla="*/ 91916 h 85725"/>
                  <a:gd name="connsiteX4" fmla="*/ 90488 w 133350"/>
                  <a:gd name="connsiteY4" fmla="*/ 92869 h 85725"/>
                  <a:gd name="connsiteX5" fmla="*/ 94298 w 133350"/>
                  <a:gd name="connsiteY5" fmla="*/ 91916 h 85725"/>
                  <a:gd name="connsiteX6" fmla="*/ 136208 w 133350"/>
                  <a:gd name="connsiteY6" fmla="*/ 50006 h 85725"/>
                  <a:gd name="connsiteX7" fmla="*/ 136208 w 133350"/>
                  <a:gd name="connsiteY7" fmla="*/ 50006 h 85725"/>
                  <a:gd name="connsiteX8" fmla="*/ 136208 w 133350"/>
                  <a:gd name="connsiteY8" fmla="*/ 50006 h 85725"/>
                  <a:gd name="connsiteX9" fmla="*/ 136208 w 133350"/>
                  <a:gd name="connsiteY9" fmla="*/ 50006 h 85725"/>
                  <a:gd name="connsiteX10" fmla="*/ 137160 w 133350"/>
                  <a:gd name="connsiteY10" fmla="*/ 49054 h 85725"/>
                  <a:gd name="connsiteX11" fmla="*/ 137160 w 133350"/>
                  <a:gd name="connsiteY11" fmla="*/ 45244 h 85725"/>
                  <a:gd name="connsiteX12" fmla="*/ 136208 w 133350"/>
                  <a:gd name="connsiteY12" fmla="*/ 43339 h 85725"/>
                  <a:gd name="connsiteX13" fmla="*/ 136208 w 133350"/>
                  <a:gd name="connsiteY13" fmla="*/ 43339 h 85725"/>
                  <a:gd name="connsiteX14" fmla="*/ 136208 w 133350"/>
                  <a:gd name="connsiteY14" fmla="*/ 43339 h 85725"/>
                  <a:gd name="connsiteX15" fmla="*/ 136208 w 133350"/>
                  <a:gd name="connsiteY15" fmla="*/ 43339 h 85725"/>
                  <a:gd name="connsiteX16" fmla="*/ 94298 w 133350"/>
                  <a:gd name="connsiteY16" fmla="*/ 1429 h 85725"/>
                  <a:gd name="connsiteX17" fmla="*/ 87630 w 133350"/>
                  <a:gd name="connsiteY17" fmla="*/ 1429 h 85725"/>
                  <a:gd name="connsiteX18" fmla="*/ 87630 w 133350"/>
                  <a:gd name="connsiteY18" fmla="*/ 8096 h 85725"/>
                  <a:gd name="connsiteX19" fmla="*/ 120968 w 133350"/>
                  <a:gd name="connsiteY19" fmla="*/ 42386 h 85725"/>
                  <a:gd name="connsiteX20" fmla="*/ 4763 w 133350"/>
                  <a:gd name="connsiteY20" fmla="*/ 42386 h 85725"/>
                  <a:gd name="connsiteX21" fmla="*/ 0 w 133350"/>
                  <a:gd name="connsiteY21" fmla="*/ 46196 h 85725"/>
                  <a:gd name="connsiteX22" fmla="*/ 4763 w 133350"/>
                  <a:gd name="connsiteY22" fmla="*/ 5095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4763" y="50959"/>
                    </a:moveTo>
                    <a:lnTo>
                      <a:pt x="120968" y="50959"/>
                    </a:lnTo>
                    <a:lnTo>
                      <a:pt x="86678" y="85249"/>
                    </a:lnTo>
                    <a:cubicBezTo>
                      <a:pt x="84773" y="87154"/>
                      <a:pt x="84773" y="90011"/>
                      <a:pt x="86678" y="91916"/>
                    </a:cubicBezTo>
                    <a:cubicBezTo>
                      <a:pt x="87630" y="92869"/>
                      <a:pt x="88582" y="92869"/>
                      <a:pt x="90488" y="92869"/>
                    </a:cubicBezTo>
                    <a:cubicBezTo>
                      <a:pt x="91440" y="92869"/>
                      <a:pt x="93345" y="92869"/>
                      <a:pt x="94298" y="91916"/>
                    </a:cubicBezTo>
                    <a:lnTo>
                      <a:pt x="136208" y="50006"/>
                    </a:lnTo>
                    <a:cubicBezTo>
                      <a:pt x="136208" y="50006"/>
                      <a:pt x="136208" y="50006"/>
                      <a:pt x="136208" y="50006"/>
                    </a:cubicBezTo>
                    <a:lnTo>
                      <a:pt x="136208" y="50006"/>
                    </a:lnTo>
                    <a:cubicBezTo>
                      <a:pt x="136208" y="50006"/>
                      <a:pt x="136208" y="50006"/>
                      <a:pt x="136208" y="50006"/>
                    </a:cubicBezTo>
                    <a:cubicBezTo>
                      <a:pt x="136208" y="50006"/>
                      <a:pt x="137160" y="49054"/>
                      <a:pt x="137160" y="49054"/>
                    </a:cubicBezTo>
                    <a:cubicBezTo>
                      <a:pt x="138113" y="48101"/>
                      <a:pt x="138113" y="46196"/>
                      <a:pt x="137160" y="45244"/>
                    </a:cubicBezTo>
                    <a:cubicBezTo>
                      <a:pt x="137160" y="44291"/>
                      <a:pt x="136208" y="44291"/>
                      <a:pt x="136208" y="43339"/>
                    </a:cubicBezTo>
                    <a:cubicBezTo>
                      <a:pt x="136208" y="43339"/>
                      <a:pt x="136208" y="43339"/>
                      <a:pt x="136208" y="43339"/>
                    </a:cubicBezTo>
                    <a:lnTo>
                      <a:pt x="136208" y="43339"/>
                    </a:lnTo>
                    <a:cubicBezTo>
                      <a:pt x="136208" y="43339"/>
                      <a:pt x="136208" y="43339"/>
                      <a:pt x="136208" y="43339"/>
                    </a:cubicBezTo>
                    <a:lnTo>
                      <a:pt x="94298" y="1429"/>
                    </a:lnTo>
                    <a:cubicBezTo>
                      <a:pt x="92393" y="-476"/>
                      <a:pt x="89535" y="-476"/>
                      <a:pt x="87630" y="1429"/>
                    </a:cubicBezTo>
                    <a:cubicBezTo>
                      <a:pt x="85725" y="3334"/>
                      <a:pt x="85725" y="6191"/>
                      <a:pt x="87630" y="8096"/>
                    </a:cubicBezTo>
                    <a:lnTo>
                      <a:pt x="120968" y="42386"/>
                    </a:lnTo>
                    <a:lnTo>
                      <a:pt x="4763" y="42386"/>
                    </a:lnTo>
                    <a:cubicBezTo>
                      <a:pt x="2858" y="41434"/>
                      <a:pt x="0" y="43339"/>
                      <a:pt x="0" y="46196"/>
                    </a:cubicBezTo>
                    <a:cubicBezTo>
                      <a:pt x="0" y="49054"/>
                      <a:pt x="2858" y="50959"/>
                      <a:pt x="4763" y="50959"/>
                    </a:cubicBezTo>
                    <a:close/>
                  </a:path>
                </a:pathLst>
              </a:custGeom>
              <a:grpFill/>
              <a:ln w="1905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16CF9"/>
                  </a:solidFill>
                  <a:effectLst/>
                  <a:uLnTx/>
                  <a:uFill>
                    <a:solidFill>
                      <a:srgbClr val="F7580E">
                        <a:lumOff val="-57413"/>
                      </a:srgbClr>
                    </a:solidFill>
                  </a:uFill>
                </a:endParaRPr>
              </a:p>
            </p:txBody>
          </p:sp>
          <p:sp>
            <p:nvSpPr>
              <p:cNvPr id="141" name="Freeform: Shape 140">
                <a:extLst>
                  <a:ext uri="{FF2B5EF4-FFF2-40B4-BE49-F238E27FC236}">
                    <a16:creationId xmlns:a16="http://schemas.microsoft.com/office/drawing/2014/main" id="{43A30C0B-70FC-ACBE-A39F-EF50ECAFC5C9}"/>
                  </a:ext>
                </a:extLst>
              </p:cNvPr>
              <p:cNvSpPr/>
              <p:nvPr/>
            </p:nvSpPr>
            <p:spPr>
              <a:xfrm>
                <a:off x="6019800" y="3466624"/>
                <a:ext cx="133350" cy="85725"/>
              </a:xfrm>
              <a:custGeom>
                <a:avLst/>
                <a:gdLst>
                  <a:gd name="connsiteX0" fmla="*/ 136208 w 133350"/>
                  <a:gd name="connsiteY0" fmla="*/ 45244 h 85725"/>
                  <a:gd name="connsiteX1" fmla="*/ 135255 w 133350"/>
                  <a:gd name="connsiteY1" fmla="*/ 43339 h 85725"/>
                  <a:gd name="connsiteX2" fmla="*/ 135255 w 133350"/>
                  <a:gd name="connsiteY2" fmla="*/ 43339 h 85725"/>
                  <a:gd name="connsiteX3" fmla="*/ 135255 w 133350"/>
                  <a:gd name="connsiteY3" fmla="*/ 43339 h 85725"/>
                  <a:gd name="connsiteX4" fmla="*/ 135255 w 133350"/>
                  <a:gd name="connsiteY4" fmla="*/ 43339 h 85725"/>
                  <a:gd name="connsiteX5" fmla="*/ 93345 w 133350"/>
                  <a:gd name="connsiteY5" fmla="*/ 1429 h 85725"/>
                  <a:gd name="connsiteX6" fmla="*/ 86678 w 133350"/>
                  <a:gd name="connsiteY6" fmla="*/ 1429 h 85725"/>
                  <a:gd name="connsiteX7" fmla="*/ 86678 w 133350"/>
                  <a:gd name="connsiteY7" fmla="*/ 8096 h 85725"/>
                  <a:gd name="connsiteX8" fmla="*/ 120015 w 133350"/>
                  <a:gd name="connsiteY8" fmla="*/ 42386 h 85725"/>
                  <a:gd name="connsiteX9" fmla="*/ 4763 w 133350"/>
                  <a:gd name="connsiteY9" fmla="*/ 42386 h 85725"/>
                  <a:gd name="connsiteX10" fmla="*/ 0 w 133350"/>
                  <a:gd name="connsiteY10" fmla="*/ 47149 h 85725"/>
                  <a:gd name="connsiteX11" fmla="*/ 4763 w 133350"/>
                  <a:gd name="connsiteY11" fmla="*/ 51911 h 85725"/>
                  <a:gd name="connsiteX12" fmla="*/ 120968 w 133350"/>
                  <a:gd name="connsiteY12" fmla="*/ 51911 h 85725"/>
                  <a:gd name="connsiteX13" fmla="*/ 87630 w 133350"/>
                  <a:gd name="connsiteY13" fmla="*/ 86201 h 85725"/>
                  <a:gd name="connsiteX14" fmla="*/ 87630 w 133350"/>
                  <a:gd name="connsiteY14" fmla="*/ 92869 h 85725"/>
                  <a:gd name="connsiteX15" fmla="*/ 91440 w 133350"/>
                  <a:gd name="connsiteY15" fmla="*/ 93821 h 85725"/>
                  <a:gd name="connsiteX16" fmla="*/ 95250 w 133350"/>
                  <a:gd name="connsiteY16" fmla="*/ 92869 h 85725"/>
                  <a:gd name="connsiteX17" fmla="*/ 137160 w 133350"/>
                  <a:gd name="connsiteY17" fmla="*/ 50959 h 85725"/>
                  <a:gd name="connsiteX18" fmla="*/ 137160 w 133350"/>
                  <a:gd name="connsiteY18" fmla="*/ 50959 h 85725"/>
                  <a:gd name="connsiteX19" fmla="*/ 137160 w 133350"/>
                  <a:gd name="connsiteY19" fmla="*/ 50959 h 85725"/>
                  <a:gd name="connsiteX20" fmla="*/ 137160 w 133350"/>
                  <a:gd name="connsiteY20" fmla="*/ 50959 h 85725"/>
                  <a:gd name="connsiteX21" fmla="*/ 138113 w 133350"/>
                  <a:gd name="connsiteY21" fmla="*/ 50006 h 85725"/>
                  <a:gd name="connsiteX22" fmla="*/ 136208 w 133350"/>
                  <a:gd name="connsiteY22" fmla="*/ 452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 h="85725">
                    <a:moveTo>
                      <a:pt x="136208" y="45244"/>
                    </a:moveTo>
                    <a:cubicBezTo>
                      <a:pt x="136208" y="44291"/>
                      <a:pt x="135255" y="44291"/>
                      <a:pt x="135255" y="43339"/>
                    </a:cubicBezTo>
                    <a:cubicBezTo>
                      <a:pt x="135255" y="43339"/>
                      <a:pt x="135255" y="43339"/>
                      <a:pt x="135255" y="43339"/>
                    </a:cubicBezTo>
                    <a:lnTo>
                      <a:pt x="135255" y="43339"/>
                    </a:lnTo>
                    <a:cubicBezTo>
                      <a:pt x="135255" y="43339"/>
                      <a:pt x="135255" y="43339"/>
                      <a:pt x="135255" y="43339"/>
                    </a:cubicBezTo>
                    <a:lnTo>
                      <a:pt x="93345" y="1429"/>
                    </a:lnTo>
                    <a:cubicBezTo>
                      <a:pt x="91440" y="-476"/>
                      <a:pt x="88582" y="-476"/>
                      <a:pt x="86678" y="1429"/>
                    </a:cubicBezTo>
                    <a:cubicBezTo>
                      <a:pt x="84773" y="3334"/>
                      <a:pt x="84773" y="6191"/>
                      <a:pt x="86678" y="8096"/>
                    </a:cubicBezTo>
                    <a:lnTo>
                      <a:pt x="120015" y="42386"/>
                    </a:lnTo>
                    <a:lnTo>
                      <a:pt x="4763" y="42386"/>
                    </a:lnTo>
                    <a:cubicBezTo>
                      <a:pt x="1905" y="42386"/>
                      <a:pt x="0" y="44291"/>
                      <a:pt x="0" y="47149"/>
                    </a:cubicBezTo>
                    <a:cubicBezTo>
                      <a:pt x="0" y="50006"/>
                      <a:pt x="1905" y="51911"/>
                      <a:pt x="4763" y="51911"/>
                    </a:cubicBezTo>
                    <a:lnTo>
                      <a:pt x="120968" y="51911"/>
                    </a:lnTo>
                    <a:lnTo>
                      <a:pt x="87630" y="86201"/>
                    </a:lnTo>
                    <a:cubicBezTo>
                      <a:pt x="85725" y="88106"/>
                      <a:pt x="85725" y="90964"/>
                      <a:pt x="87630" y="92869"/>
                    </a:cubicBezTo>
                    <a:cubicBezTo>
                      <a:pt x="88582" y="93821"/>
                      <a:pt x="89535" y="93821"/>
                      <a:pt x="91440" y="93821"/>
                    </a:cubicBezTo>
                    <a:cubicBezTo>
                      <a:pt x="92393" y="93821"/>
                      <a:pt x="94298" y="93821"/>
                      <a:pt x="95250" y="92869"/>
                    </a:cubicBezTo>
                    <a:lnTo>
                      <a:pt x="137160" y="50959"/>
                    </a:lnTo>
                    <a:cubicBezTo>
                      <a:pt x="137160" y="50959"/>
                      <a:pt x="137160" y="50959"/>
                      <a:pt x="137160" y="50959"/>
                    </a:cubicBezTo>
                    <a:lnTo>
                      <a:pt x="137160" y="50959"/>
                    </a:lnTo>
                    <a:cubicBezTo>
                      <a:pt x="137160" y="50959"/>
                      <a:pt x="137160" y="50959"/>
                      <a:pt x="137160" y="50959"/>
                    </a:cubicBezTo>
                    <a:cubicBezTo>
                      <a:pt x="137160" y="50959"/>
                      <a:pt x="138113" y="50006"/>
                      <a:pt x="138113" y="50006"/>
                    </a:cubicBezTo>
                    <a:cubicBezTo>
                      <a:pt x="137160" y="47149"/>
                      <a:pt x="137160" y="46196"/>
                      <a:pt x="136208" y="45244"/>
                    </a:cubicBezTo>
                    <a:close/>
                  </a:path>
                </a:pathLst>
              </a:custGeom>
              <a:grpFill/>
              <a:ln w="1905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16CF9"/>
                  </a:solidFill>
                  <a:effectLst/>
                  <a:uLnTx/>
                  <a:uFill>
                    <a:solidFill>
                      <a:srgbClr val="F7580E">
                        <a:lumOff val="-57413"/>
                      </a:srgbClr>
                    </a:solidFill>
                  </a:uFill>
                </a:endParaRPr>
              </a:p>
            </p:txBody>
          </p:sp>
        </p:grpSp>
        <p:grpSp>
          <p:nvGrpSpPr>
            <p:cNvPr id="142" name="Graphic 2">
              <a:extLst>
                <a:ext uri="{FF2B5EF4-FFF2-40B4-BE49-F238E27FC236}">
                  <a16:creationId xmlns:a16="http://schemas.microsoft.com/office/drawing/2014/main" id="{6A119126-EB3D-083E-AA2C-21C8F24A8878}"/>
                </a:ext>
              </a:extLst>
            </p:cNvPr>
            <p:cNvGrpSpPr>
              <a:grpSpLocks noChangeAspect="1"/>
            </p:cNvGrpSpPr>
            <p:nvPr/>
          </p:nvGrpSpPr>
          <p:grpSpPr>
            <a:xfrm>
              <a:off x="15646544" y="10147154"/>
              <a:ext cx="508603" cy="495380"/>
              <a:chOff x="5864412" y="3152585"/>
              <a:chExt cx="449554" cy="463177"/>
            </a:xfrm>
            <a:solidFill>
              <a:srgbClr val="416CF9"/>
            </a:solidFill>
          </p:grpSpPr>
          <p:sp>
            <p:nvSpPr>
              <p:cNvPr id="143" name="Freeform: Shape 142">
                <a:extLst>
                  <a:ext uri="{FF2B5EF4-FFF2-40B4-BE49-F238E27FC236}">
                    <a16:creationId xmlns:a16="http://schemas.microsoft.com/office/drawing/2014/main" id="{32AF3395-CFE4-F285-8C26-EA857400624B}"/>
                  </a:ext>
                </a:extLst>
              </p:cNvPr>
              <p:cNvSpPr/>
              <p:nvPr/>
            </p:nvSpPr>
            <p:spPr>
              <a:xfrm>
                <a:off x="5864412" y="3152585"/>
                <a:ext cx="449554" cy="463177"/>
              </a:xfrm>
              <a:custGeom>
                <a:avLst/>
                <a:gdLst>
                  <a:gd name="connsiteX0" fmla="*/ 231588 w 449554"/>
                  <a:gd name="connsiteY0" fmla="*/ 1 h 463177"/>
                  <a:gd name="connsiteX1" fmla="*/ 34057 w 449554"/>
                  <a:gd name="connsiteY1" fmla="*/ 110755 h 463177"/>
                  <a:gd name="connsiteX2" fmla="*/ 34057 w 449554"/>
                  <a:gd name="connsiteY2" fmla="*/ 47681 h 463177"/>
                  <a:gd name="connsiteX3" fmla="*/ 27246 w 449554"/>
                  <a:gd name="connsiteY3" fmla="*/ 40869 h 463177"/>
                  <a:gd name="connsiteX4" fmla="*/ 20434 w 449554"/>
                  <a:gd name="connsiteY4" fmla="*/ 47681 h 463177"/>
                  <a:gd name="connsiteX5" fmla="*/ 20434 w 449554"/>
                  <a:gd name="connsiteY5" fmla="*/ 129418 h 463177"/>
                  <a:gd name="connsiteX6" fmla="*/ 27246 w 449554"/>
                  <a:gd name="connsiteY6" fmla="*/ 136229 h 463177"/>
                  <a:gd name="connsiteX7" fmla="*/ 108983 w 449554"/>
                  <a:gd name="connsiteY7" fmla="*/ 136229 h 463177"/>
                  <a:gd name="connsiteX8" fmla="*/ 115794 w 449554"/>
                  <a:gd name="connsiteY8" fmla="*/ 129418 h 463177"/>
                  <a:gd name="connsiteX9" fmla="*/ 108983 w 449554"/>
                  <a:gd name="connsiteY9" fmla="*/ 122607 h 463177"/>
                  <a:gd name="connsiteX10" fmla="*/ 42912 w 449554"/>
                  <a:gd name="connsiteY10" fmla="*/ 122607 h 463177"/>
                  <a:gd name="connsiteX11" fmla="*/ 340723 w 449554"/>
                  <a:gd name="connsiteY11" fmla="*/ 43064 h 463177"/>
                  <a:gd name="connsiteX12" fmla="*/ 420265 w 449554"/>
                  <a:gd name="connsiteY12" fmla="*/ 340875 h 463177"/>
                  <a:gd name="connsiteX13" fmla="*/ 122454 w 449554"/>
                  <a:gd name="connsiteY13" fmla="*/ 420417 h 463177"/>
                  <a:gd name="connsiteX14" fmla="*/ 13623 w 449554"/>
                  <a:gd name="connsiteY14" fmla="*/ 231589 h 463177"/>
                  <a:gd name="connsiteX15" fmla="*/ 6811 w 449554"/>
                  <a:gd name="connsiteY15" fmla="*/ 224778 h 463177"/>
                  <a:gd name="connsiteX16" fmla="*/ 0 w 449554"/>
                  <a:gd name="connsiteY16" fmla="*/ 231589 h 463177"/>
                  <a:gd name="connsiteX17" fmla="*/ 231588 w 449554"/>
                  <a:gd name="connsiteY17" fmla="*/ 463178 h 463177"/>
                  <a:gd name="connsiteX18" fmla="*/ 463177 w 449554"/>
                  <a:gd name="connsiteY18" fmla="*/ 231589 h 463177"/>
                  <a:gd name="connsiteX19" fmla="*/ 231588 w 449554"/>
                  <a:gd name="connsiteY19" fmla="*/ 1 h 46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9554" h="463177">
                    <a:moveTo>
                      <a:pt x="231588" y="1"/>
                    </a:moveTo>
                    <a:cubicBezTo>
                      <a:pt x="150891" y="-228"/>
                      <a:pt x="75957" y="41787"/>
                      <a:pt x="34057" y="110755"/>
                    </a:cubicBezTo>
                    <a:lnTo>
                      <a:pt x="34057" y="47681"/>
                    </a:lnTo>
                    <a:cubicBezTo>
                      <a:pt x="34057" y="43919"/>
                      <a:pt x="31008" y="40869"/>
                      <a:pt x="27246" y="40869"/>
                    </a:cubicBezTo>
                    <a:cubicBezTo>
                      <a:pt x="23484" y="40869"/>
                      <a:pt x="20434" y="43919"/>
                      <a:pt x="20434" y="47681"/>
                    </a:cubicBezTo>
                    <a:lnTo>
                      <a:pt x="20434" y="129418"/>
                    </a:lnTo>
                    <a:cubicBezTo>
                      <a:pt x="20434" y="133180"/>
                      <a:pt x="23484" y="136229"/>
                      <a:pt x="27246" y="136229"/>
                    </a:cubicBezTo>
                    <a:lnTo>
                      <a:pt x="108983" y="136229"/>
                    </a:lnTo>
                    <a:cubicBezTo>
                      <a:pt x="112745" y="136229"/>
                      <a:pt x="115794" y="133180"/>
                      <a:pt x="115794" y="129418"/>
                    </a:cubicBezTo>
                    <a:cubicBezTo>
                      <a:pt x="115794" y="125656"/>
                      <a:pt x="112745" y="122607"/>
                      <a:pt x="108983" y="122607"/>
                    </a:cubicBezTo>
                    <a:lnTo>
                      <a:pt x="42912" y="122607"/>
                    </a:lnTo>
                    <a:cubicBezTo>
                      <a:pt x="103185" y="18403"/>
                      <a:pt x="236519" y="-17209"/>
                      <a:pt x="340723" y="43064"/>
                    </a:cubicBezTo>
                    <a:cubicBezTo>
                      <a:pt x="444925" y="103337"/>
                      <a:pt x="480538" y="236671"/>
                      <a:pt x="420265" y="340875"/>
                    </a:cubicBezTo>
                    <a:cubicBezTo>
                      <a:pt x="359992" y="445077"/>
                      <a:pt x="226657" y="480690"/>
                      <a:pt x="122454" y="420417"/>
                    </a:cubicBezTo>
                    <a:cubicBezTo>
                      <a:pt x="55054" y="381431"/>
                      <a:pt x="13569" y="309452"/>
                      <a:pt x="13623" y="231589"/>
                    </a:cubicBezTo>
                    <a:cubicBezTo>
                      <a:pt x="13623" y="227828"/>
                      <a:pt x="10573" y="224778"/>
                      <a:pt x="6811" y="224778"/>
                    </a:cubicBezTo>
                    <a:cubicBezTo>
                      <a:pt x="3050" y="224778"/>
                      <a:pt x="0" y="227828"/>
                      <a:pt x="0" y="231589"/>
                    </a:cubicBezTo>
                    <a:cubicBezTo>
                      <a:pt x="0" y="359492"/>
                      <a:pt x="103686" y="463178"/>
                      <a:pt x="231588" y="463178"/>
                    </a:cubicBezTo>
                    <a:cubicBezTo>
                      <a:pt x="359491" y="463178"/>
                      <a:pt x="463177" y="359492"/>
                      <a:pt x="463177" y="231589"/>
                    </a:cubicBezTo>
                    <a:cubicBezTo>
                      <a:pt x="463177" y="103687"/>
                      <a:pt x="359491" y="1"/>
                      <a:pt x="231588" y="1"/>
                    </a:cubicBezTo>
                    <a:close/>
                  </a:path>
                </a:pathLst>
              </a:custGeom>
              <a:grpFill/>
              <a:ln w="2540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7580E">
                      <a:lumOff val="-57413"/>
                    </a:srgbClr>
                  </a:solidFill>
                  <a:effectLst/>
                  <a:uLnTx/>
                  <a:uFill>
                    <a:solidFill>
                      <a:srgbClr val="F7580E">
                        <a:lumOff val="-57413"/>
                      </a:srgbClr>
                    </a:solidFill>
                  </a:uFill>
                </a:endParaRPr>
              </a:p>
            </p:txBody>
          </p:sp>
          <p:sp>
            <p:nvSpPr>
              <p:cNvPr id="144" name="Freeform: Shape 143">
                <a:extLst>
                  <a:ext uri="{FF2B5EF4-FFF2-40B4-BE49-F238E27FC236}">
                    <a16:creationId xmlns:a16="http://schemas.microsoft.com/office/drawing/2014/main" id="{DF4F345D-03BA-9E1B-3976-0AC3DB577FD5}"/>
                  </a:ext>
                </a:extLst>
              </p:cNvPr>
              <p:cNvSpPr/>
              <p:nvPr/>
            </p:nvSpPr>
            <p:spPr>
              <a:xfrm>
                <a:off x="6089189" y="3193455"/>
                <a:ext cx="149851" cy="190720"/>
              </a:xfrm>
              <a:custGeom>
                <a:avLst/>
                <a:gdLst>
                  <a:gd name="connsiteX0" fmla="*/ 6811 w 149851"/>
                  <a:gd name="connsiteY0" fmla="*/ 0 h 190719"/>
                  <a:gd name="connsiteX1" fmla="*/ 0 w 149851"/>
                  <a:gd name="connsiteY1" fmla="*/ 6811 h 190719"/>
                  <a:gd name="connsiteX2" fmla="*/ 0 w 149851"/>
                  <a:gd name="connsiteY2" fmla="*/ 190720 h 190719"/>
                  <a:gd name="connsiteX3" fmla="*/ 6811 w 149851"/>
                  <a:gd name="connsiteY3" fmla="*/ 197531 h 190719"/>
                  <a:gd name="connsiteX4" fmla="*/ 149851 w 149851"/>
                  <a:gd name="connsiteY4" fmla="*/ 197531 h 190719"/>
                  <a:gd name="connsiteX5" fmla="*/ 156663 w 149851"/>
                  <a:gd name="connsiteY5" fmla="*/ 190720 h 190719"/>
                  <a:gd name="connsiteX6" fmla="*/ 149851 w 149851"/>
                  <a:gd name="connsiteY6" fmla="*/ 183909 h 190719"/>
                  <a:gd name="connsiteX7" fmla="*/ 13623 w 149851"/>
                  <a:gd name="connsiteY7" fmla="*/ 183909 h 190719"/>
                  <a:gd name="connsiteX8" fmla="*/ 13623 w 149851"/>
                  <a:gd name="connsiteY8" fmla="*/ 6811 h 190719"/>
                  <a:gd name="connsiteX9" fmla="*/ 6811 w 149851"/>
                  <a:gd name="connsiteY9" fmla="*/ 0 h 190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9851" h="190719">
                    <a:moveTo>
                      <a:pt x="6811" y="0"/>
                    </a:moveTo>
                    <a:cubicBezTo>
                      <a:pt x="3050" y="0"/>
                      <a:pt x="0" y="3050"/>
                      <a:pt x="0" y="6811"/>
                    </a:cubicBezTo>
                    <a:lnTo>
                      <a:pt x="0" y="190720"/>
                    </a:lnTo>
                    <a:cubicBezTo>
                      <a:pt x="0" y="194481"/>
                      <a:pt x="3050" y="197531"/>
                      <a:pt x="6811" y="197531"/>
                    </a:cubicBezTo>
                    <a:lnTo>
                      <a:pt x="149851" y="197531"/>
                    </a:lnTo>
                    <a:cubicBezTo>
                      <a:pt x="153613" y="197531"/>
                      <a:pt x="156663" y="194481"/>
                      <a:pt x="156663" y="190720"/>
                    </a:cubicBezTo>
                    <a:cubicBezTo>
                      <a:pt x="156663" y="186959"/>
                      <a:pt x="153613" y="183909"/>
                      <a:pt x="149851" y="183909"/>
                    </a:cubicBezTo>
                    <a:lnTo>
                      <a:pt x="13623" y="183909"/>
                    </a:lnTo>
                    <a:lnTo>
                      <a:pt x="13623" y="6811"/>
                    </a:lnTo>
                    <a:cubicBezTo>
                      <a:pt x="13623" y="3050"/>
                      <a:pt x="10573" y="0"/>
                      <a:pt x="6811" y="0"/>
                    </a:cubicBezTo>
                    <a:close/>
                  </a:path>
                </a:pathLst>
              </a:custGeom>
              <a:grpFill/>
              <a:ln w="2540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7580E">
                      <a:lumOff val="-57413"/>
                    </a:srgbClr>
                  </a:solidFill>
                  <a:effectLst/>
                  <a:uLnTx/>
                  <a:uFill>
                    <a:solidFill>
                      <a:srgbClr val="F7580E">
                        <a:lumOff val="-57413"/>
                      </a:srgbClr>
                    </a:solidFill>
                  </a:uFill>
                </a:endParaRPr>
              </a:p>
            </p:txBody>
          </p:sp>
        </p:grpSp>
        <p:grpSp>
          <p:nvGrpSpPr>
            <p:cNvPr id="145" name="Graphic 2">
              <a:extLst>
                <a:ext uri="{FF2B5EF4-FFF2-40B4-BE49-F238E27FC236}">
                  <a16:creationId xmlns:a16="http://schemas.microsoft.com/office/drawing/2014/main" id="{51C9F550-3383-7F59-752A-96C0F7988012}"/>
                </a:ext>
              </a:extLst>
            </p:cNvPr>
            <p:cNvGrpSpPr>
              <a:grpSpLocks noChangeAspect="1"/>
            </p:cNvGrpSpPr>
            <p:nvPr/>
          </p:nvGrpSpPr>
          <p:grpSpPr>
            <a:xfrm>
              <a:off x="18440868" y="10147154"/>
              <a:ext cx="594869" cy="496202"/>
              <a:chOff x="5841935" y="3159947"/>
              <a:chExt cx="507998" cy="448234"/>
            </a:xfrm>
            <a:solidFill>
              <a:srgbClr val="416CF9"/>
            </a:solidFill>
          </p:grpSpPr>
          <p:sp>
            <p:nvSpPr>
              <p:cNvPr id="146" name="Freeform: Shape 145">
                <a:extLst>
                  <a:ext uri="{FF2B5EF4-FFF2-40B4-BE49-F238E27FC236}">
                    <a16:creationId xmlns:a16="http://schemas.microsoft.com/office/drawing/2014/main" id="{9CDF35F2-8667-4F5C-93BC-F5DA9335923C}"/>
                  </a:ext>
                </a:extLst>
              </p:cNvPr>
              <p:cNvSpPr/>
              <p:nvPr/>
            </p:nvSpPr>
            <p:spPr>
              <a:xfrm>
                <a:off x="5841935" y="3159947"/>
                <a:ext cx="507998" cy="448234"/>
              </a:xfrm>
              <a:custGeom>
                <a:avLst/>
                <a:gdLst>
                  <a:gd name="connsiteX0" fmla="*/ 366273 w 507998"/>
                  <a:gd name="connsiteY0" fmla="*/ 448344 h 448234"/>
                  <a:gd name="connsiteX1" fmla="*/ 307405 w 507998"/>
                  <a:gd name="connsiteY1" fmla="*/ 448344 h 448234"/>
                  <a:gd name="connsiteX2" fmla="*/ 299934 w 507998"/>
                  <a:gd name="connsiteY2" fmla="*/ 440874 h 448234"/>
                  <a:gd name="connsiteX3" fmla="*/ 299934 w 507998"/>
                  <a:gd name="connsiteY3" fmla="*/ 400682 h 448234"/>
                  <a:gd name="connsiteX4" fmla="*/ 297992 w 507998"/>
                  <a:gd name="connsiteY4" fmla="*/ 395901 h 448234"/>
                  <a:gd name="connsiteX5" fmla="*/ 293958 w 507998"/>
                  <a:gd name="connsiteY5" fmla="*/ 394257 h 448234"/>
                  <a:gd name="connsiteX6" fmla="*/ 170544 w 507998"/>
                  <a:gd name="connsiteY6" fmla="*/ 394257 h 448234"/>
                  <a:gd name="connsiteX7" fmla="*/ 164867 w 507998"/>
                  <a:gd name="connsiteY7" fmla="*/ 400832 h 448234"/>
                  <a:gd name="connsiteX8" fmla="*/ 164867 w 507998"/>
                  <a:gd name="connsiteY8" fmla="*/ 440874 h 448234"/>
                  <a:gd name="connsiteX9" fmla="*/ 157396 w 507998"/>
                  <a:gd name="connsiteY9" fmla="*/ 448344 h 448234"/>
                  <a:gd name="connsiteX10" fmla="*/ 97632 w 507998"/>
                  <a:gd name="connsiteY10" fmla="*/ 448344 h 448234"/>
                  <a:gd name="connsiteX11" fmla="*/ 90161 w 507998"/>
                  <a:gd name="connsiteY11" fmla="*/ 440874 h 448234"/>
                  <a:gd name="connsiteX12" fmla="*/ 90161 w 507998"/>
                  <a:gd name="connsiteY12" fmla="*/ 384994 h 448234"/>
                  <a:gd name="connsiteX13" fmla="*/ 77312 w 507998"/>
                  <a:gd name="connsiteY13" fmla="*/ 365122 h 448234"/>
                  <a:gd name="connsiteX14" fmla="*/ 66 w 507998"/>
                  <a:gd name="connsiteY14" fmla="*/ 209286 h 448234"/>
                  <a:gd name="connsiteX15" fmla="*/ 128261 w 507998"/>
                  <a:gd name="connsiteY15" fmla="*/ 38210 h 448234"/>
                  <a:gd name="connsiteX16" fmla="*/ 335943 w 507998"/>
                  <a:gd name="connsiteY16" fmla="*/ 38210 h 448234"/>
                  <a:gd name="connsiteX17" fmla="*/ 349240 w 507998"/>
                  <a:gd name="connsiteY17" fmla="*/ 38210 h 448234"/>
                  <a:gd name="connsiteX18" fmla="*/ 379122 w 507998"/>
                  <a:gd name="connsiteY18" fmla="*/ 5489 h 448234"/>
                  <a:gd name="connsiteX19" fmla="*/ 396454 w 507998"/>
                  <a:gd name="connsiteY19" fmla="*/ 1156 h 448234"/>
                  <a:gd name="connsiteX20" fmla="*/ 406465 w 507998"/>
                  <a:gd name="connsiteY20" fmla="*/ 16097 h 448234"/>
                  <a:gd name="connsiteX21" fmla="*/ 406465 w 507998"/>
                  <a:gd name="connsiteY21" fmla="*/ 86769 h 448234"/>
                  <a:gd name="connsiteX22" fmla="*/ 413039 w 507998"/>
                  <a:gd name="connsiteY22" fmla="*/ 92895 h 448234"/>
                  <a:gd name="connsiteX23" fmla="*/ 448449 w 507998"/>
                  <a:gd name="connsiteY23" fmla="*/ 137718 h 448234"/>
                  <a:gd name="connsiteX24" fmla="*/ 463390 w 507998"/>
                  <a:gd name="connsiteY24" fmla="*/ 147430 h 448234"/>
                  <a:gd name="connsiteX25" fmla="*/ 478331 w 507998"/>
                  <a:gd name="connsiteY25" fmla="*/ 147430 h 448234"/>
                  <a:gd name="connsiteX26" fmla="*/ 508214 w 507998"/>
                  <a:gd name="connsiteY26" fmla="*/ 182093 h 448234"/>
                  <a:gd name="connsiteX27" fmla="*/ 495663 w 507998"/>
                  <a:gd name="connsiteY27" fmla="*/ 257994 h 448234"/>
                  <a:gd name="connsiteX28" fmla="*/ 472504 w 507998"/>
                  <a:gd name="connsiteY28" fmla="*/ 283992 h 448234"/>
                  <a:gd name="connsiteX29" fmla="*/ 461597 w 507998"/>
                  <a:gd name="connsiteY29" fmla="*/ 285337 h 448234"/>
                  <a:gd name="connsiteX30" fmla="*/ 452334 w 507998"/>
                  <a:gd name="connsiteY30" fmla="*/ 287130 h 448234"/>
                  <a:gd name="connsiteX31" fmla="*/ 448599 w 507998"/>
                  <a:gd name="connsiteY31" fmla="*/ 293853 h 448234"/>
                  <a:gd name="connsiteX32" fmla="*/ 447702 w 507998"/>
                  <a:gd name="connsiteY32" fmla="*/ 296094 h 448234"/>
                  <a:gd name="connsiteX33" fmla="*/ 386892 w 507998"/>
                  <a:gd name="connsiteY33" fmla="*/ 366019 h 448234"/>
                  <a:gd name="connsiteX34" fmla="*/ 381961 w 507998"/>
                  <a:gd name="connsiteY34" fmla="*/ 368708 h 448234"/>
                  <a:gd name="connsiteX35" fmla="*/ 373744 w 507998"/>
                  <a:gd name="connsiteY35" fmla="*/ 380661 h 448234"/>
                  <a:gd name="connsiteX36" fmla="*/ 373744 w 507998"/>
                  <a:gd name="connsiteY36" fmla="*/ 440874 h 448234"/>
                  <a:gd name="connsiteX37" fmla="*/ 371502 w 507998"/>
                  <a:gd name="connsiteY37" fmla="*/ 446253 h 448234"/>
                  <a:gd name="connsiteX38" fmla="*/ 366273 w 507998"/>
                  <a:gd name="connsiteY38" fmla="*/ 448344 h 448234"/>
                  <a:gd name="connsiteX39" fmla="*/ 314876 w 507998"/>
                  <a:gd name="connsiteY39" fmla="*/ 433403 h 448234"/>
                  <a:gd name="connsiteX40" fmla="*/ 358653 w 507998"/>
                  <a:gd name="connsiteY40" fmla="*/ 433403 h 448234"/>
                  <a:gd name="connsiteX41" fmla="*/ 358653 w 507998"/>
                  <a:gd name="connsiteY41" fmla="*/ 379765 h 448234"/>
                  <a:gd name="connsiteX42" fmla="*/ 374939 w 507998"/>
                  <a:gd name="connsiteY42" fmla="*/ 355112 h 448234"/>
                  <a:gd name="connsiteX43" fmla="*/ 379122 w 507998"/>
                  <a:gd name="connsiteY43" fmla="*/ 352871 h 448234"/>
                  <a:gd name="connsiteX44" fmla="*/ 433359 w 507998"/>
                  <a:gd name="connsiteY44" fmla="*/ 289968 h 448234"/>
                  <a:gd name="connsiteX45" fmla="*/ 434106 w 507998"/>
                  <a:gd name="connsiteY45" fmla="*/ 288026 h 448234"/>
                  <a:gd name="connsiteX46" fmla="*/ 460402 w 507998"/>
                  <a:gd name="connsiteY46" fmla="*/ 270097 h 448234"/>
                  <a:gd name="connsiteX47" fmla="*/ 467574 w 507998"/>
                  <a:gd name="connsiteY47" fmla="*/ 269350 h 448234"/>
                  <a:gd name="connsiteX48" fmla="*/ 479078 w 507998"/>
                  <a:gd name="connsiteY48" fmla="*/ 258891 h 448234"/>
                  <a:gd name="connsiteX49" fmla="*/ 480423 w 507998"/>
                  <a:gd name="connsiteY49" fmla="*/ 254857 h 448234"/>
                  <a:gd name="connsiteX50" fmla="*/ 492824 w 507998"/>
                  <a:gd name="connsiteY50" fmla="*/ 180151 h 448234"/>
                  <a:gd name="connsiteX51" fmla="*/ 477883 w 507998"/>
                  <a:gd name="connsiteY51" fmla="*/ 161624 h 448234"/>
                  <a:gd name="connsiteX52" fmla="*/ 463241 w 507998"/>
                  <a:gd name="connsiteY52" fmla="*/ 161624 h 448234"/>
                  <a:gd name="connsiteX53" fmla="*/ 434554 w 507998"/>
                  <a:gd name="connsiteY53" fmla="*/ 142948 h 448234"/>
                  <a:gd name="connsiteX54" fmla="*/ 403476 w 507998"/>
                  <a:gd name="connsiteY54" fmla="*/ 103802 h 448234"/>
                  <a:gd name="connsiteX55" fmla="*/ 394512 w 507998"/>
                  <a:gd name="connsiteY55" fmla="*/ 95285 h 448234"/>
                  <a:gd name="connsiteX56" fmla="*/ 391524 w 507998"/>
                  <a:gd name="connsiteY56" fmla="*/ 89757 h 448234"/>
                  <a:gd name="connsiteX57" fmla="*/ 391524 w 507998"/>
                  <a:gd name="connsiteY57" fmla="*/ 16396 h 448234"/>
                  <a:gd name="connsiteX58" fmla="*/ 390776 w 507998"/>
                  <a:gd name="connsiteY58" fmla="*/ 15051 h 448234"/>
                  <a:gd name="connsiteX59" fmla="*/ 358653 w 507998"/>
                  <a:gd name="connsiteY59" fmla="*/ 50313 h 448234"/>
                  <a:gd name="connsiteX60" fmla="*/ 353274 w 507998"/>
                  <a:gd name="connsiteY60" fmla="*/ 52703 h 448234"/>
                  <a:gd name="connsiteX61" fmla="*/ 334448 w 507998"/>
                  <a:gd name="connsiteY61" fmla="*/ 52703 h 448234"/>
                  <a:gd name="connsiteX62" fmla="*/ 131847 w 507998"/>
                  <a:gd name="connsiteY62" fmla="*/ 52703 h 448234"/>
                  <a:gd name="connsiteX63" fmla="*/ 15007 w 507998"/>
                  <a:gd name="connsiteY63" fmla="*/ 209286 h 448234"/>
                  <a:gd name="connsiteX64" fmla="*/ 85081 w 507998"/>
                  <a:gd name="connsiteY64" fmla="*/ 352721 h 448234"/>
                  <a:gd name="connsiteX65" fmla="*/ 104654 w 507998"/>
                  <a:gd name="connsiteY65" fmla="*/ 384994 h 448234"/>
                  <a:gd name="connsiteX66" fmla="*/ 104654 w 507998"/>
                  <a:gd name="connsiteY66" fmla="*/ 433403 h 448234"/>
                  <a:gd name="connsiteX67" fmla="*/ 149477 w 507998"/>
                  <a:gd name="connsiteY67" fmla="*/ 433403 h 448234"/>
                  <a:gd name="connsiteX68" fmla="*/ 149477 w 507998"/>
                  <a:gd name="connsiteY68" fmla="*/ 400832 h 448234"/>
                  <a:gd name="connsiteX69" fmla="*/ 170096 w 507998"/>
                  <a:gd name="connsiteY69" fmla="*/ 379316 h 448234"/>
                  <a:gd name="connsiteX70" fmla="*/ 293510 w 507998"/>
                  <a:gd name="connsiteY70" fmla="*/ 379316 h 448234"/>
                  <a:gd name="connsiteX71" fmla="*/ 308451 w 507998"/>
                  <a:gd name="connsiteY71" fmla="*/ 385442 h 448234"/>
                  <a:gd name="connsiteX72" fmla="*/ 314876 w 507998"/>
                  <a:gd name="connsiteY72" fmla="*/ 400383 h 448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07998" h="448234">
                    <a:moveTo>
                      <a:pt x="366273" y="448344"/>
                    </a:moveTo>
                    <a:lnTo>
                      <a:pt x="307405" y="448344"/>
                    </a:lnTo>
                    <a:cubicBezTo>
                      <a:pt x="303280" y="448344"/>
                      <a:pt x="299934" y="444999"/>
                      <a:pt x="299934" y="440874"/>
                    </a:cubicBezTo>
                    <a:lnTo>
                      <a:pt x="299934" y="400682"/>
                    </a:lnTo>
                    <a:cubicBezTo>
                      <a:pt x="299903" y="398903"/>
                      <a:pt x="299210" y="397198"/>
                      <a:pt x="297992" y="395901"/>
                    </a:cubicBezTo>
                    <a:cubicBezTo>
                      <a:pt x="296901" y="394866"/>
                      <a:pt x="295461" y="394278"/>
                      <a:pt x="293958" y="394257"/>
                    </a:cubicBezTo>
                    <a:lnTo>
                      <a:pt x="170544" y="394257"/>
                    </a:lnTo>
                    <a:cubicBezTo>
                      <a:pt x="167196" y="394573"/>
                      <a:pt x="164692" y="397473"/>
                      <a:pt x="164867" y="400832"/>
                    </a:cubicBezTo>
                    <a:lnTo>
                      <a:pt x="164867" y="440874"/>
                    </a:lnTo>
                    <a:cubicBezTo>
                      <a:pt x="164867" y="444999"/>
                      <a:pt x="161521" y="448344"/>
                      <a:pt x="157396" y="448344"/>
                    </a:cubicBezTo>
                    <a:lnTo>
                      <a:pt x="97632" y="448344"/>
                    </a:lnTo>
                    <a:cubicBezTo>
                      <a:pt x="93506" y="448344"/>
                      <a:pt x="90161" y="444999"/>
                      <a:pt x="90161" y="440874"/>
                    </a:cubicBezTo>
                    <a:lnTo>
                      <a:pt x="90161" y="384994"/>
                    </a:lnTo>
                    <a:cubicBezTo>
                      <a:pt x="90161" y="377673"/>
                      <a:pt x="88069" y="372145"/>
                      <a:pt x="77312" y="365122"/>
                    </a:cubicBezTo>
                    <a:cubicBezTo>
                      <a:pt x="-5163" y="311035"/>
                      <a:pt x="66" y="212723"/>
                      <a:pt x="66" y="209286"/>
                    </a:cubicBezTo>
                    <a:cubicBezTo>
                      <a:pt x="-1702" y="129542"/>
                      <a:pt x="51229" y="58906"/>
                      <a:pt x="128261" y="38210"/>
                    </a:cubicBezTo>
                    <a:cubicBezTo>
                      <a:pt x="131548" y="38210"/>
                      <a:pt x="207300" y="19833"/>
                      <a:pt x="335943" y="38210"/>
                    </a:cubicBezTo>
                    <a:lnTo>
                      <a:pt x="349240" y="38210"/>
                    </a:lnTo>
                    <a:lnTo>
                      <a:pt x="379122" y="5489"/>
                    </a:lnTo>
                    <a:cubicBezTo>
                      <a:pt x="383304" y="370"/>
                      <a:pt x="390355" y="-1393"/>
                      <a:pt x="396454" y="1156"/>
                    </a:cubicBezTo>
                    <a:cubicBezTo>
                      <a:pt x="402541" y="3610"/>
                      <a:pt x="406511" y="9534"/>
                      <a:pt x="406465" y="16097"/>
                    </a:cubicBezTo>
                    <a:lnTo>
                      <a:pt x="406465" y="86769"/>
                    </a:lnTo>
                    <a:lnTo>
                      <a:pt x="413039" y="92895"/>
                    </a:lnTo>
                    <a:cubicBezTo>
                      <a:pt x="427916" y="105128"/>
                      <a:pt x="439993" y="120414"/>
                      <a:pt x="448449" y="137718"/>
                    </a:cubicBezTo>
                    <a:cubicBezTo>
                      <a:pt x="451091" y="143609"/>
                      <a:pt x="456934" y="147408"/>
                      <a:pt x="463390" y="147430"/>
                    </a:cubicBezTo>
                    <a:lnTo>
                      <a:pt x="478331" y="147430"/>
                    </a:lnTo>
                    <a:cubicBezTo>
                      <a:pt x="496410" y="147430"/>
                      <a:pt x="508214" y="161026"/>
                      <a:pt x="508214" y="182093"/>
                    </a:cubicBezTo>
                    <a:lnTo>
                      <a:pt x="495663" y="257994"/>
                    </a:lnTo>
                    <a:cubicBezTo>
                      <a:pt x="493004" y="270106"/>
                      <a:pt x="484229" y="279956"/>
                      <a:pt x="472504" y="283992"/>
                    </a:cubicBezTo>
                    <a:cubicBezTo>
                      <a:pt x="468938" y="284885"/>
                      <a:pt x="465274" y="285338"/>
                      <a:pt x="461597" y="285337"/>
                    </a:cubicBezTo>
                    <a:cubicBezTo>
                      <a:pt x="458403" y="285066"/>
                      <a:pt x="455197" y="285686"/>
                      <a:pt x="452334" y="287130"/>
                    </a:cubicBezTo>
                    <a:cubicBezTo>
                      <a:pt x="450643" y="289093"/>
                      <a:pt x="449371" y="291380"/>
                      <a:pt x="448599" y="293853"/>
                    </a:cubicBezTo>
                    <a:lnTo>
                      <a:pt x="447702" y="296094"/>
                    </a:lnTo>
                    <a:cubicBezTo>
                      <a:pt x="436759" y="326111"/>
                      <a:pt x="415099" y="351018"/>
                      <a:pt x="386892" y="366019"/>
                    </a:cubicBezTo>
                    <a:lnTo>
                      <a:pt x="381961" y="368708"/>
                    </a:lnTo>
                    <a:cubicBezTo>
                      <a:pt x="375835" y="371846"/>
                      <a:pt x="374341" y="372742"/>
                      <a:pt x="373744" y="380661"/>
                    </a:cubicBezTo>
                    <a:lnTo>
                      <a:pt x="373744" y="440874"/>
                    </a:lnTo>
                    <a:cubicBezTo>
                      <a:pt x="373739" y="442892"/>
                      <a:pt x="372932" y="444827"/>
                      <a:pt x="371502" y="446253"/>
                    </a:cubicBezTo>
                    <a:cubicBezTo>
                      <a:pt x="370099" y="447605"/>
                      <a:pt x="368223" y="448356"/>
                      <a:pt x="366273" y="448344"/>
                    </a:cubicBezTo>
                    <a:close/>
                    <a:moveTo>
                      <a:pt x="314876" y="433403"/>
                    </a:moveTo>
                    <a:lnTo>
                      <a:pt x="358653" y="433403"/>
                    </a:lnTo>
                    <a:lnTo>
                      <a:pt x="358653" y="379765"/>
                    </a:lnTo>
                    <a:cubicBezTo>
                      <a:pt x="358387" y="368949"/>
                      <a:pt x="364885" y="359111"/>
                      <a:pt x="374939" y="355112"/>
                    </a:cubicBezTo>
                    <a:lnTo>
                      <a:pt x="379122" y="352871"/>
                    </a:lnTo>
                    <a:cubicBezTo>
                      <a:pt x="404477" y="339480"/>
                      <a:pt x="423846" y="317018"/>
                      <a:pt x="433359" y="289968"/>
                    </a:cubicBezTo>
                    <a:lnTo>
                      <a:pt x="434106" y="288026"/>
                    </a:lnTo>
                    <a:cubicBezTo>
                      <a:pt x="437040" y="276234"/>
                      <a:pt x="448354" y="268522"/>
                      <a:pt x="460402" y="270097"/>
                    </a:cubicBezTo>
                    <a:cubicBezTo>
                      <a:pt x="462814" y="270127"/>
                      <a:pt x="465221" y="269876"/>
                      <a:pt x="467574" y="269350"/>
                    </a:cubicBezTo>
                    <a:cubicBezTo>
                      <a:pt x="472736" y="267684"/>
                      <a:pt x="476930" y="263872"/>
                      <a:pt x="479078" y="258891"/>
                    </a:cubicBezTo>
                    <a:cubicBezTo>
                      <a:pt x="479660" y="257594"/>
                      <a:pt x="480111" y="256243"/>
                      <a:pt x="480423" y="254857"/>
                    </a:cubicBezTo>
                    <a:lnTo>
                      <a:pt x="492824" y="180151"/>
                    </a:lnTo>
                    <a:cubicBezTo>
                      <a:pt x="492824" y="172382"/>
                      <a:pt x="490135" y="161624"/>
                      <a:pt x="477883" y="161624"/>
                    </a:cubicBezTo>
                    <a:lnTo>
                      <a:pt x="463241" y="161624"/>
                    </a:lnTo>
                    <a:cubicBezTo>
                      <a:pt x="450826" y="161623"/>
                      <a:pt x="439579" y="154300"/>
                      <a:pt x="434554" y="142948"/>
                    </a:cubicBezTo>
                    <a:cubicBezTo>
                      <a:pt x="427104" y="127833"/>
                      <a:pt x="416508" y="114486"/>
                      <a:pt x="403476" y="103802"/>
                    </a:cubicBezTo>
                    <a:lnTo>
                      <a:pt x="394512" y="95285"/>
                    </a:lnTo>
                    <a:cubicBezTo>
                      <a:pt x="392767" y="93958"/>
                      <a:pt x="391677" y="91944"/>
                      <a:pt x="391524" y="89757"/>
                    </a:cubicBezTo>
                    <a:lnTo>
                      <a:pt x="391524" y="16396"/>
                    </a:lnTo>
                    <a:lnTo>
                      <a:pt x="390776" y="15051"/>
                    </a:lnTo>
                    <a:lnTo>
                      <a:pt x="358653" y="50313"/>
                    </a:lnTo>
                    <a:cubicBezTo>
                      <a:pt x="357284" y="51842"/>
                      <a:pt x="355327" y="52713"/>
                      <a:pt x="353274" y="52703"/>
                    </a:cubicBezTo>
                    <a:lnTo>
                      <a:pt x="334448" y="52703"/>
                    </a:lnTo>
                    <a:cubicBezTo>
                      <a:pt x="208644" y="35222"/>
                      <a:pt x="132594" y="52703"/>
                      <a:pt x="131847" y="52703"/>
                    </a:cubicBezTo>
                    <a:cubicBezTo>
                      <a:pt x="61953" y="72443"/>
                      <a:pt x="14032" y="136665"/>
                      <a:pt x="15007" y="209286"/>
                    </a:cubicBezTo>
                    <a:cubicBezTo>
                      <a:pt x="15007" y="210631"/>
                      <a:pt x="10376" y="303565"/>
                      <a:pt x="85081" y="352721"/>
                    </a:cubicBezTo>
                    <a:cubicBezTo>
                      <a:pt x="97124" y="358975"/>
                      <a:pt x="104674" y="371424"/>
                      <a:pt x="104654" y="384994"/>
                    </a:cubicBezTo>
                    <a:lnTo>
                      <a:pt x="104654" y="433403"/>
                    </a:lnTo>
                    <a:lnTo>
                      <a:pt x="149477" y="433403"/>
                    </a:lnTo>
                    <a:lnTo>
                      <a:pt x="149477" y="400832"/>
                    </a:lnTo>
                    <a:cubicBezTo>
                      <a:pt x="149309" y="389228"/>
                      <a:pt x="158496" y="379642"/>
                      <a:pt x="170096" y="379316"/>
                    </a:cubicBezTo>
                    <a:lnTo>
                      <a:pt x="293510" y="379316"/>
                    </a:lnTo>
                    <a:cubicBezTo>
                      <a:pt x="299119" y="379225"/>
                      <a:pt x="304520" y="381439"/>
                      <a:pt x="308451" y="385442"/>
                    </a:cubicBezTo>
                    <a:cubicBezTo>
                      <a:pt x="312466" y="389390"/>
                      <a:pt x="314771" y="394754"/>
                      <a:pt x="314876" y="400383"/>
                    </a:cubicBezTo>
                    <a:close/>
                  </a:path>
                </a:pathLst>
              </a:custGeom>
              <a:grpFill/>
              <a:ln w="2540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7580E">
                      <a:lumOff val="-57413"/>
                    </a:srgbClr>
                  </a:solidFill>
                  <a:effectLst/>
                  <a:uLnTx/>
                  <a:uFill>
                    <a:solidFill>
                      <a:srgbClr val="F7580E">
                        <a:lumOff val="-57413"/>
                      </a:srgbClr>
                    </a:solidFill>
                  </a:uFill>
                </a:endParaRPr>
              </a:p>
            </p:txBody>
          </p:sp>
          <p:sp>
            <p:nvSpPr>
              <p:cNvPr id="147" name="Freeform: Shape 146">
                <a:extLst>
                  <a:ext uri="{FF2B5EF4-FFF2-40B4-BE49-F238E27FC236}">
                    <a16:creationId xmlns:a16="http://schemas.microsoft.com/office/drawing/2014/main" id="{AA539CF3-DFBC-E639-0842-C73B1803FB31}"/>
                  </a:ext>
                </a:extLst>
              </p:cNvPr>
              <p:cNvSpPr/>
              <p:nvPr/>
            </p:nvSpPr>
            <p:spPr>
              <a:xfrm>
                <a:off x="6233458" y="3293332"/>
                <a:ext cx="14941" cy="29882"/>
              </a:xfrm>
              <a:custGeom>
                <a:avLst/>
                <a:gdLst>
                  <a:gd name="connsiteX0" fmla="*/ 7471 w 14941"/>
                  <a:gd name="connsiteY0" fmla="*/ 42283 h 29882"/>
                  <a:gd name="connsiteX1" fmla="*/ 0 w 14941"/>
                  <a:gd name="connsiteY1" fmla="*/ 34813 h 29882"/>
                  <a:gd name="connsiteX2" fmla="*/ 0 w 14941"/>
                  <a:gd name="connsiteY2" fmla="*/ 7471 h 29882"/>
                  <a:gd name="connsiteX3" fmla="*/ 7471 w 14941"/>
                  <a:gd name="connsiteY3" fmla="*/ 0 h 29882"/>
                  <a:gd name="connsiteX4" fmla="*/ 14941 w 14941"/>
                  <a:gd name="connsiteY4" fmla="*/ 7471 h 29882"/>
                  <a:gd name="connsiteX5" fmla="*/ 14941 w 14941"/>
                  <a:gd name="connsiteY5" fmla="*/ 34813 h 29882"/>
                  <a:gd name="connsiteX6" fmla="*/ 7471 w 14941"/>
                  <a:gd name="connsiteY6" fmla="*/ 42283 h 2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41" h="29882">
                    <a:moveTo>
                      <a:pt x="7471" y="42283"/>
                    </a:moveTo>
                    <a:cubicBezTo>
                      <a:pt x="3345" y="42283"/>
                      <a:pt x="0" y="38938"/>
                      <a:pt x="0" y="34813"/>
                    </a:cubicBezTo>
                    <a:lnTo>
                      <a:pt x="0" y="7471"/>
                    </a:lnTo>
                    <a:cubicBezTo>
                      <a:pt x="0" y="3345"/>
                      <a:pt x="3345" y="0"/>
                      <a:pt x="7471" y="0"/>
                    </a:cubicBezTo>
                    <a:cubicBezTo>
                      <a:pt x="11596" y="0"/>
                      <a:pt x="14941" y="3345"/>
                      <a:pt x="14941" y="7471"/>
                    </a:cubicBezTo>
                    <a:lnTo>
                      <a:pt x="14941" y="34813"/>
                    </a:lnTo>
                    <a:cubicBezTo>
                      <a:pt x="14941" y="38938"/>
                      <a:pt x="11596" y="42283"/>
                      <a:pt x="7471" y="42283"/>
                    </a:cubicBezTo>
                    <a:close/>
                  </a:path>
                </a:pathLst>
              </a:custGeom>
              <a:grpFill/>
              <a:ln w="2540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7580E">
                      <a:lumOff val="-57413"/>
                    </a:srgbClr>
                  </a:solidFill>
                  <a:effectLst/>
                  <a:uLnTx/>
                  <a:uFill>
                    <a:solidFill>
                      <a:srgbClr val="F7580E">
                        <a:lumOff val="-57413"/>
                      </a:srgbClr>
                    </a:solidFill>
                  </a:uFill>
                </a:endParaRPr>
              </a:p>
            </p:txBody>
          </p:sp>
          <p:sp>
            <p:nvSpPr>
              <p:cNvPr id="148" name="Freeform: Shape 147">
                <a:extLst>
                  <a:ext uri="{FF2B5EF4-FFF2-40B4-BE49-F238E27FC236}">
                    <a16:creationId xmlns:a16="http://schemas.microsoft.com/office/drawing/2014/main" id="{2662AB90-0A20-BDC3-D564-F5CA5F45770C}"/>
                  </a:ext>
                </a:extLst>
              </p:cNvPr>
              <p:cNvSpPr/>
              <p:nvPr/>
            </p:nvSpPr>
            <p:spPr>
              <a:xfrm>
                <a:off x="6021115" y="3229380"/>
                <a:ext cx="104588" cy="14941"/>
              </a:xfrm>
              <a:custGeom>
                <a:avLst/>
                <a:gdLst>
                  <a:gd name="connsiteX0" fmla="*/ 7799 w 104587"/>
                  <a:gd name="connsiteY0" fmla="*/ 20324 h 14941"/>
                  <a:gd name="connsiteX1" fmla="*/ 179 w 104587"/>
                  <a:gd name="connsiteY1" fmla="*/ 14497 h 14941"/>
                  <a:gd name="connsiteX2" fmla="*/ 5986 w 104587"/>
                  <a:gd name="connsiteY2" fmla="*/ 5419 h 14941"/>
                  <a:gd name="connsiteX3" fmla="*/ 6156 w 104587"/>
                  <a:gd name="connsiteY3" fmla="*/ 5383 h 14941"/>
                  <a:gd name="connsiteX4" fmla="*/ 98940 w 104587"/>
                  <a:gd name="connsiteY4" fmla="*/ 5383 h 14941"/>
                  <a:gd name="connsiteX5" fmla="*/ 104767 w 104587"/>
                  <a:gd name="connsiteY5" fmla="*/ 14348 h 14941"/>
                  <a:gd name="connsiteX6" fmla="*/ 95867 w 104587"/>
                  <a:gd name="connsiteY6" fmla="*/ 20040 h 14941"/>
                  <a:gd name="connsiteX7" fmla="*/ 95803 w 104587"/>
                  <a:gd name="connsiteY7" fmla="*/ 20025 h 14941"/>
                  <a:gd name="connsiteX8" fmla="*/ 9443 w 104587"/>
                  <a:gd name="connsiteY8" fmla="*/ 20025 h 14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87" h="14941">
                    <a:moveTo>
                      <a:pt x="7799" y="20324"/>
                    </a:moveTo>
                    <a:cubicBezTo>
                      <a:pt x="4184" y="20484"/>
                      <a:pt x="973" y="18029"/>
                      <a:pt x="179" y="14497"/>
                    </a:cubicBezTo>
                    <a:cubicBezTo>
                      <a:pt x="-724" y="10387"/>
                      <a:pt x="1875" y="6322"/>
                      <a:pt x="5986" y="5419"/>
                    </a:cubicBezTo>
                    <a:cubicBezTo>
                      <a:pt x="6042" y="5406"/>
                      <a:pt x="6099" y="5394"/>
                      <a:pt x="6156" y="5383"/>
                    </a:cubicBezTo>
                    <a:cubicBezTo>
                      <a:pt x="36667" y="-1794"/>
                      <a:pt x="68429" y="-1794"/>
                      <a:pt x="98940" y="5383"/>
                    </a:cubicBezTo>
                    <a:cubicBezTo>
                      <a:pt x="103004" y="6278"/>
                      <a:pt x="105599" y="10269"/>
                      <a:pt x="104767" y="14348"/>
                    </a:cubicBezTo>
                    <a:cubicBezTo>
                      <a:pt x="103881" y="18377"/>
                      <a:pt x="99896" y="20926"/>
                      <a:pt x="95867" y="20040"/>
                    </a:cubicBezTo>
                    <a:cubicBezTo>
                      <a:pt x="95846" y="20035"/>
                      <a:pt x="95824" y="20030"/>
                      <a:pt x="95803" y="20025"/>
                    </a:cubicBezTo>
                    <a:cubicBezTo>
                      <a:pt x="67410" y="13295"/>
                      <a:pt x="37836" y="13295"/>
                      <a:pt x="9443" y="20025"/>
                    </a:cubicBezTo>
                    <a:close/>
                  </a:path>
                </a:pathLst>
              </a:custGeom>
              <a:grpFill/>
              <a:ln w="2540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7580E">
                      <a:lumOff val="-57413"/>
                    </a:srgbClr>
                  </a:solidFill>
                  <a:effectLst/>
                  <a:uLnTx/>
                  <a:uFill>
                    <a:solidFill>
                      <a:srgbClr val="F7580E">
                        <a:lumOff val="-57413"/>
                      </a:srgbClr>
                    </a:solidFill>
                  </a:uFill>
                </a:endParaRPr>
              </a:p>
            </p:txBody>
          </p:sp>
        </p:grpSp>
        <p:grpSp>
          <p:nvGrpSpPr>
            <p:cNvPr id="149" name="Graphic 2">
              <a:extLst>
                <a:ext uri="{FF2B5EF4-FFF2-40B4-BE49-F238E27FC236}">
                  <a16:creationId xmlns:a16="http://schemas.microsoft.com/office/drawing/2014/main" id="{128FE7B1-7E3B-8662-8367-8A861B16BB85}"/>
                </a:ext>
              </a:extLst>
            </p:cNvPr>
            <p:cNvGrpSpPr>
              <a:grpSpLocks noChangeAspect="1"/>
            </p:cNvGrpSpPr>
            <p:nvPr/>
          </p:nvGrpSpPr>
          <p:grpSpPr>
            <a:xfrm>
              <a:off x="21244886" y="10147154"/>
              <a:ext cx="513295" cy="537233"/>
              <a:chOff x="5905278" y="3193455"/>
              <a:chExt cx="381440" cy="422308"/>
            </a:xfrm>
            <a:solidFill>
              <a:srgbClr val="416CF9"/>
            </a:solidFill>
          </p:grpSpPr>
          <p:sp>
            <p:nvSpPr>
              <p:cNvPr id="150" name="Freeform: Shape 149">
                <a:extLst>
                  <a:ext uri="{FF2B5EF4-FFF2-40B4-BE49-F238E27FC236}">
                    <a16:creationId xmlns:a16="http://schemas.microsoft.com/office/drawing/2014/main" id="{49C0D43B-ED8C-0029-379A-E0392B3A95CF}"/>
                  </a:ext>
                </a:extLst>
              </p:cNvPr>
              <p:cNvSpPr/>
              <p:nvPr/>
            </p:nvSpPr>
            <p:spPr>
              <a:xfrm>
                <a:off x="5905278" y="3193455"/>
                <a:ext cx="381440" cy="422308"/>
              </a:xfrm>
              <a:custGeom>
                <a:avLst/>
                <a:gdLst>
                  <a:gd name="connsiteX0" fmla="*/ 347385 w 381439"/>
                  <a:gd name="connsiteY0" fmla="*/ 163474 h 422308"/>
                  <a:gd name="connsiteX1" fmla="*/ 340574 w 381439"/>
                  <a:gd name="connsiteY1" fmla="*/ 163474 h 422308"/>
                  <a:gd name="connsiteX2" fmla="*/ 340574 w 381439"/>
                  <a:gd name="connsiteY2" fmla="*/ 97812 h 422308"/>
                  <a:gd name="connsiteX3" fmla="*/ 242762 w 381439"/>
                  <a:gd name="connsiteY3" fmla="*/ 0 h 422308"/>
                  <a:gd name="connsiteX4" fmla="*/ 138683 w 381439"/>
                  <a:gd name="connsiteY4" fmla="*/ 0 h 422308"/>
                  <a:gd name="connsiteX5" fmla="*/ 40871 w 381439"/>
                  <a:gd name="connsiteY5" fmla="*/ 97812 h 422308"/>
                  <a:gd name="connsiteX6" fmla="*/ 40871 w 381439"/>
                  <a:gd name="connsiteY6" fmla="*/ 163474 h 422308"/>
                  <a:gd name="connsiteX7" fmla="*/ 34060 w 381439"/>
                  <a:gd name="connsiteY7" fmla="*/ 163474 h 422308"/>
                  <a:gd name="connsiteX8" fmla="*/ 3 w 381439"/>
                  <a:gd name="connsiteY8" fmla="*/ 197531 h 422308"/>
                  <a:gd name="connsiteX9" fmla="*/ 3 w 381439"/>
                  <a:gd name="connsiteY9" fmla="*/ 211154 h 422308"/>
                  <a:gd name="connsiteX10" fmla="*/ 40871 w 381439"/>
                  <a:gd name="connsiteY10" fmla="*/ 258834 h 422308"/>
                  <a:gd name="connsiteX11" fmla="*/ 40871 w 381439"/>
                  <a:gd name="connsiteY11" fmla="*/ 279269 h 422308"/>
                  <a:gd name="connsiteX12" fmla="*/ 183911 w 381439"/>
                  <a:gd name="connsiteY12" fmla="*/ 422308 h 422308"/>
                  <a:gd name="connsiteX13" fmla="*/ 197534 w 381439"/>
                  <a:gd name="connsiteY13" fmla="*/ 422308 h 422308"/>
                  <a:gd name="connsiteX14" fmla="*/ 340574 w 381439"/>
                  <a:gd name="connsiteY14" fmla="*/ 279269 h 422308"/>
                  <a:gd name="connsiteX15" fmla="*/ 340574 w 381439"/>
                  <a:gd name="connsiteY15" fmla="*/ 258834 h 422308"/>
                  <a:gd name="connsiteX16" fmla="*/ 381442 w 381439"/>
                  <a:gd name="connsiteY16" fmla="*/ 211835 h 422308"/>
                  <a:gd name="connsiteX17" fmla="*/ 381442 w 381439"/>
                  <a:gd name="connsiteY17" fmla="*/ 198213 h 422308"/>
                  <a:gd name="connsiteX18" fmla="*/ 348073 w 381439"/>
                  <a:gd name="connsiteY18" fmla="*/ 163481 h 422308"/>
                  <a:gd name="connsiteX19" fmla="*/ 347385 w 381439"/>
                  <a:gd name="connsiteY19" fmla="*/ 163474 h 422308"/>
                  <a:gd name="connsiteX20" fmla="*/ 13625 w 381439"/>
                  <a:gd name="connsiteY20" fmla="*/ 211154 h 422308"/>
                  <a:gd name="connsiteX21" fmla="*/ 13625 w 381439"/>
                  <a:gd name="connsiteY21" fmla="*/ 197531 h 422308"/>
                  <a:gd name="connsiteX22" fmla="*/ 34060 w 381439"/>
                  <a:gd name="connsiteY22" fmla="*/ 177097 h 422308"/>
                  <a:gd name="connsiteX23" fmla="*/ 40871 w 381439"/>
                  <a:gd name="connsiteY23" fmla="*/ 177097 h 422308"/>
                  <a:gd name="connsiteX24" fmla="*/ 40871 w 381439"/>
                  <a:gd name="connsiteY24" fmla="*/ 245211 h 422308"/>
                  <a:gd name="connsiteX25" fmla="*/ 13625 w 381439"/>
                  <a:gd name="connsiteY25" fmla="*/ 211154 h 422308"/>
                  <a:gd name="connsiteX26" fmla="*/ 326951 w 381439"/>
                  <a:gd name="connsiteY26" fmla="*/ 279269 h 422308"/>
                  <a:gd name="connsiteX27" fmla="*/ 197534 w 381439"/>
                  <a:gd name="connsiteY27" fmla="*/ 408686 h 422308"/>
                  <a:gd name="connsiteX28" fmla="*/ 183911 w 381439"/>
                  <a:gd name="connsiteY28" fmla="*/ 408686 h 422308"/>
                  <a:gd name="connsiteX29" fmla="*/ 54494 w 381439"/>
                  <a:gd name="connsiteY29" fmla="*/ 279269 h 422308"/>
                  <a:gd name="connsiteX30" fmla="*/ 54494 w 381439"/>
                  <a:gd name="connsiteY30" fmla="*/ 97812 h 422308"/>
                  <a:gd name="connsiteX31" fmla="*/ 138683 w 381439"/>
                  <a:gd name="connsiteY31" fmla="*/ 13623 h 422308"/>
                  <a:gd name="connsiteX32" fmla="*/ 242762 w 381439"/>
                  <a:gd name="connsiteY32" fmla="*/ 13623 h 422308"/>
                  <a:gd name="connsiteX33" fmla="*/ 326951 w 381439"/>
                  <a:gd name="connsiteY33" fmla="*/ 97812 h 422308"/>
                  <a:gd name="connsiteX34" fmla="*/ 326951 w 381439"/>
                  <a:gd name="connsiteY34" fmla="*/ 122606 h 422308"/>
                  <a:gd name="connsiteX35" fmla="*/ 129420 w 381439"/>
                  <a:gd name="connsiteY35" fmla="*/ 122606 h 422308"/>
                  <a:gd name="connsiteX36" fmla="*/ 95363 w 381439"/>
                  <a:gd name="connsiteY36" fmla="*/ 88549 h 422308"/>
                  <a:gd name="connsiteX37" fmla="*/ 95363 w 381439"/>
                  <a:gd name="connsiteY37" fmla="*/ 86233 h 422308"/>
                  <a:gd name="connsiteX38" fmla="*/ 88551 w 381439"/>
                  <a:gd name="connsiteY38" fmla="*/ 79421 h 422308"/>
                  <a:gd name="connsiteX39" fmla="*/ 81740 w 381439"/>
                  <a:gd name="connsiteY39" fmla="*/ 86233 h 422308"/>
                  <a:gd name="connsiteX40" fmla="*/ 81740 w 381439"/>
                  <a:gd name="connsiteY40" fmla="*/ 88549 h 422308"/>
                  <a:gd name="connsiteX41" fmla="*/ 129420 w 381439"/>
                  <a:gd name="connsiteY41" fmla="*/ 136229 h 422308"/>
                  <a:gd name="connsiteX42" fmla="*/ 326951 w 381439"/>
                  <a:gd name="connsiteY42" fmla="*/ 136229 h 422308"/>
                  <a:gd name="connsiteX43" fmla="*/ 367820 w 381439"/>
                  <a:gd name="connsiteY43" fmla="*/ 211154 h 422308"/>
                  <a:gd name="connsiteX44" fmla="*/ 340574 w 381439"/>
                  <a:gd name="connsiteY44" fmla="*/ 245211 h 422308"/>
                  <a:gd name="connsiteX45" fmla="*/ 340574 w 381439"/>
                  <a:gd name="connsiteY45" fmla="*/ 177097 h 422308"/>
                  <a:gd name="connsiteX46" fmla="*/ 347385 w 381439"/>
                  <a:gd name="connsiteY46" fmla="*/ 177097 h 422308"/>
                  <a:gd name="connsiteX47" fmla="*/ 367820 w 381439"/>
                  <a:gd name="connsiteY47" fmla="*/ 197531 h 42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81439" h="422308">
                    <a:moveTo>
                      <a:pt x="347385" y="163474"/>
                    </a:moveTo>
                    <a:lnTo>
                      <a:pt x="340574" y="163474"/>
                    </a:lnTo>
                    <a:lnTo>
                      <a:pt x="340574" y="97812"/>
                    </a:lnTo>
                    <a:cubicBezTo>
                      <a:pt x="340499" y="43823"/>
                      <a:pt x="296751" y="75"/>
                      <a:pt x="242762" y="0"/>
                    </a:cubicBezTo>
                    <a:lnTo>
                      <a:pt x="138683" y="0"/>
                    </a:lnTo>
                    <a:cubicBezTo>
                      <a:pt x="84694" y="75"/>
                      <a:pt x="40946" y="43823"/>
                      <a:pt x="40871" y="97812"/>
                    </a:cubicBezTo>
                    <a:lnTo>
                      <a:pt x="40871" y="163474"/>
                    </a:lnTo>
                    <a:lnTo>
                      <a:pt x="34060" y="163474"/>
                    </a:lnTo>
                    <a:cubicBezTo>
                      <a:pt x="15250" y="163474"/>
                      <a:pt x="3" y="178722"/>
                      <a:pt x="3" y="197531"/>
                    </a:cubicBezTo>
                    <a:lnTo>
                      <a:pt x="3" y="211154"/>
                    </a:lnTo>
                    <a:cubicBezTo>
                      <a:pt x="-242" y="235042"/>
                      <a:pt x="17228" y="255423"/>
                      <a:pt x="40871" y="258834"/>
                    </a:cubicBezTo>
                    <a:lnTo>
                      <a:pt x="40871" y="279269"/>
                    </a:lnTo>
                    <a:cubicBezTo>
                      <a:pt x="40946" y="358236"/>
                      <a:pt x="104943" y="422234"/>
                      <a:pt x="183911" y="422308"/>
                    </a:cubicBezTo>
                    <a:lnTo>
                      <a:pt x="197534" y="422308"/>
                    </a:lnTo>
                    <a:cubicBezTo>
                      <a:pt x="276502" y="422234"/>
                      <a:pt x="340499" y="358236"/>
                      <a:pt x="340574" y="279269"/>
                    </a:cubicBezTo>
                    <a:lnTo>
                      <a:pt x="340574" y="258834"/>
                    </a:lnTo>
                    <a:cubicBezTo>
                      <a:pt x="363960" y="255458"/>
                      <a:pt x="381347" y="235464"/>
                      <a:pt x="381442" y="211835"/>
                    </a:cubicBezTo>
                    <a:lnTo>
                      <a:pt x="381442" y="198213"/>
                    </a:lnTo>
                    <a:cubicBezTo>
                      <a:pt x="381818" y="179408"/>
                      <a:pt x="366878" y="163857"/>
                      <a:pt x="348073" y="163481"/>
                    </a:cubicBezTo>
                    <a:cubicBezTo>
                      <a:pt x="347844" y="163477"/>
                      <a:pt x="347614" y="163474"/>
                      <a:pt x="347385" y="163474"/>
                    </a:cubicBezTo>
                    <a:close/>
                    <a:moveTo>
                      <a:pt x="13625" y="211154"/>
                    </a:moveTo>
                    <a:lnTo>
                      <a:pt x="13625" y="197531"/>
                    </a:lnTo>
                    <a:cubicBezTo>
                      <a:pt x="13625" y="186246"/>
                      <a:pt x="22774" y="177097"/>
                      <a:pt x="34060" y="177097"/>
                    </a:cubicBezTo>
                    <a:lnTo>
                      <a:pt x="40871" y="177097"/>
                    </a:lnTo>
                    <a:lnTo>
                      <a:pt x="40871" y="245211"/>
                    </a:lnTo>
                    <a:cubicBezTo>
                      <a:pt x="24758" y="241926"/>
                      <a:pt x="13294" y="227596"/>
                      <a:pt x="13625" y="211154"/>
                    </a:cubicBezTo>
                    <a:close/>
                    <a:moveTo>
                      <a:pt x="326951" y="279269"/>
                    </a:moveTo>
                    <a:cubicBezTo>
                      <a:pt x="326876" y="350712"/>
                      <a:pt x="268978" y="408611"/>
                      <a:pt x="197534" y="408686"/>
                    </a:cubicBezTo>
                    <a:lnTo>
                      <a:pt x="183911" y="408686"/>
                    </a:lnTo>
                    <a:cubicBezTo>
                      <a:pt x="112467" y="408611"/>
                      <a:pt x="54569" y="350712"/>
                      <a:pt x="54494" y="279269"/>
                    </a:cubicBezTo>
                    <a:lnTo>
                      <a:pt x="54494" y="97812"/>
                    </a:lnTo>
                    <a:cubicBezTo>
                      <a:pt x="54494" y="51316"/>
                      <a:pt x="92187" y="13623"/>
                      <a:pt x="138683" y="13623"/>
                    </a:cubicBezTo>
                    <a:lnTo>
                      <a:pt x="242762" y="13623"/>
                    </a:lnTo>
                    <a:cubicBezTo>
                      <a:pt x="289258" y="13623"/>
                      <a:pt x="326951" y="51316"/>
                      <a:pt x="326951" y="97812"/>
                    </a:cubicBezTo>
                    <a:lnTo>
                      <a:pt x="326951" y="122606"/>
                    </a:lnTo>
                    <a:lnTo>
                      <a:pt x="129420" y="122606"/>
                    </a:lnTo>
                    <a:cubicBezTo>
                      <a:pt x="110611" y="122606"/>
                      <a:pt x="95363" y="107358"/>
                      <a:pt x="95363" y="88549"/>
                    </a:cubicBezTo>
                    <a:lnTo>
                      <a:pt x="95363" y="86233"/>
                    </a:lnTo>
                    <a:cubicBezTo>
                      <a:pt x="95363" y="82471"/>
                      <a:pt x="92313" y="79421"/>
                      <a:pt x="88551" y="79421"/>
                    </a:cubicBezTo>
                    <a:cubicBezTo>
                      <a:pt x="84789" y="79421"/>
                      <a:pt x="81740" y="82471"/>
                      <a:pt x="81740" y="86233"/>
                    </a:cubicBezTo>
                    <a:lnTo>
                      <a:pt x="81740" y="88549"/>
                    </a:lnTo>
                    <a:cubicBezTo>
                      <a:pt x="81740" y="114882"/>
                      <a:pt x="103087" y="136229"/>
                      <a:pt x="129420" y="136229"/>
                    </a:cubicBezTo>
                    <a:lnTo>
                      <a:pt x="326951" y="136229"/>
                    </a:lnTo>
                    <a:close/>
                    <a:moveTo>
                      <a:pt x="367820" y="211154"/>
                    </a:moveTo>
                    <a:cubicBezTo>
                      <a:pt x="368151" y="227596"/>
                      <a:pt x="356687" y="241926"/>
                      <a:pt x="340574" y="245211"/>
                    </a:cubicBezTo>
                    <a:lnTo>
                      <a:pt x="340574" y="177097"/>
                    </a:lnTo>
                    <a:lnTo>
                      <a:pt x="347385" y="177097"/>
                    </a:lnTo>
                    <a:cubicBezTo>
                      <a:pt x="358670" y="177097"/>
                      <a:pt x="367820" y="186246"/>
                      <a:pt x="367820" y="197531"/>
                    </a:cubicBezTo>
                    <a:close/>
                  </a:path>
                </a:pathLst>
              </a:custGeom>
              <a:grpFill/>
              <a:ln w="2540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7580E">
                      <a:lumOff val="-57413"/>
                    </a:srgbClr>
                  </a:solidFill>
                  <a:effectLst/>
                  <a:uLnTx/>
                  <a:uFill>
                    <a:solidFill>
                      <a:srgbClr val="F7580E">
                        <a:lumOff val="-57413"/>
                      </a:srgbClr>
                    </a:solidFill>
                  </a:uFill>
                </a:endParaRPr>
              </a:p>
            </p:txBody>
          </p:sp>
          <p:sp>
            <p:nvSpPr>
              <p:cNvPr id="151" name="Freeform: Shape 150">
                <a:extLst>
                  <a:ext uri="{FF2B5EF4-FFF2-40B4-BE49-F238E27FC236}">
                    <a16:creationId xmlns:a16="http://schemas.microsoft.com/office/drawing/2014/main" id="{B9324383-A9C1-1F0F-7E63-2BC56AA4958C}"/>
                  </a:ext>
                </a:extLst>
              </p:cNvPr>
              <p:cNvSpPr/>
              <p:nvPr/>
            </p:nvSpPr>
            <p:spPr>
              <a:xfrm>
                <a:off x="6014263" y="3363740"/>
                <a:ext cx="40869" cy="40869"/>
              </a:xfrm>
              <a:custGeom>
                <a:avLst/>
                <a:gdLst>
                  <a:gd name="connsiteX0" fmla="*/ 40869 w 40868"/>
                  <a:gd name="connsiteY0" fmla="*/ 20434 h 40868"/>
                  <a:gd name="connsiteX1" fmla="*/ 20434 w 40868"/>
                  <a:gd name="connsiteY1" fmla="*/ 40869 h 40868"/>
                  <a:gd name="connsiteX2" fmla="*/ 0 w 40868"/>
                  <a:gd name="connsiteY2" fmla="*/ 20434 h 40868"/>
                  <a:gd name="connsiteX3" fmla="*/ 20434 w 40868"/>
                  <a:gd name="connsiteY3" fmla="*/ 0 h 40868"/>
                  <a:gd name="connsiteX4" fmla="*/ 40869 w 40868"/>
                  <a:gd name="connsiteY4" fmla="*/ 20434 h 4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68" h="40868">
                    <a:moveTo>
                      <a:pt x="40869" y="20434"/>
                    </a:moveTo>
                    <a:cubicBezTo>
                      <a:pt x="40869" y="31720"/>
                      <a:pt x="31720" y="40869"/>
                      <a:pt x="20434" y="40869"/>
                    </a:cubicBezTo>
                    <a:cubicBezTo>
                      <a:pt x="9149" y="40869"/>
                      <a:pt x="0" y="31720"/>
                      <a:pt x="0" y="20434"/>
                    </a:cubicBezTo>
                    <a:cubicBezTo>
                      <a:pt x="0" y="9149"/>
                      <a:pt x="9149" y="0"/>
                      <a:pt x="20434" y="0"/>
                    </a:cubicBezTo>
                    <a:cubicBezTo>
                      <a:pt x="31720" y="0"/>
                      <a:pt x="40869" y="9149"/>
                      <a:pt x="40869" y="20434"/>
                    </a:cubicBezTo>
                    <a:close/>
                  </a:path>
                </a:pathLst>
              </a:custGeom>
              <a:grpFill/>
              <a:ln w="2540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7580E">
                      <a:lumOff val="-57413"/>
                    </a:srgbClr>
                  </a:solidFill>
                  <a:effectLst/>
                  <a:uLnTx/>
                  <a:uFill>
                    <a:solidFill>
                      <a:srgbClr val="F7580E">
                        <a:lumOff val="-57413"/>
                      </a:srgbClr>
                    </a:solidFill>
                  </a:uFill>
                </a:endParaRPr>
              </a:p>
            </p:txBody>
          </p:sp>
          <p:sp>
            <p:nvSpPr>
              <p:cNvPr id="152" name="Freeform: Shape 151">
                <a:extLst>
                  <a:ext uri="{FF2B5EF4-FFF2-40B4-BE49-F238E27FC236}">
                    <a16:creationId xmlns:a16="http://schemas.microsoft.com/office/drawing/2014/main" id="{42196A1E-4636-E1C8-B672-15238E024E5B}"/>
                  </a:ext>
                </a:extLst>
              </p:cNvPr>
              <p:cNvSpPr/>
              <p:nvPr/>
            </p:nvSpPr>
            <p:spPr>
              <a:xfrm>
                <a:off x="6136869" y="3363740"/>
                <a:ext cx="40869" cy="40869"/>
              </a:xfrm>
              <a:custGeom>
                <a:avLst/>
                <a:gdLst>
                  <a:gd name="connsiteX0" fmla="*/ 40869 w 40868"/>
                  <a:gd name="connsiteY0" fmla="*/ 20434 h 40868"/>
                  <a:gd name="connsiteX1" fmla="*/ 20434 w 40868"/>
                  <a:gd name="connsiteY1" fmla="*/ 40869 h 40868"/>
                  <a:gd name="connsiteX2" fmla="*/ 0 w 40868"/>
                  <a:gd name="connsiteY2" fmla="*/ 20434 h 40868"/>
                  <a:gd name="connsiteX3" fmla="*/ 20434 w 40868"/>
                  <a:gd name="connsiteY3" fmla="*/ 0 h 40868"/>
                  <a:gd name="connsiteX4" fmla="*/ 40869 w 40868"/>
                  <a:gd name="connsiteY4" fmla="*/ 20434 h 4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68" h="40868">
                    <a:moveTo>
                      <a:pt x="40869" y="20434"/>
                    </a:moveTo>
                    <a:cubicBezTo>
                      <a:pt x="40869" y="31720"/>
                      <a:pt x="31720" y="40869"/>
                      <a:pt x="20434" y="40869"/>
                    </a:cubicBezTo>
                    <a:cubicBezTo>
                      <a:pt x="9149" y="40869"/>
                      <a:pt x="0" y="31720"/>
                      <a:pt x="0" y="20434"/>
                    </a:cubicBezTo>
                    <a:cubicBezTo>
                      <a:pt x="0" y="9149"/>
                      <a:pt x="9149" y="0"/>
                      <a:pt x="20434" y="0"/>
                    </a:cubicBezTo>
                    <a:cubicBezTo>
                      <a:pt x="31720" y="0"/>
                      <a:pt x="40869" y="9149"/>
                      <a:pt x="40869" y="20434"/>
                    </a:cubicBezTo>
                    <a:close/>
                  </a:path>
                </a:pathLst>
              </a:custGeom>
              <a:grpFill/>
              <a:ln w="2540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7580E">
                      <a:lumOff val="-57413"/>
                    </a:srgbClr>
                  </a:solidFill>
                  <a:effectLst/>
                  <a:uLnTx/>
                  <a:uFill>
                    <a:solidFill>
                      <a:srgbClr val="F7580E">
                        <a:lumOff val="-57413"/>
                      </a:srgbClr>
                    </a:solidFill>
                  </a:uFill>
                </a:endParaRPr>
              </a:p>
            </p:txBody>
          </p:sp>
          <p:sp>
            <p:nvSpPr>
              <p:cNvPr id="153" name="Freeform: Shape 152">
                <a:extLst>
                  <a:ext uri="{FF2B5EF4-FFF2-40B4-BE49-F238E27FC236}">
                    <a16:creationId xmlns:a16="http://schemas.microsoft.com/office/drawing/2014/main" id="{D54FE1A9-D3AD-1AAF-665D-51333A2FD75C}"/>
                  </a:ext>
                </a:extLst>
              </p:cNvPr>
              <p:cNvSpPr/>
              <p:nvPr/>
            </p:nvSpPr>
            <p:spPr>
              <a:xfrm>
                <a:off x="6007452" y="3479398"/>
                <a:ext cx="177097" cy="54491"/>
              </a:xfrm>
              <a:custGeom>
                <a:avLst/>
                <a:gdLst>
                  <a:gd name="connsiteX0" fmla="*/ 88549 w 177097"/>
                  <a:gd name="connsiteY0" fmla="*/ 54628 h 54491"/>
                  <a:gd name="connsiteX1" fmla="*/ 1363 w 177097"/>
                  <a:gd name="connsiteY1" fmla="*/ 10899 h 54491"/>
                  <a:gd name="connsiteX2" fmla="*/ 2725 w 177097"/>
                  <a:gd name="connsiteY2" fmla="*/ 1363 h 54491"/>
                  <a:gd name="connsiteX3" fmla="*/ 12261 w 177097"/>
                  <a:gd name="connsiteY3" fmla="*/ 2725 h 54491"/>
                  <a:gd name="connsiteX4" fmla="*/ 145765 w 177097"/>
                  <a:gd name="connsiteY4" fmla="*/ 21797 h 54491"/>
                  <a:gd name="connsiteX5" fmla="*/ 164837 w 177097"/>
                  <a:gd name="connsiteY5" fmla="*/ 2725 h 54491"/>
                  <a:gd name="connsiteX6" fmla="*/ 174373 w 177097"/>
                  <a:gd name="connsiteY6" fmla="*/ 1363 h 54491"/>
                  <a:gd name="connsiteX7" fmla="*/ 175735 w 177097"/>
                  <a:gd name="connsiteY7" fmla="*/ 10899 h 54491"/>
                  <a:gd name="connsiteX8" fmla="*/ 88549 w 177097"/>
                  <a:gd name="connsiteY8" fmla="*/ 54628 h 5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097" h="54491">
                    <a:moveTo>
                      <a:pt x="88549" y="54628"/>
                    </a:moveTo>
                    <a:cubicBezTo>
                      <a:pt x="54181" y="54770"/>
                      <a:pt x="21801" y="38530"/>
                      <a:pt x="1363" y="10899"/>
                    </a:cubicBezTo>
                    <a:cubicBezTo>
                      <a:pt x="-895" y="7889"/>
                      <a:pt x="-284" y="3620"/>
                      <a:pt x="2725" y="1363"/>
                    </a:cubicBezTo>
                    <a:cubicBezTo>
                      <a:pt x="5753" y="-818"/>
                      <a:pt x="9964" y="-216"/>
                      <a:pt x="12261" y="2725"/>
                    </a:cubicBezTo>
                    <a:cubicBezTo>
                      <a:pt x="43861" y="44858"/>
                      <a:pt x="103632" y="53397"/>
                      <a:pt x="145765" y="21797"/>
                    </a:cubicBezTo>
                    <a:cubicBezTo>
                      <a:pt x="152993" y="16375"/>
                      <a:pt x="159415" y="9953"/>
                      <a:pt x="164837" y="2725"/>
                    </a:cubicBezTo>
                    <a:cubicBezTo>
                      <a:pt x="167094" y="-284"/>
                      <a:pt x="171364" y="-895"/>
                      <a:pt x="174373" y="1363"/>
                    </a:cubicBezTo>
                    <a:cubicBezTo>
                      <a:pt x="177382" y="3620"/>
                      <a:pt x="177993" y="7889"/>
                      <a:pt x="175735" y="10899"/>
                    </a:cubicBezTo>
                    <a:cubicBezTo>
                      <a:pt x="155297" y="38530"/>
                      <a:pt x="122917" y="54770"/>
                      <a:pt x="88549" y="54628"/>
                    </a:cubicBezTo>
                    <a:close/>
                  </a:path>
                </a:pathLst>
              </a:custGeom>
              <a:grpFill/>
              <a:ln w="25400" cap="flat">
                <a:solidFill>
                  <a:srgbClr val="416CF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7580E">
                      <a:lumOff val="-57413"/>
                    </a:srgbClr>
                  </a:solidFill>
                  <a:effectLst/>
                  <a:uLnTx/>
                  <a:uFill>
                    <a:solidFill>
                      <a:srgbClr val="F7580E">
                        <a:lumOff val="-57413"/>
                      </a:srgbClr>
                    </a:solidFill>
                  </a:uFill>
                </a:endParaRPr>
              </a:p>
            </p:txBody>
          </p:sp>
        </p:grpSp>
      </p:grpSp>
      <p:grpSp>
        <p:nvGrpSpPr>
          <p:cNvPr id="41" name="Group 40">
            <a:extLst>
              <a:ext uri="{FF2B5EF4-FFF2-40B4-BE49-F238E27FC236}">
                <a16:creationId xmlns:a16="http://schemas.microsoft.com/office/drawing/2014/main" id="{A81F487D-3DF9-72D8-EE3A-0544D3584FAF}"/>
              </a:ext>
            </a:extLst>
          </p:cNvPr>
          <p:cNvGrpSpPr/>
          <p:nvPr/>
        </p:nvGrpSpPr>
        <p:grpSpPr>
          <a:xfrm>
            <a:off x="1551691" y="5655479"/>
            <a:ext cx="9232453" cy="2815722"/>
            <a:chOff x="1551691" y="5697046"/>
            <a:chExt cx="9232453" cy="2815722"/>
          </a:xfrm>
        </p:grpSpPr>
        <p:sp>
          <p:nvSpPr>
            <p:cNvPr id="17" name="Rectangle 16">
              <a:extLst>
                <a:ext uri="{FF2B5EF4-FFF2-40B4-BE49-F238E27FC236}">
                  <a16:creationId xmlns:a16="http://schemas.microsoft.com/office/drawing/2014/main" id="{2E1F8823-6B57-7E08-8E4D-A4C1953A6D42}"/>
                </a:ext>
              </a:extLst>
            </p:cNvPr>
            <p:cNvSpPr/>
            <p:nvPr/>
          </p:nvSpPr>
          <p:spPr>
            <a:xfrm>
              <a:off x="3222450" y="6203041"/>
              <a:ext cx="7555187" cy="2309727"/>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L="0" marR="0" indent="0" algn="ctr" defTabSz="822960" rtl="0" fontAlgn="auto" latinLnBrk="0" hangingPunct="0">
                <a:lnSpc>
                  <a:spcPct val="140000"/>
                </a:lnSpc>
                <a:spcBef>
                  <a:spcPts val="0"/>
                </a:spcBef>
                <a:spcAft>
                  <a:spcPts val="0"/>
                </a:spcAft>
                <a:buClrTx/>
                <a:buSzTx/>
                <a:buFontTx/>
                <a:buNone/>
                <a:tabLst/>
              </a:pPr>
              <a:endParaRPr kumimoji="0" lang="en-GB" sz="2800" b="0" i="0" u="none" strike="noStrike" cap="none" spc="0" normalizeH="0" baseline="0">
                <a:ln>
                  <a:noFill/>
                </a:ln>
                <a:solidFill>
                  <a:schemeClr val="bg1"/>
                </a:solidFill>
                <a:effectLst/>
                <a:uFillTx/>
                <a:latin typeface="+mn-lt"/>
                <a:ea typeface="+mn-ea"/>
                <a:cs typeface="+mn-cs"/>
                <a:sym typeface="BentonSansF Book"/>
              </a:endParaRPr>
            </a:p>
          </p:txBody>
        </p:sp>
        <p:sp>
          <p:nvSpPr>
            <p:cNvPr id="118" name="Rectangle 117">
              <a:extLst>
                <a:ext uri="{FF2B5EF4-FFF2-40B4-BE49-F238E27FC236}">
                  <a16:creationId xmlns:a16="http://schemas.microsoft.com/office/drawing/2014/main" id="{211A2907-DF5B-5AF1-47D4-D4E1404C54B6}"/>
                </a:ext>
              </a:extLst>
            </p:cNvPr>
            <p:cNvSpPr/>
            <p:nvPr/>
          </p:nvSpPr>
          <p:spPr>
            <a:xfrm>
              <a:off x="3527289" y="7315187"/>
              <a:ext cx="7250348" cy="1197581"/>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rPr>
                <a:t>Balances the precision and recall in detecting the damaged vehicle parts.</a:t>
              </a: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E176D"/>
                  </a:solidFill>
                  <a:effectLst/>
                  <a:uLnTx/>
                  <a:uFillTx/>
                </a:rPr>
                <a:t>Precision: </a:t>
              </a:r>
              <a:r>
                <a:rPr kumimoji="0" lang="en-US" sz="1600" b="0" i="0" u="none" strike="noStrike" kern="1200" cap="none" spc="0" normalizeH="0" baseline="0" noProof="0">
                  <a:ln>
                    <a:noFill/>
                  </a:ln>
                  <a:solidFill>
                    <a:prstClr val="black"/>
                  </a:solidFill>
                  <a:effectLst/>
                  <a:uLnTx/>
                  <a:uFillTx/>
                </a:rPr>
                <a:t>Ensure the model detects vehicle parts that are truly damaged</a:t>
              </a: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E176D"/>
                  </a:solidFill>
                  <a:effectLst/>
                  <a:uLnTx/>
                  <a:uFillTx/>
                </a:rPr>
                <a:t>Recall: </a:t>
              </a:r>
              <a:r>
                <a:rPr kumimoji="0" lang="en-US" sz="1600" b="0" i="0" u="none" strike="noStrike" kern="1200" cap="none" spc="0" normalizeH="0" baseline="0" noProof="0">
                  <a:ln>
                    <a:noFill/>
                  </a:ln>
                  <a:solidFill>
                    <a:prstClr val="black"/>
                  </a:solidFill>
                  <a:effectLst/>
                  <a:uLnTx/>
                  <a:uFillTx/>
                </a:rPr>
                <a:t>Assess the completeness of detections, evaluating the risk of detecting too many or few damaged vehicle parts</a:t>
              </a:r>
            </a:p>
          </p:txBody>
        </p:sp>
        <p:sp>
          <p:nvSpPr>
            <p:cNvPr id="119" name="Rectangle 118">
              <a:extLst>
                <a:ext uri="{FF2B5EF4-FFF2-40B4-BE49-F238E27FC236}">
                  <a16:creationId xmlns:a16="http://schemas.microsoft.com/office/drawing/2014/main" id="{210206ED-AA00-08D4-E551-836A62954487}"/>
                </a:ext>
              </a:extLst>
            </p:cNvPr>
            <p:cNvSpPr/>
            <p:nvPr/>
          </p:nvSpPr>
          <p:spPr>
            <a:xfrm>
              <a:off x="1551695" y="5697046"/>
              <a:ext cx="9232449" cy="505995"/>
            </a:xfrm>
            <a:prstGeom prst="rect">
              <a:avLst/>
            </a:prstGeom>
            <a:solidFill>
              <a:srgbClr val="0E176D"/>
            </a:solidFill>
            <a:ln w="12700" cap="flat" cmpd="sng" algn="ctr">
              <a:noFill/>
              <a:prstDash val="solid"/>
              <a:miter lim="800000"/>
            </a:ln>
            <a:effectLst/>
          </p:spPr>
          <p:txBody>
            <a:bodyPr rtlCol="0" anchor="ctr"/>
            <a:lstStyle/>
            <a:p>
              <a:pPr marR="0" algn="ctr" defTabSz="457200" hangingPunct="1">
                <a:lnSpc>
                  <a:spcPct val="100000"/>
                </a:lnSpc>
                <a:defRPr/>
              </a:pPr>
              <a:r>
                <a:rPr lang="en-US" sz="2000" b="1" kern="1200">
                  <a:solidFill>
                    <a:schemeClr val="bg1"/>
                  </a:solidFill>
                  <a:uFillTx/>
                </a:rPr>
                <a:t>Damage Assessment</a:t>
              </a:r>
            </a:p>
          </p:txBody>
        </p:sp>
        <p:sp>
          <p:nvSpPr>
            <p:cNvPr id="120" name="Rectangle 119">
              <a:extLst>
                <a:ext uri="{FF2B5EF4-FFF2-40B4-BE49-F238E27FC236}">
                  <a16:creationId xmlns:a16="http://schemas.microsoft.com/office/drawing/2014/main" id="{B005D341-AABA-3501-891B-EDACA0A36313}"/>
                </a:ext>
              </a:extLst>
            </p:cNvPr>
            <p:cNvSpPr/>
            <p:nvPr/>
          </p:nvSpPr>
          <p:spPr>
            <a:xfrm>
              <a:off x="1551691" y="6203041"/>
              <a:ext cx="1677267" cy="2309727"/>
            </a:xfrm>
            <a:prstGeom prst="rect">
              <a:avLst/>
            </a:prstGeom>
            <a:solidFill>
              <a:srgbClr val="C7D4F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E176D"/>
                  </a:solidFill>
                  <a:effectLst/>
                  <a:uLnTx/>
                  <a:uFillTx/>
                </a:rPr>
                <a:t>F1</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E176D"/>
                  </a:solidFill>
                  <a:effectLst/>
                  <a:uLnTx/>
                  <a:uFillTx/>
                </a:rPr>
                <a:t>Score</a:t>
              </a:r>
            </a:p>
          </p:txBody>
        </p:sp>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E39C0019-844E-5480-8C1A-5B1D58167893}"/>
                    </a:ext>
                  </a:extLst>
                </p:cNvPr>
                <p:cNvSpPr txBox="1"/>
                <p:nvPr/>
              </p:nvSpPr>
              <p:spPr>
                <a:xfrm>
                  <a:off x="3297036" y="6237309"/>
                  <a:ext cx="7406013" cy="10464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14:m>
                    <m:oMathPara xmlns:m="http://schemas.openxmlformats.org/officeDocument/2006/math">
                      <m:oMathParaPr>
                        <m:jc m:val="centerGroup"/>
                      </m:oMathParaPr>
                      <m:oMath xmlns:m="http://schemas.openxmlformats.org/officeDocument/2006/math">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𝑃𝑟𝑒𝑐</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m:t>
                        </m:r>
                        <m:f>
                          <m:fPr>
                            <m:ctrlP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ctrlPr>
                          </m:fPr>
                          <m:num>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𝑇𝑃</m:t>
                            </m:r>
                          </m:num>
                          <m:den>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𝑇𝑃</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𝐹𝑃</m:t>
                            </m:r>
                          </m:den>
                        </m:f>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    </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𝑅𝑒𝑐𝑎𝑙𝑙</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m:t>
                        </m:r>
                        <m:f>
                          <m:fPr>
                            <m:ctrlP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ctrlPr>
                          </m:fPr>
                          <m:num>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𝑇𝑃</m:t>
                            </m:r>
                          </m:num>
                          <m:den>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𝑇𝑃</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𝐹𝑁</m:t>
                            </m:r>
                          </m:den>
                        </m:f>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    </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𝐹</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1=</m:t>
                        </m:r>
                        <m:f>
                          <m:fPr>
                            <m:ctrlP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ctrlPr>
                          </m:fPr>
                          <m:num>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𝑃</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𝑅</m:t>
                            </m:r>
                          </m:num>
                          <m:den>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𝑃</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𝑅</m:t>
                            </m:r>
                          </m:den>
                        </m:f>
                      </m:oMath>
                    </m:oMathPara>
                  </a14:m>
                  <a:endParaRPr kumimoji="0" lang="en-US" b="0" i="0" u="none" strike="noStrike" cap="none" spc="0" normalizeH="0" baseline="0">
                    <a:ln>
                      <a:noFill/>
                    </a:ln>
                    <a:solidFill>
                      <a:srgbClr val="0E176D"/>
                    </a:solidFill>
                    <a:effectLst/>
                    <a:uFill>
                      <a:solidFill>
                        <a:schemeClr val="accent1">
                          <a:lumOff val="-57413"/>
                        </a:schemeClr>
                      </a:solidFill>
                    </a:uFill>
                    <a:ea typeface="+mn-ea"/>
                    <a:cs typeface="+mn-cs"/>
                    <a:sym typeface="BentonSansF Book"/>
                  </a:endParaRPr>
                </a:p>
              </p:txBody>
            </p:sp>
          </mc:Choice>
          <mc:Fallback>
            <p:sp>
              <p:nvSpPr>
                <p:cNvPr id="3" name="TextBox 2">
                  <a:extLst>
                    <a:ext uri="{FF2B5EF4-FFF2-40B4-BE49-F238E27FC236}">
                      <a16:creationId xmlns:a16="http://schemas.microsoft.com/office/drawing/2014/main" id="{E39C0019-844E-5480-8C1A-5B1D58167893}"/>
                    </a:ext>
                  </a:extLst>
                </p:cNvPr>
                <p:cNvSpPr txBox="1">
                  <a:spLocks noRot="1" noChangeAspect="1" noMove="1" noResize="1" noEditPoints="1" noAdjustHandles="1" noChangeArrowheads="1" noChangeShapeType="1" noTextEdit="1"/>
                </p:cNvSpPr>
                <p:nvPr/>
              </p:nvSpPr>
              <p:spPr>
                <a:xfrm>
                  <a:off x="3297036" y="6237309"/>
                  <a:ext cx="7406013" cy="1046414"/>
                </a:xfrm>
                <a:prstGeom prst="rect">
                  <a:avLst/>
                </a:prstGeom>
                <a:blipFill>
                  <a:blip r:embed="rId5"/>
                  <a:stretch>
                    <a:fillRect/>
                  </a:stretch>
                </a:blipFill>
                <a:ln w="12700" cap="flat">
                  <a:noFill/>
                  <a:miter lim="400000"/>
                </a:ln>
                <a:effectLst/>
              </p:spPr>
              <p:txBody>
                <a:bodyPr/>
                <a:lstStyle/>
                <a:p>
                  <a:r>
                    <a:rPr lang="en-US">
                      <a:noFill/>
                    </a:rPr>
                    <a:t> </a:t>
                  </a:r>
                </a:p>
              </p:txBody>
            </p:sp>
          </mc:Fallback>
        </mc:AlternateContent>
      </p:grpSp>
      <p:grpSp>
        <p:nvGrpSpPr>
          <p:cNvPr id="21" name="Group 20">
            <a:extLst>
              <a:ext uri="{FF2B5EF4-FFF2-40B4-BE49-F238E27FC236}">
                <a16:creationId xmlns:a16="http://schemas.microsoft.com/office/drawing/2014/main" id="{7B246ED0-5E18-C71F-D5C6-1C703A874773}"/>
              </a:ext>
            </a:extLst>
          </p:cNvPr>
          <p:cNvGrpSpPr/>
          <p:nvPr/>
        </p:nvGrpSpPr>
        <p:grpSpPr>
          <a:xfrm>
            <a:off x="1545183" y="8827394"/>
            <a:ext cx="9232454" cy="3518355"/>
            <a:chOff x="1881793" y="8491255"/>
            <a:chExt cx="9232454" cy="3518355"/>
          </a:xfrm>
        </p:grpSpPr>
        <p:sp>
          <p:nvSpPr>
            <p:cNvPr id="20" name="Rectangle 19">
              <a:extLst>
                <a:ext uri="{FF2B5EF4-FFF2-40B4-BE49-F238E27FC236}">
                  <a16:creationId xmlns:a16="http://schemas.microsoft.com/office/drawing/2014/main" id="{F9F74E71-C7C1-42E9-DC56-6F0EE7904DB0}"/>
                </a:ext>
              </a:extLst>
            </p:cNvPr>
            <p:cNvSpPr/>
            <p:nvPr/>
          </p:nvSpPr>
          <p:spPr>
            <a:xfrm>
              <a:off x="3565568" y="9008894"/>
              <a:ext cx="7548679" cy="2990452"/>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L="0" marR="0" indent="0" algn="ctr" defTabSz="822960" rtl="0" fontAlgn="auto" latinLnBrk="0" hangingPunct="0">
                <a:lnSpc>
                  <a:spcPct val="140000"/>
                </a:lnSpc>
                <a:spcBef>
                  <a:spcPts val="0"/>
                </a:spcBef>
                <a:spcAft>
                  <a:spcPts val="0"/>
                </a:spcAft>
                <a:buClrTx/>
                <a:buSzTx/>
                <a:buFontTx/>
                <a:buNone/>
                <a:tabLst/>
              </a:pPr>
              <a:endParaRPr kumimoji="0" lang="en-GB" sz="2800" b="0" i="0" u="none" strike="noStrike" cap="none" spc="0" normalizeH="0" baseline="0">
                <a:ln>
                  <a:noFill/>
                </a:ln>
                <a:solidFill>
                  <a:schemeClr val="bg1"/>
                </a:solidFill>
                <a:effectLst/>
                <a:uFillTx/>
                <a:latin typeface="+mn-lt"/>
                <a:ea typeface="+mn-ea"/>
                <a:cs typeface="+mn-cs"/>
                <a:sym typeface="BentonSansF Book"/>
              </a:endParaRPr>
            </a:p>
          </p:txBody>
        </p:sp>
        <p:sp>
          <p:nvSpPr>
            <p:cNvPr id="121" name="Rectangle 120">
              <a:extLst>
                <a:ext uri="{FF2B5EF4-FFF2-40B4-BE49-F238E27FC236}">
                  <a16:creationId xmlns:a16="http://schemas.microsoft.com/office/drawing/2014/main" id="{1C3DBB21-6678-00AB-73C5-F7CE9CBD27A0}"/>
                </a:ext>
              </a:extLst>
            </p:cNvPr>
            <p:cNvSpPr/>
            <p:nvPr/>
          </p:nvSpPr>
          <p:spPr>
            <a:xfrm>
              <a:off x="3559060" y="10209970"/>
              <a:ext cx="7555187" cy="1799640"/>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rPr>
                <a:t>Measures deviation between estimated and actual repair costs.</a:t>
              </a: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E176D"/>
                  </a:solidFill>
                  <a:effectLst/>
                  <a:uLnTx/>
                  <a:uFillTx/>
                </a:rPr>
                <a:t>Total Costs</a:t>
              </a:r>
              <a:r>
                <a:rPr kumimoji="0" lang="en-US" sz="1600" b="0" i="0" u="none" strike="noStrike" kern="1200" cap="none" spc="0" normalizeH="0" baseline="0" noProof="0">
                  <a:ln>
                    <a:noFill/>
                  </a:ln>
                  <a:solidFill>
                    <a:srgbClr val="0E176D"/>
                  </a:solidFill>
                  <a:effectLst/>
                  <a:uLnTx/>
                  <a:uFillTx/>
                </a:rPr>
                <a:t>: </a:t>
              </a:r>
              <a:r>
                <a:rPr kumimoji="0" lang="en-US" sz="1600" b="0" i="0" u="none" strike="noStrike" kern="1200" cap="none" spc="0" normalizeH="0" baseline="0" noProof="0">
                  <a:ln>
                    <a:noFill/>
                  </a:ln>
                  <a:solidFill>
                    <a:prstClr val="black"/>
                  </a:solidFill>
                  <a:effectLst/>
                  <a:uLnTx/>
                  <a:uFillTx/>
                </a:rPr>
                <a:t>Average absolute difference between estimated and actual total repair costs, assessing estimation accuracy overall.</a:t>
              </a: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E176D"/>
                  </a:solidFill>
                  <a:effectLst/>
                  <a:uLnTx/>
                  <a:uFillTx/>
                </a:rPr>
                <a:t>Costs per Part</a:t>
              </a:r>
              <a:r>
                <a:rPr kumimoji="0" lang="en-US" sz="1600" b="0" i="0" u="none" strike="noStrike" kern="1200" cap="none" spc="0" normalizeH="0" baseline="0" noProof="0">
                  <a:ln>
                    <a:noFill/>
                  </a:ln>
                  <a:solidFill>
                    <a:srgbClr val="0E176D"/>
                  </a:solidFill>
                  <a:effectLst/>
                  <a:uLnTx/>
                  <a:uFillTx/>
                </a:rPr>
                <a:t>: </a:t>
              </a:r>
              <a:r>
                <a:rPr kumimoji="0" lang="en-US" sz="1600" b="0" i="0" u="none" strike="noStrike" kern="1200" cap="none" spc="0" normalizeH="0" baseline="0" noProof="0">
                  <a:ln>
                    <a:noFill/>
                  </a:ln>
                  <a:solidFill>
                    <a:prstClr val="black"/>
                  </a:solidFill>
                  <a:effectLst/>
                  <a:uLnTx/>
                  <a:uFillTx/>
                </a:rPr>
                <a:t>Average absolute difference between estimated and actual costs for individual vehicle parts, offering insights into part-specific estimation accuracy.</a:t>
              </a:r>
            </a:p>
          </p:txBody>
        </p:sp>
        <p:sp>
          <p:nvSpPr>
            <p:cNvPr id="122" name="Rectangle 121">
              <a:extLst>
                <a:ext uri="{FF2B5EF4-FFF2-40B4-BE49-F238E27FC236}">
                  <a16:creationId xmlns:a16="http://schemas.microsoft.com/office/drawing/2014/main" id="{AA41BB3F-9DDD-19B0-74CB-278737CFCDEF}"/>
                </a:ext>
              </a:extLst>
            </p:cNvPr>
            <p:cNvSpPr/>
            <p:nvPr/>
          </p:nvSpPr>
          <p:spPr>
            <a:xfrm>
              <a:off x="1881793" y="9003497"/>
              <a:ext cx="1677267" cy="2995848"/>
            </a:xfrm>
            <a:prstGeom prst="rect">
              <a:avLst/>
            </a:prstGeom>
            <a:solidFill>
              <a:srgbClr val="C7D4F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E176D"/>
                  </a:solidFill>
                  <a:effectLst/>
                  <a:uLnTx/>
                  <a:uFillTx/>
                </a:rPr>
                <a:t>Cost</a:t>
              </a:r>
              <a:endParaRPr kumimoji="0" lang="de-DE" sz="2800" b="1" i="0" u="none" strike="noStrike" kern="1200" cap="none" spc="0" normalizeH="0" baseline="0" noProof="0">
                <a:ln>
                  <a:noFill/>
                </a:ln>
                <a:solidFill>
                  <a:srgbClr val="0E176D"/>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0E176D"/>
                  </a:solidFill>
                  <a:effectLst/>
                  <a:uLnTx/>
                  <a:uFillTx/>
                </a:rPr>
                <a:t>Error Rate</a:t>
              </a:r>
              <a:endParaRPr kumimoji="0" lang="en-US" sz="2800" b="1" i="0" u="none" strike="noStrike" kern="1200" cap="none" spc="0" normalizeH="0" baseline="0" noProof="0">
                <a:ln>
                  <a:noFill/>
                </a:ln>
                <a:solidFill>
                  <a:srgbClr val="0E176D"/>
                </a:solidFill>
                <a:effectLst/>
                <a:uLnTx/>
                <a:uFillTx/>
              </a:endParaRPr>
            </a:p>
          </p:txBody>
        </p:sp>
        <p:sp>
          <p:nvSpPr>
            <p:cNvPr id="123" name="Rectangle 122">
              <a:extLst>
                <a:ext uri="{FF2B5EF4-FFF2-40B4-BE49-F238E27FC236}">
                  <a16:creationId xmlns:a16="http://schemas.microsoft.com/office/drawing/2014/main" id="{4DC6D4F1-B8E9-2FCB-3640-63ED43F20D2A}"/>
                </a:ext>
              </a:extLst>
            </p:cNvPr>
            <p:cNvSpPr/>
            <p:nvPr/>
          </p:nvSpPr>
          <p:spPr>
            <a:xfrm>
              <a:off x="1881797" y="8491255"/>
              <a:ext cx="9232450" cy="517638"/>
            </a:xfrm>
            <a:prstGeom prst="rect">
              <a:avLst/>
            </a:prstGeom>
            <a:solidFill>
              <a:srgbClr val="0E176D"/>
            </a:solidFill>
            <a:ln w="12700" cap="flat" cmpd="sng" algn="ctr">
              <a:noFill/>
              <a:prstDash val="solid"/>
              <a:miter lim="800000"/>
            </a:ln>
            <a:effectLst/>
          </p:spPr>
          <p:txBody>
            <a:bodyPr rtlCol="0" anchor="ctr"/>
            <a:lstStyle/>
            <a:p>
              <a:pPr marR="0" algn="ctr" defTabSz="457200" hangingPunct="1">
                <a:lnSpc>
                  <a:spcPct val="100000"/>
                </a:lnSpc>
                <a:defRPr/>
              </a:pPr>
              <a:r>
                <a:rPr lang="en-US" sz="2000" b="1" kern="1200">
                  <a:solidFill>
                    <a:prstClr val="white"/>
                  </a:solidFill>
                  <a:uFillTx/>
                </a:rPr>
                <a:t>Cost Estimation</a:t>
              </a:r>
            </a:p>
          </p:txBody>
        </p:sp>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E4F77F98-E3AA-0713-241C-57DC7A145609}"/>
                    </a:ext>
                  </a:extLst>
                </p:cNvPr>
                <p:cNvSpPr txBox="1"/>
                <p:nvPr/>
              </p:nvSpPr>
              <p:spPr>
                <a:xfrm>
                  <a:off x="3581265" y="9016012"/>
                  <a:ext cx="7406013" cy="10464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a:lnSpc>
                      <a:spcPct val="140000"/>
                    </a:lnSpc>
                  </a:pPr>
                  <a14:m>
                    <m:oMathPara xmlns:m="http://schemas.openxmlformats.org/officeDocument/2006/math">
                      <m:oMathParaPr>
                        <m:jc m:val="centerGroup"/>
                      </m:oMathParaPr>
                      <m:oMath xmlns:m="http://schemas.openxmlformats.org/officeDocument/2006/math">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𝐶𝑜𝑠𝑡</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 </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𝐸𝑟𝑟𝑜𝑟</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 </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𝑅𝑎𝑡𝑒</m:t>
                        </m:r>
                        <m: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t>= </m:t>
                        </m:r>
                        <m:f>
                          <m:fPr>
                            <m:ctrlPr>
                              <a:rPr kumimoji="0" lang="en-US" b="0" i="1" u="none" strike="noStrike" cap="none" spc="0" normalizeH="0" baseline="0" smtClean="0">
                                <a:ln>
                                  <a:noFill/>
                                </a:ln>
                                <a:solidFill>
                                  <a:srgbClr val="0E176D"/>
                                </a:solidFill>
                                <a:effectLst/>
                                <a:uFill>
                                  <a:solidFill>
                                    <a:schemeClr val="accent1">
                                      <a:lumOff val="-57413"/>
                                    </a:schemeClr>
                                  </a:solidFill>
                                </a:uFill>
                                <a:latin typeface="Cambria Math" panose="02040503050406030204" pitchFamily="18" charset="0"/>
                                <a:ea typeface="+mn-ea"/>
                                <a:cs typeface="+mn-cs"/>
                                <a:sym typeface="BentonSansF Book"/>
                              </a:rPr>
                            </m:ctrlPr>
                          </m:fPr>
                          <m:num>
                            <m:r>
                              <a:rPr lang="en-US" i="1">
                                <a:solidFill>
                                  <a:srgbClr val="0E176D"/>
                                </a:solidFill>
                                <a:latin typeface="Cambria Math" panose="02040503050406030204" pitchFamily="18" charset="0"/>
                              </a:rPr>
                              <m:t> </m:t>
                            </m:r>
                            <m:sSub>
                              <m:sSubPr>
                                <m:ctrlPr>
                                  <a:rPr lang="en-US" i="1" smtClean="0">
                                    <a:solidFill>
                                      <a:srgbClr val="0E176D"/>
                                    </a:solidFill>
                                    <a:latin typeface="Cambria Math" panose="02040503050406030204" pitchFamily="18" charset="0"/>
                                  </a:rPr>
                                </m:ctrlPr>
                              </m:sSubPr>
                              <m:e>
                                <m:r>
                                  <a:rPr lang="en-US" i="1">
                                    <a:solidFill>
                                      <a:srgbClr val="0E176D"/>
                                    </a:solidFill>
                                    <a:latin typeface="Cambria Math" panose="02040503050406030204" pitchFamily="18" charset="0"/>
                                  </a:rPr>
                                  <m:t> </m:t>
                                </m:r>
                                <m:r>
                                  <a:rPr lang="en-US" i="1">
                                    <a:solidFill>
                                      <a:srgbClr val="0E176D"/>
                                    </a:solidFill>
                                    <a:latin typeface="Cambria Math" panose="02040503050406030204" pitchFamily="18" charset="0"/>
                                  </a:rPr>
                                  <m:t>𝐶𝑜𝑠𝑡</m:t>
                                </m:r>
                              </m:e>
                              <m:sub>
                                <m:r>
                                  <a:rPr lang="en-US" b="0" i="1" smtClean="0">
                                    <a:solidFill>
                                      <a:srgbClr val="0E176D"/>
                                    </a:solidFill>
                                    <a:latin typeface="Cambria Math" panose="02040503050406030204" pitchFamily="18" charset="0"/>
                                  </a:rPr>
                                  <m:t>𝐸𝑠𝑡𝑖𝑚𝑎𝑡𝑒𝑑</m:t>
                                </m:r>
                              </m:sub>
                            </m:sSub>
                            <m:r>
                              <a:rPr lang="en-US" i="1">
                                <a:solidFill>
                                  <a:srgbClr val="0E176D"/>
                                </a:solidFill>
                                <a:latin typeface="Cambria Math" panose="02040503050406030204" pitchFamily="18" charset="0"/>
                              </a:rPr>
                              <m:t>−</m:t>
                            </m:r>
                            <m:sSub>
                              <m:sSubPr>
                                <m:ctrlPr>
                                  <a:rPr lang="en-US" i="1">
                                    <a:solidFill>
                                      <a:srgbClr val="0E176D"/>
                                    </a:solidFill>
                                    <a:latin typeface="Cambria Math" panose="02040503050406030204" pitchFamily="18" charset="0"/>
                                  </a:rPr>
                                </m:ctrlPr>
                              </m:sSubPr>
                              <m:e>
                                <m:r>
                                  <a:rPr lang="en-US" i="1">
                                    <a:solidFill>
                                      <a:srgbClr val="0E176D"/>
                                    </a:solidFill>
                                    <a:latin typeface="Cambria Math" panose="02040503050406030204" pitchFamily="18" charset="0"/>
                                  </a:rPr>
                                  <m:t> </m:t>
                                </m:r>
                                <m:r>
                                  <a:rPr lang="en-US" i="1">
                                    <a:solidFill>
                                      <a:srgbClr val="0E176D"/>
                                    </a:solidFill>
                                    <a:latin typeface="Cambria Math" panose="02040503050406030204" pitchFamily="18" charset="0"/>
                                  </a:rPr>
                                  <m:t>𝐶𝑜𝑠𝑡</m:t>
                                </m:r>
                              </m:e>
                              <m:sub>
                                <m:r>
                                  <a:rPr lang="en-US" b="0" i="1" smtClean="0">
                                    <a:solidFill>
                                      <a:srgbClr val="0E176D"/>
                                    </a:solidFill>
                                    <a:latin typeface="Cambria Math" panose="02040503050406030204" pitchFamily="18" charset="0"/>
                                  </a:rPr>
                                  <m:t>𝐴𝑐𝑡𝑢𝑎𝑙</m:t>
                                </m:r>
                              </m:sub>
                            </m:sSub>
                          </m:num>
                          <m:den>
                            <m:sSub>
                              <m:sSubPr>
                                <m:ctrlPr>
                                  <a:rPr lang="en-US" i="1">
                                    <a:solidFill>
                                      <a:srgbClr val="0E176D"/>
                                    </a:solidFill>
                                    <a:latin typeface="Cambria Math" panose="02040503050406030204" pitchFamily="18" charset="0"/>
                                  </a:rPr>
                                </m:ctrlPr>
                              </m:sSubPr>
                              <m:e>
                                <m:r>
                                  <a:rPr lang="en-US" i="1">
                                    <a:solidFill>
                                      <a:srgbClr val="0E176D"/>
                                    </a:solidFill>
                                    <a:latin typeface="Cambria Math" panose="02040503050406030204" pitchFamily="18" charset="0"/>
                                  </a:rPr>
                                  <m:t> </m:t>
                                </m:r>
                                <m:r>
                                  <a:rPr lang="en-US" i="1">
                                    <a:solidFill>
                                      <a:srgbClr val="0E176D"/>
                                    </a:solidFill>
                                    <a:latin typeface="Cambria Math" panose="02040503050406030204" pitchFamily="18" charset="0"/>
                                  </a:rPr>
                                  <m:t>𝐶𝑜𝑠𝑡</m:t>
                                </m:r>
                              </m:e>
                              <m:sub>
                                <m:r>
                                  <a:rPr lang="en-US" i="1">
                                    <a:solidFill>
                                      <a:srgbClr val="0E176D"/>
                                    </a:solidFill>
                                    <a:latin typeface="Cambria Math" panose="02040503050406030204" pitchFamily="18" charset="0"/>
                                  </a:rPr>
                                  <m:t>𝐴𝑐𝑡𝑢𝑎𝑙</m:t>
                                </m:r>
                              </m:sub>
                            </m:sSub>
                          </m:den>
                        </m:f>
                      </m:oMath>
                    </m:oMathPara>
                  </a14:m>
                  <a:endParaRPr kumimoji="0" lang="en-US" b="0" i="0" u="none" strike="noStrike" cap="none" spc="0" normalizeH="0" baseline="0">
                    <a:ln>
                      <a:noFill/>
                    </a:ln>
                    <a:solidFill>
                      <a:schemeClr val="accent1">
                        <a:lumOff val="-57413"/>
                      </a:schemeClr>
                    </a:solidFill>
                    <a:effectLst/>
                    <a:uFill>
                      <a:solidFill>
                        <a:schemeClr val="accent1">
                          <a:lumOff val="-57413"/>
                        </a:schemeClr>
                      </a:solidFill>
                    </a:uFill>
                    <a:ea typeface="+mn-ea"/>
                    <a:cs typeface="+mn-cs"/>
                    <a:sym typeface="BentonSansF Book"/>
                  </a:endParaRPr>
                </a:p>
              </p:txBody>
            </p:sp>
          </mc:Choice>
          <mc:Fallback>
            <p:sp>
              <p:nvSpPr>
                <p:cNvPr id="5" name="TextBox 4">
                  <a:extLst>
                    <a:ext uri="{FF2B5EF4-FFF2-40B4-BE49-F238E27FC236}">
                      <a16:creationId xmlns:a16="http://schemas.microsoft.com/office/drawing/2014/main" id="{E4F77F98-E3AA-0713-241C-57DC7A145609}"/>
                    </a:ext>
                  </a:extLst>
                </p:cNvPr>
                <p:cNvSpPr txBox="1">
                  <a:spLocks noRot="1" noChangeAspect="1" noMove="1" noResize="1" noEditPoints="1" noAdjustHandles="1" noChangeArrowheads="1" noChangeShapeType="1" noTextEdit="1"/>
                </p:cNvSpPr>
                <p:nvPr/>
              </p:nvSpPr>
              <p:spPr>
                <a:xfrm>
                  <a:off x="3581265" y="9016012"/>
                  <a:ext cx="7406013" cy="1046414"/>
                </a:xfrm>
                <a:prstGeom prst="rect">
                  <a:avLst/>
                </a:prstGeom>
                <a:blipFill>
                  <a:blip r:embed="rId6"/>
                  <a:stretch>
                    <a:fillRect/>
                  </a:stretch>
                </a:blipFill>
                <a:ln w="12700" cap="flat">
                  <a:noFill/>
                  <a:miter lim="400000"/>
                </a:ln>
                <a:effectLst/>
              </p:spPr>
              <p:txBody>
                <a:bodyPr/>
                <a:lstStyle/>
                <a:p>
                  <a:r>
                    <a:rPr lang="en-US">
                      <a:noFill/>
                    </a:rPr>
                    <a:t> </a:t>
                  </a:r>
                </a:p>
              </p:txBody>
            </p:sp>
          </mc:Fallback>
        </mc:AlternateContent>
      </p:grpSp>
      <p:sp>
        <p:nvSpPr>
          <p:cNvPr id="11" name="Footer Placeholder 3">
            <a:extLst>
              <a:ext uri="{FF2B5EF4-FFF2-40B4-BE49-F238E27FC236}">
                <a16:creationId xmlns:a16="http://schemas.microsoft.com/office/drawing/2014/main" id="{EA621F27-9C35-99FE-9B78-0620C874C074}"/>
              </a:ext>
            </a:extLst>
          </p:cNvPr>
          <p:cNvSpPr>
            <a:spLocks noGrp="1"/>
          </p:cNvSpPr>
          <p:nvPr>
            <p:ph type="ftr" sz="quarter" idx="11"/>
          </p:nvPr>
        </p:nvSpPr>
        <p:spPr>
          <a:xfrm>
            <a:off x="17403229" y="13025875"/>
            <a:ext cx="5205944" cy="369328"/>
          </a:xfrm>
        </p:spPr>
        <p:txBody>
          <a:bodyPr/>
          <a:lstStyle>
            <a:lvl1pPr>
              <a:defRPr b="0" i="0"/>
            </a:lvl1pPr>
          </a:lstStyle>
          <a:p>
            <a:r>
              <a:rPr lang="en-US"/>
              <a:t>AI Genies | Claire the Car Repair Assessment Agent</a:t>
            </a:r>
            <a:endParaRPr lang="de-DE"/>
          </a:p>
        </p:txBody>
      </p:sp>
      <p:sp>
        <p:nvSpPr>
          <p:cNvPr id="13" name="Title 2">
            <a:extLst>
              <a:ext uri="{FF2B5EF4-FFF2-40B4-BE49-F238E27FC236}">
                <a16:creationId xmlns:a16="http://schemas.microsoft.com/office/drawing/2014/main" id="{23A823A1-0E7D-9C45-9E64-4009CC6450F2}"/>
              </a:ext>
            </a:extLst>
          </p:cNvPr>
          <p:cNvSpPr txBox="1">
            <a:spLocks/>
          </p:cNvSpPr>
          <p:nvPr/>
        </p:nvSpPr>
        <p:spPr>
          <a:xfrm>
            <a:off x="1224655" y="4102394"/>
            <a:ext cx="9998357" cy="276999"/>
          </a:xfrm>
          <a:prstGeom prst="rect">
            <a:avLst/>
          </a:prstGeom>
        </p:spPr>
        <p:txBody>
          <a:bodyPr vert="horz" wrap="square" lIns="0" tIns="0" rIns="0" bIns="0" rtlCol="0" anchor="t" anchorCtr="0">
            <a:spAutoFit/>
          </a:bodyPr>
          <a:lstStyle>
            <a:lvl1pPr marL="0" marR="0" indent="0" algn="l" defTabSz="1130300" latinLnBrk="0">
              <a:lnSpc>
                <a:spcPct val="90000"/>
              </a:lnSpc>
              <a:spcBef>
                <a:spcPts val="0"/>
              </a:spcBef>
              <a:spcAft>
                <a:spcPts val="0"/>
              </a:spcAft>
              <a:buClrTx/>
              <a:buSzTx/>
              <a:buFontTx/>
              <a:buNone/>
              <a:tabLst/>
              <a:defRPr sz="7200" b="1" i="0" u="none" strike="noStrike" cap="none" spc="-72" baseline="0">
                <a:solidFill>
                  <a:schemeClr val="tx1"/>
                </a:solidFill>
                <a:uFill>
                  <a:solidFill>
                    <a:srgbClr val="FFFFFF"/>
                  </a:solidFill>
                </a:uFill>
                <a:latin typeface="Times New Roman" panose="02020603050405020304" pitchFamily="18" charset="0"/>
                <a:ea typeface="Arial" panose="020B0604020202020204" pitchFamily="34" charset="0"/>
                <a:cs typeface="Arial" panose="020B0604020202020204" pitchFamily="34" charset="0"/>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hangingPunct="1">
              <a:tabLst>
                <a:tab pos="2079625" algn="l"/>
              </a:tabLst>
            </a:pPr>
            <a:r>
              <a:rPr lang="en-US" sz="2000" b="0" spc="300">
                <a:latin typeface="+mn-lt"/>
              </a:rPr>
              <a:t>PERFORMANCE METRICS ON THE AI SYSTEM</a:t>
            </a:r>
          </a:p>
        </p:txBody>
      </p:sp>
      <p:sp>
        <p:nvSpPr>
          <p:cNvPr id="15" name="TextBox 14">
            <a:extLst>
              <a:ext uri="{FF2B5EF4-FFF2-40B4-BE49-F238E27FC236}">
                <a16:creationId xmlns:a16="http://schemas.microsoft.com/office/drawing/2014/main" id="{7D274BE1-0F30-51DA-9DE2-40EEE742B76C}"/>
              </a:ext>
            </a:extLst>
          </p:cNvPr>
          <p:cNvSpPr txBox="1"/>
          <p:nvPr/>
        </p:nvSpPr>
        <p:spPr>
          <a:xfrm>
            <a:off x="1522987" y="4581241"/>
            <a:ext cx="9225946" cy="7330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lnSpc>
                <a:spcPct val="120000"/>
              </a:lnSpc>
            </a:pPr>
            <a:r>
              <a:rPr lang="en-US" sz="1800">
                <a:solidFill>
                  <a:prstClr val="black"/>
                </a:solidFill>
                <a:uFillTx/>
              </a:rPr>
              <a:t>We have two main components in our architecture</a:t>
            </a:r>
          </a:p>
          <a:p>
            <a:pPr algn="ctr">
              <a:lnSpc>
                <a:spcPct val="120000"/>
              </a:lnSpc>
            </a:pPr>
            <a:r>
              <a:rPr lang="en-US" sz="1800">
                <a:solidFill>
                  <a:prstClr val="black"/>
                </a:solidFill>
                <a:uFillTx/>
              </a:rPr>
              <a:t>which majorly influence the performance.</a:t>
            </a:r>
            <a:endParaRPr lang="en-GB" sz="1800"/>
          </a:p>
        </p:txBody>
      </p:sp>
      <p:sp>
        <p:nvSpPr>
          <p:cNvPr id="22" name="Title 2">
            <a:extLst>
              <a:ext uri="{FF2B5EF4-FFF2-40B4-BE49-F238E27FC236}">
                <a16:creationId xmlns:a16="http://schemas.microsoft.com/office/drawing/2014/main" id="{EF5A5227-AAD0-F803-4EF6-81B6668E103D}"/>
              </a:ext>
            </a:extLst>
          </p:cNvPr>
          <p:cNvSpPr txBox="1">
            <a:spLocks/>
          </p:cNvSpPr>
          <p:nvPr/>
        </p:nvSpPr>
        <p:spPr>
          <a:xfrm>
            <a:off x="11521342" y="4102394"/>
            <a:ext cx="11639559" cy="276999"/>
          </a:xfrm>
          <a:prstGeom prst="rect">
            <a:avLst/>
          </a:prstGeom>
        </p:spPr>
        <p:txBody>
          <a:bodyPr vert="horz" wrap="square" lIns="0" tIns="0" rIns="0" bIns="0" rtlCol="0" anchor="t" anchorCtr="0">
            <a:spAutoFit/>
          </a:bodyPr>
          <a:lstStyle>
            <a:lvl1pPr marL="0" marR="0" indent="0" algn="l" defTabSz="1130300" latinLnBrk="0">
              <a:lnSpc>
                <a:spcPct val="90000"/>
              </a:lnSpc>
              <a:spcBef>
                <a:spcPts val="0"/>
              </a:spcBef>
              <a:spcAft>
                <a:spcPts val="0"/>
              </a:spcAft>
              <a:buClrTx/>
              <a:buSzTx/>
              <a:buFontTx/>
              <a:buNone/>
              <a:tabLst/>
              <a:defRPr sz="7200" b="1" i="0" u="none" strike="noStrike" cap="none" spc="-72" baseline="0">
                <a:solidFill>
                  <a:schemeClr val="tx1"/>
                </a:solidFill>
                <a:uFill>
                  <a:solidFill>
                    <a:srgbClr val="FFFFFF"/>
                  </a:solidFill>
                </a:uFill>
                <a:latin typeface="Times New Roman" panose="02020603050405020304" pitchFamily="18" charset="0"/>
                <a:ea typeface="Arial" panose="020B0604020202020204" pitchFamily="34" charset="0"/>
                <a:cs typeface="Arial" panose="020B0604020202020204" pitchFamily="34" charset="0"/>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hangingPunct="1">
              <a:tabLst>
                <a:tab pos="2079625" algn="l"/>
              </a:tabLst>
            </a:pPr>
            <a:r>
              <a:rPr lang="en-US" sz="2000" b="0" spc="300">
                <a:latin typeface="+mn-lt"/>
              </a:rPr>
              <a:t>BUSINESS RELEVANCE</a:t>
            </a:r>
          </a:p>
        </p:txBody>
      </p:sp>
      <p:sp>
        <p:nvSpPr>
          <p:cNvPr id="32" name="TextBox 31">
            <a:extLst>
              <a:ext uri="{FF2B5EF4-FFF2-40B4-BE49-F238E27FC236}">
                <a16:creationId xmlns:a16="http://schemas.microsoft.com/office/drawing/2014/main" id="{9EAAD7FF-D1D3-7628-6D90-93CA67F90565}"/>
              </a:ext>
            </a:extLst>
          </p:cNvPr>
          <p:cNvSpPr txBox="1"/>
          <p:nvPr/>
        </p:nvSpPr>
        <p:spPr>
          <a:xfrm>
            <a:off x="21796744" y="15481005"/>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GB" sz="28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grpSp>
        <p:nvGrpSpPr>
          <p:cNvPr id="40" name="Group 39">
            <a:extLst>
              <a:ext uri="{FF2B5EF4-FFF2-40B4-BE49-F238E27FC236}">
                <a16:creationId xmlns:a16="http://schemas.microsoft.com/office/drawing/2014/main" id="{175C58CE-BA04-D948-69DB-044816C4AF1A}"/>
              </a:ext>
            </a:extLst>
          </p:cNvPr>
          <p:cNvGrpSpPr/>
          <p:nvPr/>
        </p:nvGrpSpPr>
        <p:grpSpPr>
          <a:xfrm>
            <a:off x="11849988" y="4807729"/>
            <a:ext cx="10947107" cy="4269646"/>
            <a:chOff x="11849988" y="4675336"/>
            <a:chExt cx="10947107" cy="4269646"/>
          </a:xfrm>
        </p:grpSpPr>
        <p:sp>
          <p:nvSpPr>
            <p:cNvPr id="154" name="Rectangle 153">
              <a:extLst>
                <a:ext uri="{FF2B5EF4-FFF2-40B4-BE49-F238E27FC236}">
                  <a16:creationId xmlns:a16="http://schemas.microsoft.com/office/drawing/2014/main" id="{57A0E22F-6BC3-94DD-DCF5-FAE784793C1D}"/>
                </a:ext>
              </a:extLst>
            </p:cNvPr>
            <p:cNvSpPr>
              <a:spLocks/>
            </p:cNvSpPr>
            <p:nvPr/>
          </p:nvSpPr>
          <p:spPr>
            <a:xfrm>
              <a:off x="11849988" y="5181331"/>
              <a:ext cx="5553241" cy="3748600"/>
            </a:xfrm>
            <a:prstGeom prst="rect">
              <a:avLst/>
            </a:prstGeom>
            <a:solidFill>
              <a:schemeClr val="bg1"/>
            </a:solidFill>
            <a:ln w="12700" cap="flat" cmpd="sng" algn="ctr">
              <a:noFill/>
              <a:prstDash val="solid"/>
              <a:miter lim="800000"/>
            </a:ln>
            <a:effectLst/>
          </p:spPr>
          <p:txBody>
            <a:bodyPr lIns="216000" rIns="216000" rtlCol="0" anchor="ctr"/>
            <a:lstStyle/>
            <a:p>
              <a:pPr marR="0" lvl="0" defTabSz="457200" eaLnBrk="1" fontAlgn="auto" latinLnBrk="0" hangingPunct="1">
                <a:lnSpc>
                  <a:spcPct val="100000"/>
                </a:lnSpc>
                <a:spcBef>
                  <a:spcPts val="0"/>
                </a:spcBef>
                <a:spcAft>
                  <a:spcPts val="0"/>
                </a:spcAft>
                <a:buClrTx/>
                <a:buSzTx/>
                <a:tabLst/>
                <a:defRPr/>
              </a:pPr>
              <a:endParaRPr kumimoji="0" lang="en-US" sz="2200" i="0" u="none" strike="noStrike" kern="1200" cap="none" spc="0" normalizeH="0" baseline="0" noProof="0">
                <a:ln>
                  <a:noFill/>
                </a:ln>
                <a:solidFill>
                  <a:srgbClr val="416CF9"/>
                </a:solidFill>
                <a:effectLst/>
                <a:uLnTx/>
                <a:uFillTx/>
                <a:ea typeface="Times New Roman" panose="02020603050405020304" pitchFamily="18" charset="0"/>
              </a:endParaRP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0E176D"/>
                  </a:solidFill>
                  <a:effectLst/>
                  <a:uLnTx/>
                  <a:uFillTx/>
                  <a:ea typeface="Times New Roman" panose="02020603050405020304" pitchFamily="18" charset="0"/>
                </a:rPr>
                <a:t>Development and Maintenance:</a:t>
              </a:r>
              <a:br>
                <a:rPr kumimoji="0" lang="en-US" sz="1800" b="1" i="0" u="none" strike="noStrike" kern="1200" cap="none" spc="0" normalizeH="0" baseline="0" noProof="0">
                  <a:ln>
                    <a:noFill/>
                  </a:ln>
                  <a:solidFill>
                    <a:srgbClr val="416CF9"/>
                  </a:solidFill>
                  <a:effectLst/>
                  <a:uLnTx/>
                  <a:uFillTx/>
                  <a:ea typeface="Times New Roman" panose="02020603050405020304" pitchFamily="18" charset="0"/>
                </a:rPr>
              </a:br>
              <a:r>
                <a:rPr kumimoji="0" lang="en-US" sz="1800" b="0" i="0" u="none" strike="noStrike" kern="1200" cap="none" spc="0" normalizeH="0" baseline="0" noProof="0">
                  <a:ln>
                    <a:noFill/>
                  </a:ln>
                  <a:solidFill>
                    <a:prstClr val="black"/>
                  </a:solidFill>
                  <a:effectLst/>
                  <a:uLnTx/>
                  <a:uFillTx/>
                  <a:ea typeface="Times New Roman" panose="02020603050405020304" pitchFamily="18" charset="0"/>
                </a:rPr>
                <a:t>Creation and upkeep of </a:t>
              </a:r>
              <a:r>
                <a:rPr kumimoji="0" lang="en-US" sz="1800" b="0" i="0" u="none" strike="noStrike" kern="1200" cap="none" spc="0" normalizeH="0" baseline="0" noProof="0" err="1">
                  <a:ln>
                    <a:noFill/>
                  </a:ln>
                  <a:solidFill>
                    <a:prstClr val="black"/>
                  </a:solidFill>
                  <a:effectLst/>
                  <a:uLnTx/>
                  <a:uFillTx/>
                  <a:ea typeface="Times New Roman" panose="02020603050405020304" pitchFamily="18" charset="0"/>
                </a:rPr>
                <a:t>GenAI</a:t>
              </a:r>
              <a:r>
                <a:rPr kumimoji="0" lang="en-US" sz="1800" b="0" i="0" u="none" strike="noStrike" kern="1200" cap="none" spc="0" normalizeH="0" baseline="0" noProof="0">
                  <a:ln>
                    <a:noFill/>
                  </a:ln>
                  <a:solidFill>
                    <a:prstClr val="black"/>
                  </a:solidFill>
                  <a:effectLst/>
                  <a:uLnTx/>
                  <a:uFillTx/>
                  <a:ea typeface="Times New Roman" panose="02020603050405020304" pitchFamily="18" charset="0"/>
                </a:rPr>
                <a:t> system.</a:t>
              </a: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0E176D"/>
                  </a:solidFill>
                  <a:effectLst/>
                  <a:uLnTx/>
                  <a:uFillTx/>
                  <a:ea typeface="Times New Roman" panose="02020603050405020304" pitchFamily="18" charset="0"/>
                </a:rPr>
                <a:t>Data Acquisition</a:t>
              </a:r>
              <a:r>
                <a:rPr kumimoji="0" lang="en-US" sz="1800" b="0" i="0" u="none" strike="noStrike" kern="1200" cap="none" spc="0" normalizeH="0" baseline="0" noProof="0">
                  <a:ln>
                    <a:noFill/>
                  </a:ln>
                  <a:solidFill>
                    <a:srgbClr val="0E176D"/>
                  </a:solidFill>
                  <a:effectLst/>
                  <a:uLnTx/>
                  <a:uFillTx/>
                  <a:ea typeface="Times New Roman" panose="02020603050405020304" pitchFamily="18" charset="0"/>
                </a:rPr>
                <a:t>:</a:t>
              </a:r>
              <a:br>
                <a:rPr kumimoji="0" lang="en-US" sz="1800" b="0" i="0" u="none" strike="noStrike" kern="1200" cap="none" spc="0" normalizeH="0" baseline="0" noProof="0">
                  <a:ln>
                    <a:noFill/>
                  </a:ln>
                  <a:solidFill>
                    <a:srgbClr val="416CF9"/>
                  </a:solidFill>
                  <a:effectLst/>
                  <a:uLnTx/>
                  <a:uFillTx/>
                  <a:ea typeface="Times New Roman" panose="02020603050405020304" pitchFamily="18" charset="0"/>
                </a:rPr>
              </a:br>
              <a:r>
                <a:rPr kumimoji="0" lang="en-US" sz="1800" b="0" i="0" u="none" strike="noStrike" kern="1200" cap="none" spc="0" normalizeH="0" baseline="0" noProof="0">
                  <a:ln>
                    <a:noFill/>
                  </a:ln>
                  <a:solidFill>
                    <a:prstClr val="black"/>
                  </a:solidFill>
                  <a:effectLst/>
                  <a:uLnTx/>
                  <a:uFillTx/>
                  <a:ea typeface="Times New Roman" panose="02020603050405020304" pitchFamily="18" charset="0"/>
                </a:rPr>
                <a:t>Obtaining labor and car part cost databases.</a:t>
              </a: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kern="1200">
                <a:solidFill>
                  <a:prstClr val="black"/>
                </a:solidFill>
                <a:uFillTx/>
              </a:endParaRPr>
            </a:p>
            <a:p>
              <a:pPr marR="0" lvl="0" defTabSz="457200" eaLnBrk="1" fontAlgn="auto" latinLnBrk="0" hangingPunct="1">
                <a:lnSpc>
                  <a:spcPct val="100000"/>
                </a:lnSpc>
                <a:spcBef>
                  <a:spcPts val="0"/>
                </a:spcBef>
                <a:spcAft>
                  <a:spcPts val="0"/>
                </a:spcAft>
                <a:buClrTx/>
                <a:buSzTx/>
                <a:tabLst/>
                <a:defRPr/>
              </a:pPr>
              <a:endParaRPr kumimoji="0" lang="en-US" sz="2200" i="0" u="none" strike="noStrike" kern="1200" cap="none" spc="0" normalizeH="0" baseline="0" noProof="0">
                <a:ln>
                  <a:noFill/>
                </a:ln>
                <a:solidFill>
                  <a:srgbClr val="416CF9"/>
                </a:solidFill>
                <a:effectLst/>
                <a:uLnTx/>
                <a:uFillTx/>
              </a:endParaRP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0E176D"/>
                  </a:solidFill>
                  <a:effectLst/>
                  <a:uLnTx/>
                  <a:uFillTx/>
                </a:rPr>
                <a:t>Integration:</a:t>
              </a:r>
              <a:br>
                <a:rPr kumimoji="0" lang="en-US" sz="1800" i="0" u="none" strike="noStrike" kern="1200" cap="none" spc="0" normalizeH="0" baseline="0" noProof="0">
                  <a:ln>
                    <a:noFill/>
                  </a:ln>
                  <a:solidFill>
                    <a:srgbClr val="416CF9"/>
                  </a:solidFill>
                  <a:effectLst/>
                  <a:uLnTx/>
                  <a:uFillTx/>
                </a:rPr>
              </a:br>
              <a:r>
                <a:rPr kumimoji="0" lang="en-US" sz="1800" b="0" i="0" u="none" strike="noStrike" kern="1200" cap="none" spc="0" normalizeH="0" baseline="0" noProof="0">
                  <a:ln>
                    <a:noFill/>
                  </a:ln>
                  <a:solidFill>
                    <a:srgbClr val="0D0D0D"/>
                  </a:solidFill>
                  <a:effectLst/>
                  <a:uLnTx/>
                  <a:uFillTx/>
                </a:rPr>
                <a:t>Connecting </a:t>
              </a:r>
              <a:r>
                <a:rPr kumimoji="0" lang="en-US" sz="1800" b="0" i="0" u="none" strike="noStrike" kern="1200" cap="none" spc="0" normalizeH="0" baseline="0" noProof="0" err="1">
                  <a:ln>
                    <a:noFill/>
                  </a:ln>
                  <a:solidFill>
                    <a:srgbClr val="0D0D0D"/>
                  </a:solidFill>
                  <a:effectLst/>
                  <a:uLnTx/>
                  <a:uFillTx/>
                </a:rPr>
                <a:t>GenAI</a:t>
              </a:r>
              <a:r>
                <a:rPr kumimoji="0" lang="en-US" sz="1800" b="0" i="0" u="none" strike="noStrike" kern="1200" cap="none" spc="0" normalizeH="0" baseline="0" noProof="0">
                  <a:ln>
                    <a:noFill/>
                  </a:ln>
                  <a:solidFill>
                    <a:srgbClr val="0D0D0D"/>
                  </a:solidFill>
                  <a:effectLst/>
                  <a:uLnTx/>
                  <a:uFillTx/>
                </a:rPr>
                <a:t> with existing systems.</a:t>
              </a: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0E176D"/>
                  </a:solidFill>
                  <a:effectLst/>
                  <a:uLnTx/>
                  <a:uFillTx/>
                </a:rPr>
                <a:t>Support and Training:</a:t>
              </a:r>
              <a:br>
                <a:rPr kumimoji="0" lang="en-US" sz="1800" i="0" u="none" strike="noStrike" kern="1200" cap="none" spc="0" normalizeH="0" baseline="0" noProof="0">
                  <a:ln>
                    <a:noFill/>
                  </a:ln>
                  <a:solidFill>
                    <a:srgbClr val="416CF9"/>
                  </a:solidFill>
                  <a:effectLst/>
                  <a:uLnTx/>
                  <a:uFillTx/>
                </a:rPr>
              </a:br>
              <a:r>
                <a:rPr kumimoji="0" lang="en-US" sz="1800" b="0" i="0" u="none" strike="noStrike" kern="1200" cap="none" spc="0" normalizeH="0" baseline="0" noProof="0">
                  <a:ln>
                    <a:noFill/>
                  </a:ln>
                  <a:solidFill>
                    <a:srgbClr val="0D0D0D"/>
                  </a:solidFill>
                  <a:effectLst/>
                  <a:uLnTx/>
                  <a:uFillTx/>
                </a:rPr>
                <a:t>Personnel training and ongoing support.</a:t>
              </a:r>
            </a:p>
          </p:txBody>
        </p:sp>
        <p:sp>
          <p:nvSpPr>
            <p:cNvPr id="25" name="Rectangle 24">
              <a:extLst>
                <a:ext uri="{FF2B5EF4-FFF2-40B4-BE49-F238E27FC236}">
                  <a16:creationId xmlns:a16="http://schemas.microsoft.com/office/drawing/2014/main" id="{BF842BCA-7F82-5421-2A8A-50476D8BEC5A}"/>
                </a:ext>
              </a:extLst>
            </p:cNvPr>
            <p:cNvSpPr/>
            <p:nvPr/>
          </p:nvSpPr>
          <p:spPr>
            <a:xfrm>
              <a:off x="11851609" y="4676555"/>
              <a:ext cx="5551619" cy="505995"/>
            </a:xfrm>
            <a:prstGeom prst="rect">
              <a:avLst/>
            </a:prstGeom>
            <a:solidFill>
              <a:srgbClr val="0E176D"/>
            </a:solidFill>
            <a:ln w="12700" cap="flat" cmpd="sng" algn="ctr">
              <a:noFill/>
              <a:prstDash val="solid"/>
              <a:miter lim="800000"/>
            </a:ln>
            <a:effectLst/>
          </p:spPr>
          <p:txBody>
            <a:bodyPr rtlCol="0" anchor="ctr"/>
            <a:lstStyle/>
            <a:p>
              <a:pPr marR="0" algn="ctr" defTabSz="457200" hangingPunct="1">
                <a:lnSpc>
                  <a:spcPct val="100000"/>
                </a:lnSpc>
                <a:defRPr/>
              </a:pPr>
              <a:r>
                <a:rPr lang="en-US" sz="2000" b="1" kern="1200">
                  <a:solidFill>
                    <a:schemeClr val="bg1"/>
                  </a:solidFill>
                  <a:uFillTx/>
                </a:rPr>
                <a:t>Cost Structure</a:t>
              </a:r>
            </a:p>
          </p:txBody>
        </p:sp>
        <p:sp>
          <p:nvSpPr>
            <p:cNvPr id="26" name="Rectangle 25">
              <a:extLst>
                <a:ext uri="{FF2B5EF4-FFF2-40B4-BE49-F238E27FC236}">
                  <a16:creationId xmlns:a16="http://schemas.microsoft.com/office/drawing/2014/main" id="{66A5B999-8C03-A34C-0111-E8DFA0E3FACD}"/>
                </a:ext>
              </a:extLst>
            </p:cNvPr>
            <p:cNvSpPr/>
            <p:nvPr/>
          </p:nvSpPr>
          <p:spPr>
            <a:xfrm>
              <a:off x="17710246" y="4675336"/>
              <a:ext cx="5083484" cy="505995"/>
            </a:xfrm>
            <a:prstGeom prst="rect">
              <a:avLst/>
            </a:prstGeom>
            <a:solidFill>
              <a:srgbClr val="0E176D"/>
            </a:solidFill>
            <a:ln w="12700" cap="flat" cmpd="sng" algn="ctr">
              <a:noFill/>
              <a:prstDash val="solid"/>
              <a:miter lim="800000"/>
            </a:ln>
            <a:effectLst/>
          </p:spPr>
          <p:txBody>
            <a:bodyPr rtlCol="0" anchor="ctr"/>
            <a:lstStyle/>
            <a:p>
              <a:pPr marR="0" algn="ctr" defTabSz="457200" hangingPunct="1">
                <a:lnSpc>
                  <a:spcPct val="100000"/>
                </a:lnSpc>
                <a:defRPr/>
              </a:pPr>
              <a:r>
                <a:rPr lang="en-US" sz="2000" b="1" kern="1200">
                  <a:solidFill>
                    <a:schemeClr val="bg1"/>
                  </a:solidFill>
                  <a:uFillTx/>
                </a:rPr>
                <a:t>Revenue Model</a:t>
              </a:r>
            </a:p>
          </p:txBody>
        </p:sp>
        <p:sp>
          <p:nvSpPr>
            <p:cNvPr id="27" name="Rectangle 26">
              <a:extLst>
                <a:ext uri="{FF2B5EF4-FFF2-40B4-BE49-F238E27FC236}">
                  <a16:creationId xmlns:a16="http://schemas.microsoft.com/office/drawing/2014/main" id="{67B50A70-BCC8-7950-EDCE-666F5FB5ED81}"/>
                </a:ext>
              </a:extLst>
            </p:cNvPr>
            <p:cNvSpPr>
              <a:spLocks/>
            </p:cNvSpPr>
            <p:nvPr/>
          </p:nvSpPr>
          <p:spPr>
            <a:xfrm>
              <a:off x="17710246" y="5196382"/>
              <a:ext cx="5083484" cy="3748600"/>
            </a:xfrm>
            <a:prstGeom prst="rect">
              <a:avLst/>
            </a:prstGeom>
            <a:solidFill>
              <a:schemeClr val="bg1"/>
            </a:solidFill>
            <a:ln w="12700" cap="flat" cmpd="sng" algn="ctr">
              <a:noFill/>
              <a:prstDash val="solid"/>
              <a:miter lim="800000"/>
            </a:ln>
            <a:effectLst/>
          </p:spPr>
          <p:txBody>
            <a:bodyPr lIns="216000" tIns="216000" rIns="216000" rtlCol="0" anchor="t" anchorCtr="0"/>
            <a:lstStyle/>
            <a:p>
              <a:pPr marR="0" lvl="0" defTabSz="457200" eaLnBrk="1" fontAlgn="auto" latinLnBrk="0" hangingPunct="1">
                <a:lnSpc>
                  <a:spcPct val="100000"/>
                </a:lnSpc>
                <a:spcBef>
                  <a:spcPts val="0"/>
                </a:spcBef>
                <a:spcAft>
                  <a:spcPts val="0"/>
                </a:spcAft>
                <a:buClrTx/>
                <a:buSzTx/>
                <a:tabLst/>
                <a:defRPr/>
              </a:pPr>
              <a:endParaRPr kumimoji="0" lang="en-US" sz="2200" i="0" u="none" strike="noStrike" kern="1200" cap="none" spc="0" normalizeH="0" baseline="0" noProof="0">
                <a:ln>
                  <a:noFill/>
                </a:ln>
                <a:solidFill>
                  <a:srgbClr val="416CF9"/>
                </a:solidFill>
                <a:effectLst/>
                <a:uLnTx/>
                <a:uFillTx/>
                <a:ea typeface="Times New Roman" panose="02020603050405020304" pitchFamily="18" charset="0"/>
              </a:endParaRPr>
            </a:p>
            <a:p>
              <a:pPr marR="0" lvl="0" indent="0" defTabSz="45720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ea typeface="Times New Roman" panose="02020603050405020304" pitchFamily="18" charset="0"/>
                </a:rPr>
                <a:t>Service centers pay a monthly fee for</a:t>
              </a:r>
              <a:br>
                <a:rPr kumimoji="0" lang="en-US" sz="1800" b="0" i="0" u="none" strike="noStrike" kern="1200" cap="none" spc="0" normalizeH="0" baseline="0" noProof="0">
                  <a:ln>
                    <a:noFill/>
                  </a:ln>
                  <a:solidFill>
                    <a:prstClr val="black"/>
                  </a:solidFill>
                  <a:effectLst/>
                  <a:uLnTx/>
                  <a:uFillTx/>
                  <a:ea typeface="Times New Roman" panose="02020603050405020304" pitchFamily="18" charset="0"/>
                </a:rPr>
              </a:br>
              <a:r>
                <a:rPr kumimoji="0" lang="en-US" sz="1800" b="0" i="0" u="none" strike="noStrike" kern="1200" cap="none" spc="0" normalizeH="0" baseline="0" noProof="0">
                  <a:ln>
                    <a:noFill/>
                  </a:ln>
                  <a:solidFill>
                    <a:prstClr val="black"/>
                  </a:solidFill>
                  <a:effectLst/>
                  <a:uLnTx/>
                  <a:uFillTx/>
                  <a:ea typeface="Times New Roman" panose="02020603050405020304" pitchFamily="18" charset="0"/>
                </a:rPr>
                <a:t>access to </a:t>
              </a:r>
              <a:r>
                <a:rPr kumimoji="0" lang="en-US" sz="1800" b="0" i="0" u="none" strike="noStrike" kern="1200" cap="none" spc="0" normalizeH="0" baseline="0" noProof="0" err="1">
                  <a:ln>
                    <a:noFill/>
                  </a:ln>
                  <a:solidFill>
                    <a:prstClr val="black"/>
                  </a:solidFill>
                  <a:effectLst/>
                  <a:uLnTx/>
                  <a:uFillTx/>
                  <a:ea typeface="Times New Roman" panose="02020603050405020304" pitchFamily="18" charset="0"/>
                </a:rPr>
                <a:t>GenAI</a:t>
              </a:r>
              <a:endParaRPr kumimoji="0" lang="en-US" sz="1800" b="0" i="0" u="none" strike="noStrike" kern="1200" cap="none" spc="0" normalizeH="0" baseline="0" noProof="0">
                <a:ln>
                  <a:noFill/>
                </a:ln>
                <a:solidFill>
                  <a:prstClr val="black"/>
                </a:solidFill>
                <a:effectLst/>
                <a:uLnTx/>
                <a:uFillTx/>
                <a:ea typeface="Times New Roman" panose="02020603050405020304" pitchFamily="18" charset="0"/>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kern="1200">
                <a:solidFill>
                  <a:prstClr val="black"/>
                </a:solidFill>
                <a:uFillTx/>
              </a:endParaRPr>
            </a:p>
            <a:p>
              <a:pPr marR="0" lvl="0" defTabSz="457200" eaLnBrk="1" fontAlgn="auto" latinLnBrk="0" hangingPunct="1">
                <a:lnSpc>
                  <a:spcPct val="100000"/>
                </a:lnSpc>
                <a:spcBef>
                  <a:spcPts val="0"/>
                </a:spcBef>
                <a:spcAft>
                  <a:spcPts val="0"/>
                </a:spcAft>
                <a:buClrTx/>
                <a:buSzTx/>
                <a:tabLst/>
                <a:defRPr/>
              </a:pPr>
              <a:endParaRPr kumimoji="0" lang="en-US" sz="2200" i="0" u="none" strike="noStrike" kern="1200" cap="none" spc="0" normalizeH="0" baseline="0" noProof="0">
                <a:ln>
                  <a:noFill/>
                </a:ln>
                <a:solidFill>
                  <a:srgbClr val="416CF9"/>
                </a:solidFill>
                <a:effectLst/>
                <a:uLnTx/>
                <a:uFillTx/>
              </a:endParaRPr>
            </a:p>
            <a:p>
              <a:pPr marL="0" marR="0" lvl="0" indent="0" defTabSz="45720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ea typeface="Times New Roman" panose="02020603050405020304" pitchFamily="18" charset="0"/>
                </a:rPr>
                <a:t>Charges per estimate generated by</a:t>
              </a:r>
              <a:br>
                <a:rPr kumimoji="0" lang="en-US" sz="1800" b="0" i="0" u="none" strike="noStrike" kern="1200" cap="none" spc="0" normalizeH="0" baseline="0" noProof="0">
                  <a:ln>
                    <a:noFill/>
                  </a:ln>
                  <a:solidFill>
                    <a:prstClr val="black"/>
                  </a:solidFill>
                  <a:effectLst/>
                  <a:uLnTx/>
                  <a:uFillTx/>
                  <a:ea typeface="Times New Roman" panose="02020603050405020304" pitchFamily="18" charset="0"/>
                </a:rPr>
              </a:br>
              <a:r>
                <a:rPr kumimoji="0" lang="en-US" sz="1800" b="0" i="0" u="none" strike="noStrike" kern="1200" cap="none" spc="0" normalizeH="0" baseline="0" noProof="0" err="1">
                  <a:ln>
                    <a:noFill/>
                  </a:ln>
                  <a:solidFill>
                    <a:prstClr val="black"/>
                  </a:solidFill>
                  <a:effectLst/>
                  <a:uLnTx/>
                  <a:uFillTx/>
                  <a:ea typeface="Times New Roman" panose="02020603050405020304" pitchFamily="18" charset="0"/>
                </a:rPr>
                <a:t>GenAI</a:t>
              </a:r>
              <a:endParaRPr kumimoji="0" lang="en-US" sz="1800" b="0" i="0" u="none" strike="noStrike" kern="1200" cap="none" spc="0" normalizeH="0" baseline="0" noProof="0">
                <a:ln>
                  <a:noFill/>
                </a:ln>
                <a:solidFill>
                  <a:prstClr val="black"/>
                </a:solidFill>
                <a:effectLst/>
                <a:uLnTx/>
                <a:uFillTx/>
                <a:ea typeface="Times New Roman" panose="02020603050405020304" pitchFamily="18" charset="0"/>
              </a:endParaRPr>
            </a:p>
          </p:txBody>
        </p:sp>
        <p:sp>
          <p:nvSpPr>
            <p:cNvPr id="33" name="Rectangle 32">
              <a:extLst>
                <a:ext uri="{FF2B5EF4-FFF2-40B4-BE49-F238E27FC236}">
                  <a16:creationId xmlns:a16="http://schemas.microsoft.com/office/drawing/2014/main" id="{107DB07E-B407-7730-8736-8C08D48E2BB0}"/>
                </a:ext>
              </a:extLst>
            </p:cNvPr>
            <p:cNvSpPr/>
            <p:nvPr/>
          </p:nvSpPr>
          <p:spPr>
            <a:xfrm>
              <a:off x="11851609" y="5191051"/>
              <a:ext cx="5551619" cy="496275"/>
            </a:xfrm>
            <a:prstGeom prst="rect">
              <a:avLst/>
            </a:prstGeom>
            <a:solidFill>
              <a:srgbClr val="C7D4FD"/>
            </a:solidFill>
            <a:ln w="12700" cap="flat" cmpd="sng" algn="ctr">
              <a:noFill/>
              <a:prstDash val="solid"/>
              <a:miter lim="800000"/>
            </a:ln>
            <a:effectLst/>
          </p:spPr>
          <p:txBody>
            <a:bodyPr lIns="216000" tIns="36000" rIns="216000" bIns="36000" rtlCol="0" anchor="ctr"/>
            <a:lstStyle/>
            <a:p>
              <a:pPr marR="0" defTabSz="457200" hangingPunct="1">
                <a:lnSpc>
                  <a:spcPct val="100000"/>
                </a:lnSpc>
                <a:defRPr/>
              </a:pPr>
              <a:r>
                <a:rPr lang="en-US" sz="1800" b="1" kern="1200">
                  <a:solidFill>
                    <a:srgbClr val="0E176D"/>
                  </a:solidFill>
                  <a:uFillTx/>
                </a:rPr>
                <a:t>Fixed Costs</a:t>
              </a:r>
            </a:p>
          </p:txBody>
        </p:sp>
        <p:sp>
          <p:nvSpPr>
            <p:cNvPr id="36" name="Rectangle 35">
              <a:extLst>
                <a:ext uri="{FF2B5EF4-FFF2-40B4-BE49-F238E27FC236}">
                  <a16:creationId xmlns:a16="http://schemas.microsoft.com/office/drawing/2014/main" id="{51AFC0E0-7A8D-3408-4663-C75D76291EB1}"/>
                </a:ext>
              </a:extLst>
            </p:cNvPr>
            <p:cNvSpPr/>
            <p:nvPr/>
          </p:nvSpPr>
          <p:spPr>
            <a:xfrm>
              <a:off x="11851609" y="7035585"/>
              <a:ext cx="5551619" cy="496275"/>
            </a:xfrm>
            <a:prstGeom prst="rect">
              <a:avLst/>
            </a:prstGeom>
            <a:solidFill>
              <a:srgbClr val="C7D4FD"/>
            </a:solidFill>
            <a:ln w="12700" cap="flat" cmpd="sng" algn="ctr">
              <a:noFill/>
              <a:prstDash val="solid"/>
              <a:miter lim="800000"/>
            </a:ln>
            <a:effectLst/>
          </p:spPr>
          <p:txBody>
            <a:bodyPr lIns="216000" tIns="36000" rIns="216000" bIns="36000" rtlCol="0" anchor="ctr"/>
            <a:lstStyle/>
            <a:p>
              <a:pPr marR="0" defTabSz="457200" hangingPunct="1">
                <a:lnSpc>
                  <a:spcPct val="100000"/>
                </a:lnSpc>
                <a:defRPr/>
              </a:pPr>
              <a:r>
                <a:rPr lang="en-US" sz="1800" b="1" kern="1200">
                  <a:solidFill>
                    <a:srgbClr val="0E176D"/>
                  </a:solidFill>
                  <a:uFillTx/>
                </a:rPr>
                <a:t>Variable Costs</a:t>
              </a:r>
            </a:p>
          </p:txBody>
        </p:sp>
        <p:sp>
          <p:nvSpPr>
            <p:cNvPr id="37" name="Rectangle 36">
              <a:extLst>
                <a:ext uri="{FF2B5EF4-FFF2-40B4-BE49-F238E27FC236}">
                  <a16:creationId xmlns:a16="http://schemas.microsoft.com/office/drawing/2014/main" id="{0FBF3C7A-094B-B775-E095-DA557A486852}"/>
                </a:ext>
              </a:extLst>
            </p:cNvPr>
            <p:cNvSpPr/>
            <p:nvPr/>
          </p:nvSpPr>
          <p:spPr>
            <a:xfrm>
              <a:off x="17713609" y="5189484"/>
              <a:ext cx="5083486" cy="496275"/>
            </a:xfrm>
            <a:prstGeom prst="rect">
              <a:avLst/>
            </a:prstGeom>
            <a:solidFill>
              <a:srgbClr val="C7D4FD"/>
            </a:solidFill>
            <a:ln w="12700" cap="flat" cmpd="sng" algn="ctr">
              <a:noFill/>
              <a:prstDash val="solid"/>
              <a:miter lim="800000"/>
            </a:ln>
            <a:effectLst/>
          </p:spPr>
          <p:txBody>
            <a:bodyPr lIns="216000" tIns="36000" rIns="216000" bIns="36000" rtlCol="0" anchor="ctr"/>
            <a:lstStyle/>
            <a:p>
              <a:pPr marR="0" defTabSz="457200" hangingPunct="1">
                <a:lnSpc>
                  <a:spcPct val="100000"/>
                </a:lnSpc>
                <a:defRPr/>
              </a:pPr>
              <a:r>
                <a:rPr lang="en-US" sz="1800" b="1" kern="1200">
                  <a:solidFill>
                    <a:srgbClr val="0E176D"/>
                  </a:solidFill>
                  <a:uFillTx/>
                </a:rPr>
                <a:t>Subscription Fees</a:t>
              </a:r>
            </a:p>
          </p:txBody>
        </p:sp>
        <p:sp>
          <p:nvSpPr>
            <p:cNvPr id="38" name="Rectangle 37">
              <a:extLst>
                <a:ext uri="{FF2B5EF4-FFF2-40B4-BE49-F238E27FC236}">
                  <a16:creationId xmlns:a16="http://schemas.microsoft.com/office/drawing/2014/main" id="{E0898D85-9B00-979A-8C06-D049A5633BDB}"/>
                </a:ext>
              </a:extLst>
            </p:cNvPr>
            <p:cNvSpPr/>
            <p:nvPr/>
          </p:nvSpPr>
          <p:spPr>
            <a:xfrm>
              <a:off x="17713608" y="6486365"/>
              <a:ext cx="5083486" cy="496275"/>
            </a:xfrm>
            <a:prstGeom prst="rect">
              <a:avLst/>
            </a:prstGeom>
            <a:solidFill>
              <a:srgbClr val="C7D4FD"/>
            </a:solidFill>
            <a:ln w="12700" cap="flat" cmpd="sng" algn="ctr">
              <a:noFill/>
              <a:prstDash val="solid"/>
              <a:miter lim="800000"/>
            </a:ln>
            <a:effectLst/>
          </p:spPr>
          <p:txBody>
            <a:bodyPr lIns="216000" tIns="36000" rIns="216000" bIns="36000" rtlCol="0" anchor="ctr"/>
            <a:lstStyle/>
            <a:p>
              <a:pPr marR="0" defTabSz="457200" hangingPunct="1">
                <a:lnSpc>
                  <a:spcPct val="100000"/>
                </a:lnSpc>
                <a:defRPr/>
              </a:pPr>
              <a:r>
                <a:rPr lang="en-US" sz="1800" b="1" kern="1200">
                  <a:solidFill>
                    <a:srgbClr val="0E176D"/>
                  </a:solidFill>
                  <a:uFillTx/>
                </a:rPr>
                <a:t>Usage-Based Pricing</a:t>
              </a:r>
            </a:p>
          </p:txBody>
        </p:sp>
      </p:grpSp>
    </p:spTree>
    <p:extLst>
      <p:ext uri="{BB962C8B-B14F-4D97-AF65-F5344CB8AC3E}">
        <p14:creationId xmlns:p14="http://schemas.microsoft.com/office/powerpoint/2010/main" val="279316455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0D2E5-47F2-9FD0-62E9-2860C50D196B}"/>
              </a:ext>
            </a:extLst>
          </p:cNvPr>
          <p:cNvSpPr>
            <a:spLocks noGrp="1"/>
          </p:cNvSpPr>
          <p:nvPr>
            <p:ph type="title"/>
          </p:nvPr>
        </p:nvSpPr>
        <p:spPr>
          <a:xfrm>
            <a:off x="1763673" y="1828800"/>
            <a:ext cx="21269748" cy="997196"/>
          </a:xfrm>
        </p:spPr>
        <p:txBody>
          <a:bodyPr/>
          <a:lstStyle/>
          <a:p>
            <a:br>
              <a:rPr lang="en-US" b="0"/>
            </a:br>
            <a:r>
              <a:rPr lang="en-US" b="0"/>
              <a:t>We Plan to Develop, Deploy and Scale Claire as a Web-Based App within 7 Months in a Team of 8 Professionals</a:t>
            </a:r>
          </a:p>
        </p:txBody>
      </p:sp>
      <p:sp>
        <p:nvSpPr>
          <p:cNvPr id="4" name="Text Placeholder 3">
            <a:extLst>
              <a:ext uri="{FF2B5EF4-FFF2-40B4-BE49-F238E27FC236}">
                <a16:creationId xmlns:a16="http://schemas.microsoft.com/office/drawing/2014/main" id="{3B667888-B63F-D3B4-D9B1-823EFD31CAEA}"/>
              </a:ext>
            </a:extLst>
          </p:cNvPr>
          <p:cNvSpPr>
            <a:spLocks noGrp="1"/>
          </p:cNvSpPr>
          <p:nvPr>
            <p:ph type="body" sz="quarter" idx="26"/>
          </p:nvPr>
        </p:nvSpPr>
        <p:spPr>
          <a:xfrm>
            <a:off x="1763673" y="838200"/>
            <a:ext cx="20845501" cy="307777"/>
          </a:xfrm>
        </p:spPr>
        <p:txBody>
          <a:bodyPr/>
          <a:lstStyle/>
          <a:p>
            <a:r>
              <a:rPr lang="en-US"/>
              <a:t>Execution plan</a:t>
            </a:r>
          </a:p>
        </p:txBody>
      </p:sp>
      <p:sp>
        <p:nvSpPr>
          <p:cNvPr id="7" name="Slide Number Placeholder 6">
            <a:extLst>
              <a:ext uri="{FF2B5EF4-FFF2-40B4-BE49-F238E27FC236}">
                <a16:creationId xmlns:a16="http://schemas.microsoft.com/office/drawing/2014/main" id="{659214A2-9950-465A-7809-E997685A8AB3}"/>
              </a:ext>
            </a:extLst>
          </p:cNvPr>
          <p:cNvSpPr>
            <a:spLocks noGrp="1"/>
          </p:cNvSpPr>
          <p:nvPr>
            <p:ph type="sldNum" sz="quarter" idx="12"/>
          </p:nvPr>
        </p:nvSpPr>
        <p:spPr/>
        <p:txBody>
          <a:bodyPr/>
          <a:lstStyle/>
          <a:p>
            <a:fld id="{F4562D32-726A-4413-ACA3-4E6BD640C7C8}" type="slidenum">
              <a:rPr lang="de-DE" smtClean="0"/>
              <a:pPr/>
              <a:t>6</a:t>
            </a:fld>
            <a:endParaRPr lang="de-DE"/>
          </a:p>
        </p:txBody>
      </p:sp>
      <p:sp>
        <p:nvSpPr>
          <p:cNvPr id="176" name="Rectangle 175">
            <a:extLst>
              <a:ext uri="{FF2B5EF4-FFF2-40B4-BE49-F238E27FC236}">
                <a16:creationId xmlns:a16="http://schemas.microsoft.com/office/drawing/2014/main" id="{CE4D50A7-A341-5224-5073-CDEB3B9ABA6D}"/>
              </a:ext>
            </a:extLst>
          </p:cNvPr>
          <p:cNvSpPr/>
          <p:nvPr/>
        </p:nvSpPr>
        <p:spPr>
          <a:xfrm>
            <a:off x="1332708" y="9412526"/>
            <a:ext cx="6948000" cy="3499553"/>
          </a:xfrm>
          <a:prstGeom prst="rect">
            <a:avLst/>
          </a:prstGeom>
          <a:noFill/>
          <a:ln w="38100" cap="flat">
            <a:solidFill>
              <a:srgbClr val="96AEFC"/>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16000" tIns="90000" rIns="90000" bIns="90000" numCol="1" spcCol="38100" rtlCol="0" anchor="ctr">
            <a:noAutofit/>
          </a:bodyPr>
          <a:lstStyle/>
          <a:p>
            <a:pPr marR="57150" algn="l" defTabSz="1282700" rtl="0" fontAlgn="auto" latinLnBrk="0" hangingPunct="0">
              <a:lnSpc>
                <a:spcPct val="140000"/>
              </a:lnSpc>
              <a:spcBef>
                <a:spcPts val="0"/>
              </a:spcBef>
              <a:spcAft>
                <a:spcPts val="0"/>
              </a:spcAft>
              <a:buClrTx/>
              <a:buSzTx/>
              <a:tabLst/>
            </a:pPr>
            <a:endParaRPr kumimoji="0" lang="de-DE" b="1" i="0" u="none" strike="noStrike" cap="none" spc="0" normalizeH="0" baseline="0">
              <a:ln>
                <a:noFill/>
              </a:ln>
              <a:solidFill>
                <a:schemeClr val="tx2">
                  <a:lumMod val="50000"/>
                </a:schemeClr>
              </a:solidFill>
              <a:effectLst/>
              <a:uFill>
                <a:solidFill>
                  <a:schemeClr val="accent1">
                    <a:lumOff val="-57413"/>
                  </a:schemeClr>
                </a:solidFill>
              </a:uFill>
              <a:latin typeface="+mn-lt"/>
              <a:ea typeface="+mn-ea"/>
              <a:cs typeface="+mn-cs"/>
              <a:sym typeface="BentonSansF Book"/>
            </a:endParaRPr>
          </a:p>
          <a:p>
            <a:pPr marR="57150" algn="l" defTabSz="1282700" rtl="0" fontAlgn="auto" latinLnBrk="0" hangingPunct="0">
              <a:lnSpc>
                <a:spcPct val="140000"/>
              </a:lnSpc>
              <a:spcBef>
                <a:spcPts val="0"/>
              </a:spcBef>
              <a:spcAft>
                <a:spcPts val="0"/>
              </a:spcAft>
              <a:buClrTx/>
              <a:buSzTx/>
              <a:tabLst/>
            </a:pPr>
            <a:endParaRPr lang="de-DE" b="1">
              <a:solidFill>
                <a:schemeClr val="tx2">
                  <a:lumMod val="50000"/>
                </a:schemeClr>
              </a:solidFill>
            </a:endParaRPr>
          </a:p>
          <a:p>
            <a:pPr marR="57150" algn="l" defTabSz="1282700" rtl="0" fontAlgn="auto" latinLnBrk="0" hangingPunct="0">
              <a:lnSpc>
                <a:spcPct val="140000"/>
              </a:lnSpc>
              <a:spcBef>
                <a:spcPts val="0"/>
              </a:spcBef>
              <a:spcAft>
                <a:spcPts val="0"/>
              </a:spcAft>
              <a:buClrTx/>
              <a:buSzTx/>
              <a:tabLst/>
            </a:pPr>
            <a:endParaRPr kumimoji="0" lang="de-DE" b="1" i="0" u="none" strike="noStrike" cap="none" spc="0" normalizeH="0" baseline="0">
              <a:ln>
                <a:noFill/>
              </a:ln>
              <a:solidFill>
                <a:schemeClr val="tx2">
                  <a:lumMod val="50000"/>
                </a:schemeClr>
              </a:solidFill>
              <a:effectLst/>
              <a:uFill>
                <a:solidFill>
                  <a:schemeClr val="accent1">
                    <a:lumOff val="-57413"/>
                  </a:schemeClr>
                </a:solidFill>
              </a:uFill>
              <a:latin typeface="+mn-lt"/>
              <a:ea typeface="+mn-ea"/>
              <a:cs typeface="+mn-cs"/>
              <a:sym typeface="BentonSansF Book"/>
            </a:endParaRPr>
          </a:p>
          <a:p>
            <a:pPr marR="57150" algn="l" defTabSz="1282700" rtl="0" fontAlgn="auto" latinLnBrk="0" hangingPunct="0">
              <a:lnSpc>
                <a:spcPct val="140000"/>
              </a:lnSpc>
              <a:spcBef>
                <a:spcPts val="0"/>
              </a:spcBef>
              <a:spcAft>
                <a:spcPts val="0"/>
              </a:spcAft>
              <a:buClrTx/>
              <a:buSzTx/>
              <a:tabLst/>
            </a:pPr>
            <a:endParaRPr lang="de-DE" b="1">
              <a:solidFill>
                <a:schemeClr val="tx2">
                  <a:lumMod val="50000"/>
                </a:schemeClr>
              </a:solidFill>
            </a:endParaRPr>
          </a:p>
          <a:p>
            <a:pPr marR="57150" algn="l" defTabSz="1282700" rtl="0" fontAlgn="auto" latinLnBrk="0" hangingPunct="0">
              <a:lnSpc>
                <a:spcPct val="140000"/>
              </a:lnSpc>
              <a:spcBef>
                <a:spcPts val="0"/>
              </a:spcBef>
              <a:spcAft>
                <a:spcPts val="0"/>
              </a:spcAft>
              <a:buClrTx/>
              <a:buSzTx/>
              <a:tabLst/>
            </a:pPr>
            <a:endParaRPr kumimoji="0" lang="de-DE" b="1" i="0" u="none" strike="noStrike" cap="none" spc="0" normalizeH="0" baseline="0">
              <a:ln>
                <a:noFill/>
              </a:ln>
              <a:solidFill>
                <a:schemeClr val="tx2">
                  <a:lumMod val="50000"/>
                </a:schemeClr>
              </a:solidFill>
              <a:effectLst/>
              <a:uFill>
                <a:solidFill>
                  <a:schemeClr val="accent1">
                    <a:lumOff val="-57413"/>
                  </a:schemeClr>
                </a:solidFill>
              </a:uFill>
              <a:latin typeface="+mn-lt"/>
              <a:ea typeface="+mn-ea"/>
              <a:cs typeface="+mn-cs"/>
              <a:sym typeface="BentonSansF Book"/>
            </a:endParaRPr>
          </a:p>
          <a:p>
            <a:pPr marR="57150" algn="l" defTabSz="1282700" rtl="0" fontAlgn="auto" latinLnBrk="0" hangingPunct="0">
              <a:lnSpc>
                <a:spcPct val="140000"/>
              </a:lnSpc>
              <a:spcBef>
                <a:spcPts val="0"/>
              </a:spcBef>
              <a:spcAft>
                <a:spcPts val="0"/>
              </a:spcAft>
              <a:buClrTx/>
              <a:buSzTx/>
              <a:tabLst/>
            </a:pPr>
            <a:endParaRPr lang="de-DE" b="1">
              <a:solidFill>
                <a:schemeClr val="tx2">
                  <a:lumMod val="50000"/>
                </a:schemeClr>
              </a:solidFill>
            </a:endParaRPr>
          </a:p>
        </p:txBody>
      </p:sp>
      <p:pic>
        <p:nvPicPr>
          <p:cNvPr id="3" name="Graphic 2" descr="Users outline">
            <a:extLst>
              <a:ext uri="{FF2B5EF4-FFF2-40B4-BE49-F238E27FC236}">
                <a16:creationId xmlns:a16="http://schemas.microsoft.com/office/drawing/2014/main" id="{958C7EDC-34F0-2C95-8C08-5AD28F2971BF}"/>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511261" y="9539713"/>
            <a:ext cx="639694" cy="639694"/>
          </a:xfrm>
          <a:prstGeom prst="rect">
            <a:avLst/>
          </a:prstGeom>
        </p:spPr>
      </p:pic>
      <p:sp>
        <p:nvSpPr>
          <p:cNvPr id="6" name="Rectangle 5">
            <a:extLst>
              <a:ext uri="{FF2B5EF4-FFF2-40B4-BE49-F238E27FC236}">
                <a16:creationId xmlns:a16="http://schemas.microsoft.com/office/drawing/2014/main" id="{5F251440-BA9E-2485-D4E3-9D4375184274}"/>
              </a:ext>
            </a:extLst>
          </p:cNvPr>
          <p:cNvSpPr/>
          <p:nvPr/>
        </p:nvSpPr>
        <p:spPr>
          <a:xfrm>
            <a:off x="25226575" y="172649"/>
            <a:ext cx="12808446" cy="819439"/>
          </a:xfrm>
          <a:prstGeom prst="rect">
            <a:avLst/>
          </a:prstGeom>
          <a:solidFill>
            <a:srgbClr val="FFC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L="0" marR="0" indent="0" algn="ctr" defTabSz="822960" rtl="0" fontAlgn="auto" latinLnBrk="0" hangingPunct="0">
              <a:lnSpc>
                <a:spcPct val="140000"/>
              </a:lnSpc>
              <a:spcBef>
                <a:spcPts val="0"/>
              </a:spcBef>
              <a:spcAft>
                <a:spcPts val="0"/>
              </a:spcAft>
              <a:buClrTx/>
              <a:buSzTx/>
              <a:buFontTx/>
              <a:buNone/>
              <a:tabLst/>
            </a:pPr>
            <a:r>
              <a:rPr kumimoji="0" lang="en-US" sz="2800" b="0" i="0" u="none" strike="noStrike" cap="none" spc="0" normalizeH="0" baseline="0">
                <a:ln>
                  <a:noFill/>
                </a:ln>
                <a:solidFill>
                  <a:schemeClr val="bg1"/>
                </a:solidFill>
                <a:effectLst/>
                <a:uFillTx/>
                <a:latin typeface="+mn-lt"/>
                <a:ea typeface="+mn-ea"/>
                <a:cs typeface="+mn-cs"/>
                <a:sym typeface="BentonSansF Book"/>
              </a:rPr>
              <a:t>Still needs input</a:t>
            </a:r>
          </a:p>
          <a:p>
            <a:pPr marR="0" algn="ctr" defTabSz="822960">
              <a:lnSpc>
                <a:spcPct val="140000"/>
              </a:lnSpc>
            </a:pPr>
            <a:r>
              <a:rPr lang="en-US" sz="2000" b="0" i="0">
                <a:solidFill>
                  <a:srgbClr val="FFFFFF"/>
                </a:solidFill>
                <a:effectLst/>
                <a:latin typeface="var(--chakra-fonts-heading)"/>
              </a:rPr>
              <a:t>Execution Plan: </a:t>
            </a:r>
            <a:r>
              <a:rPr lang="en-US" sz="2000" b="0" i="0">
                <a:solidFill>
                  <a:srgbClr val="FFFFFF"/>
                </a:solidFill>
                <a:effectLst/>
                <a:latin typeface="-apple-system"/>
              </a:rPr>
              <a:t>Describe how you intend to deploy and distribute your AI solution, for example through a web app, mobile app, direct API, etc. Provide a timeline for achieving key milestones and reaching the target users or customers.</a:t>
            </a:r>
          </a:p>
          <a:p>
            <a:pPr marL="0" marR="0" indent="0" algn="ctr" defTabSz="822960" rtl="0" fontAlgn="auto" latinLnBrk="0" hangingPunct="0">
              <a:lnSpc>
                <a:spcPct val="140000"/>
              </a:lnSpc>
              <a:spcBef>
                <a:spcPts val="0"/>
              </a:spcBef>
              <a:spcAft>
                <a:spcPts val="0"/>
              </a:spcAft>
              <a:buClrTx/>
              <a:buSzTx/>
              <a:buFontTx/>
              <a:buNone/>
              <a:tabLst/>
            </a:pPr>
            <a:endParaRPr kumimoji="0" lang="en-US" sz="2800" b="0" i="0" u="none" strike="noStrike" cap="none" spc="0" normalizeH="0" baseline="0">
              <a:ln>
                <a:noFill/>
              </a:ln>
              <a:solidFill>
                <a:schemeClr val="bg1"/>
              </a:solidFill>
              <a:effectLst/>
              <a:uFillTx/>
              <a:latin typeface="+mn-lt"/>
              <a:ea typeface="+mn-ea"/>
              <a:cs typeface="+mn-cs"/>
              <a:sym typeface="BentonSansF Book"/>
            </a:endParaRPr>
          </a:p>
        </p:txBody>
      </p:sp>
      <p:sp>
        <p:nvSpPr>
          <p:cNvPr id="9" name="Rectangle 33">
            <a:extLst>
              <a:ext uri="{FF2B5EF4-FFF2-40B4-BE49-F238E27FC236}">
                <a16:creationId xmlns:a16="http://schemas.microsoft.com/office/drawing/2014/main" id="{D1688E8C-B3F6-147F-2C2B-ABAFDF33DBB8}"/>
              </a:ext>
            </a:extLst>
          </p:cNvPr>
          <p:cNvSpPr/>
          <p:nvPr/>
        </p:nvSpPr>
        <p:spPr>
          <a:xfrm>
            <a:off x="8486677" y="9412526"/>
            <a:ext cx="6948000" cy="3499553"/>
          </a:xfrm>
          <a:prstGeom prst="rect">
            <a:avLst/>
          </a:prstGeom>
          <a:noFill/>
          <a:ln w="38100" cap="flat">
            <a:solidFill>
              <a:srgbClr val="96AEFC"/>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16000" tIns="90000" rIns="90000" bIns="90000" numCol="1" spcCol="38100" rtlCol="0" anchor="ctr">
            <a:noAutofit/>
          </a:bodyPr>
          <a:lstStyle/>
          <a:p>
            <a:pPr marR="57150" algn="l" defTabSz="1282700" rtl="0" fontAlgn="auto" latinLnBrk="0" hangingPunct="0">
              <a:lnSpc>
                <a:spcPct val="140000"/>
              </a:lnSpc>
              <a:spcBef>
                <a:spcPts val="0"/>
              </a:spcBef>
              <a:spcAft>
                <a:spcPts val="0"/>
              </a:spcAft>
              <a:buClrTx/>
              <a:buSzTx/>
              <a:tabLst/>
            </a:pPr>
            <a:endParaRPr kumimoji="0" lang="de-DE" sz="2800" b="1" i="0" u="none" strike="noStrike" cap="none" spc="0" normalizeH="0" baseline="0">
              <a:ln>
                <a:noFill/>
              </a:ln>
              <a:solidFill>
                <a:schemeClr val="tx2">
                  <a:lumMod val="50000"/>
                </a:schemeClr>
              </a:solidFill>
              <a:effectLst/>
              <a:uFill>
                <a:solidFill>
                  <a:schemeClr val="accent1">
                    <a:lumOff val="-57413"/>
                  </a:schemeClr>
                </a:solidFill>
              </a:uFill>
              <a:latin typeface="+mn-lt"/>
              <a:ea typeface="+mn-ea"/>
              <a:cs typeface="+mn-cs"/>
              <a:sym typeface="BentonSansF Book"/>
            </a:endParaRPr>
          </a:p>
          <a:p>
            <a:pPr marR="57150" algn="l" defTabSz="1282700" rtl="0" fontAlgn="auto" latinLnBrk="0" hangingPunct="0">
              <a:lnSpc>
                <a:spcPct val="140000"/>
              </a:lnSpc>
              <a:spcBef>
                <a:spcPts val="0"/>
              </a:spcBef>
              <a:spcAft>
                <a:spcPts val="0"/>
              </a:spcAft>
              <a:buClrTx/>
              <a:buSzTx/>
              <a:tabLst/>
            </a:pPr>
            <a:endParaRPr lang="de-DE" sz="2800" b="1">
              <a:solidFill>
                <a:schemeClr val="tx2">
                  <a:lumMod val="50000"/>
                </a:schemeClr>
              </a:solidFill>
            </a:endParaRPr>
          </a:p>
          <a:p>
            <a:pPr marR="57150" algn="l" defTabSz="1282700" rtl="0" fontAlgn="auto" latinLnBrk="0" hangingPunct="0">
              <a:lnSpc>
                <a:spcPct val="140000"/>
              </a:lnSpc>
              <a:spcBef>
                <a:spcPts val="0"/>
              </a:spcBef>
              <a:spcAft>
                <a:spcPts val="0"/>
              </a:spcAft>
              <a:buClrTx/>
              <a:buSzTx/>
              <a:tabLst/>
            </a:pPr>
            <a:endParaRPr kumimoji="0" lang="de-DE" sz="2800" b="1" i="0" u="none" strike="noStrike" cap="none" spc="0" normalizeH="0" baseline="0">
              <a:ln>
                <a:noFill/>
              </a:ln>
              <a:solidFill>
                <a:schemeClr val="tx2">
                  <a:lumMod val="50000"/>
                </a:schemeClr>
              </a:solidFill>
              <a:effectLst/>
              <a:uFill>
                <a:solidFill>
                  <a:schemeClr val="accent1">
                    <a:lumOff val="-57413"/>
                  </a:schemeClr>
                </a:solidFill>
              </a:uFill>
              <a:latin typeface="+mn-lt"/>
              <a:ea typeface="+mn-ea"/>
              <a:cs typeface="+mn-cs"/>
              <a:sym typeface="BentonSansF Book"/>
            </a:endParaRPr>
          </a:p>
          <a:p>
            <a:pPr marR="57150" algn="l" defTabSz="1282700" rtl="0" fontAlgn="auto" latinLnBrk="0" hangingPunct="0">
              <a:lnSpc>
                <a:spcPct val="140000"/>
              </a:lnSpc>
              <a:spcBef>
                <a:spcPts val="0"/>
              </a:spcBef>
              <a:spcAft>
                <a:spcPts val="0"/>
              </a:spcAft>
              <a:buClrTx/>
              <a:buSzTx/>
              <a:tabLst/>
            </a:pPr>
            <a:endParaRPr lang="de-DE" sz="2800" b="1">
              <a:solidFill>
                <a:schemeClr val="tx2">
                  <a:lumMod val="50000"/>
                </a:schemeClr>
              </a:solidFill>
            </a:endParaRPr>
          </a:p>
          <a:p>
            <a:pPr marR="57150" algn="l" defTabSz="1282700" rtl="0" fontAlgn="auto" latinLnBrk="0" hangingPunct="0">
              <a:lnSpc>
                <a:spcPct val="140000"/>
              </a:lnSpc>
              <a:spcBef>
                <a:spcPts val="0"/>
              </a:spcBef>
              <a:spcAft>
                <a:spcPts val="0"/>
              </a:spcAft>
              <a:buClrTx/>
              <a:buSzTx/>
              <a:tabLst/>
            </a:pPr>
            <a:endParaRPr kumimoji="0" lang="de-DE" sz="2800" b="1" i="0" u="none" strike="noStrike" cap="none" spc="0" normalizeH="0" baseline="0">
              <a:ln>
                <a:noFill/>
              </a:ln>
              <a:solidFill>
                <a:schemeClr val="tx2">
                  <a:lumMod val="50000"/>
                </a:schemeClr>
              </a:solidFill>
              <a:effectLst/>
              <a:uFill>
                <a:solidFill>
                  <a:schemeClr val="accent1">
                    <a:lumOff val="-57413"/>
                  </a:schemeClr>
                </a:solidFill>
              </a:uFill>
              <a:latin typeface="+mn-lt"/>
              <a:ea typeface="+mn-ea"/>
              <a:cs typeface="+mn-cs"/>
              <a:sym typeface="BentonSansF Book"/>
            </a:endParaRPr>
          </a:p>
          <a:p>
            <a:pPr marR="57150" algn="l" defTabSz="1282700" rtl="0" fontAlgn="auto" latinLnBrk="0" hangingPunct="0">
              <a:lnSpc>
                <a:spcPct val="140000"/>
              </a:lnSpc>
              <a:spcBef>
                <a:spcPts val="0"/>
              </a:spcBef>
              <a:spcAft>
                <a:spcPts val="0"/>
              </a:spcAft>
              <a:buClrTx/>
              <a:buSzTx/>
              <a:tabLst/>
            </a:pPr>
            <a:endParaRPr kumimoji="0" lang="de-DE" sz="2800" b="1" i="0" u="none" strike="noStrike" cap="none" spc="0" normalizeH="0" baseline="0">
              <a:ln>
                <a:noFill/>
              </a:ln>
              <a:solidFill>
                <a:schemeClr val="tx2">
                  <a:lumMod val="50000"/>
                </a:schemeClr>
              </a:solidFill>
              <a:effectLst/>
              <a:uFill>
                <a:solidFill>
                  <a:schemeClr val="accent1">
                    <a:lumOff val="-57413"/>
                  </a:schemeClr>
                </a:solidFill>
              </a:uFill>
              <a:latin typeface="+mn-lt"/>
              <a:ea typeface="+mn-ea"/>
              <a:cs typeface="+mn-cs"/>
              <a:sym typeface="BentonSansF Book"/>
            </a:endParaRPr>
          </a:p>
        </p:txBody>
      </p:sp>
      <p:grpSp>
        <p:nvGrpSpPr>
          <p:cNvPr id="42" name="Group 41">
            <a:extLst>
              <a:ext uri="{FF2B5EF4-FFF2-40B4-BE49-F238E27FC236}">
                <a16:creationId xmlns:a16="http://schemas.microsoft.com/office/drawing/2014/main" id="{C27D67A2-EFA6-55DD-EA5C-CC5F412EB73F}"/>
              </a:ext>
            </a:extLst>
          </p:cNvPr>
          <p:cNvGrpSpPr/>
          <p:nvPr/>
        </p:nvGrpSpPr>
        <p:grpSpPr>
          <a:xfrm>
            <a:off x="9737181" y="10384411"/>
            <a:ext cx="1657747" cy="1445348"/>
            <a:chOff x="877405" y="10322190"/>
            <a:chExt cx="1960408" cy="1709230"/>
          </a:xfrm>
        </p:grpSpPr>
        <p:pic>
          <p:nvPicPr>
            <p:cNvPr id="43" name="Picture 42">
              <a:extLst>
                <a:ext uri="{FF2B5EF4-FFF2-40B4-BE49-F238E27FC236}">
                  <a16:creationId xmlns:a16="http://schemas.microsoft.com/office/drawing/2014/main" id="{7431C7A9-FC76-E1AF-9347-AC113C97B430}"/>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77405" y="10322190"/>
              <a:ext cx="1960408" cy="1709230"/>
            </a:xfrm>
            <a:prstGeom prst="rect">
              <a:avLst/>
            </a:prstGeom>
          </p:spPr>
        </p:pic>
        <p:pic>
          <p:nvPicPr>
            <p:cNvPr id="44" name="Picture 175">
              <a:extLst>
                <a:ext uri="{FF2B5EF4-FFF2-40B4-BE49-F238E27FC236}">
                  <a16:creationId xmlns:a16="http://schemas.microsoft.com/office/drawing/2014/main" id="{0290616E-9881-9E09-F380-13E9F48FAA63}"/>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971894" y="10426824"/>
              <a:ext cx="1773312" cy="974482"/>
            </a:xfrm>
            <a:prstGeom prst="rect">
              <a:avLst/>
            </a:prstGeom>
          </p:spPr>
        </p:pic>
      </p:grpSp>
      <p:grpSp>
        <p:nvGrpSpPr>
          <p:cNvPr id="61" name="Group 60">
            <a:extLst>
              <a:ext uri="{FF2B5EF4-FFF2-40B4-BE49-F238E27FC236}">
                <a16:creationId xmlns:a16="http://schemas.microsoft.com/office/drawing/2014/main" id="{DD4EE9DC-12CA-9CD2-33BD-FE16093A47B1}"/>
              </a:ext>
            </a:extLst>
          </p:cNvPr>
          <p:cNvGrpSpPr/>
          <p:nvPr/>
        </p:nvGrpSpPr>
        <p:grpSpPr>
          <a:xfrm>
            <a:off x="12929506" y="10391583"/>
            <a:ext cx="868257" cy="1488868"/>
            <a:chOff x="10661827" y="9440702"/>
            <a:chExt cx="1504320" cy="2741561"/>
          </a:xfrm>
        </p:grpSpPr>
        <p:pic>
          <p:nvPicPr>
            <p:cNvPr id="49" name="Picture Placeholder 10">
              <a:extLst>
                <a:ext uri="{FF2B5EF4-FFF2-40B4-BE49-F238E27FC236}">
                  <a16:creationId xmlns:a16="http://schemas.microsoft.com/office/drawing/2014/main" id="{01F88CCA-E432-5DCF-ADFE-1B1E96C2832D}"/>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l="-1" r="-1034"/>
            <a:stretch/>
          </p:blipFill>
          <p:spPr>
            <a:xfrm>
              <a:off x="10661827" y="9440702"/>
              <a:ext cx="1504320" cy="2741561"/>
            </a:xfrm>
            <a:prstGeom prst="rect">
              <a:avLst/>
            </a:prstGeom>
            <a:noFill/>
            <a:ln w="19050">
              <a:noFill/>
            </a:ln>
          </p:spPr>
        </p:pic>
        <p:pic>
          <p:nvPicPr>
            <p:cNvPr id="50" name="Picture 175">
              <a:extLst>
                <a:ext uri="{FF2B5EF4-FFF2-40B4-BE49-F238E27FC236}">
                  <a16:creationId xmlns:a16="http://schemas.microsoft.com/office/drawing/2014/main" id="{9BF94D2C-F261-7567-2D65-B946CAB36B37}"/>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10870120" y="9702264"/>
              <a:ext cx="1087733" cy="2209627"/>
            </a:xfrm>
            <a:prstGeom prst="rect">
              <a:avLst/>
            </a:prstGeom>
          </p:spPr>
        </p:pic>
      </p:grpSp>
      <p:sp>
        <p:nvSpPr>
          <p:cNvPr id="58" name="Rectangle 57">
            <a:extLst>
              <a:ext uri="{FF2B5EF4-FFF2-40B4-BE49-F238E27FC236}">
                <a16:creationId xmlns:a16="http://schemas.microsoft.com/office/drawing/2014/main" id="{81D94040-56C7-AABF-B96B-0CCFA141AE74}"/>
              </a:ext>
            </a:extLst>
          </p:cNvPr>
          <p:cNvSpPr/>
          <p:nvPr/>
        </p:nvSpPr>
        <p:spPr>
          <a:xfrm>
            <a:off x="15640647" y="9425886"/>
            <a:ext cx="6948000" cy="3476630"/>
          </a:xfrm>
          <a:prstGeom prst="rect">
            <a:avLst/>
          </a:prstGeom>
          <a:noFill/>
          <a:ln w="38100" cap="flat">
            <a:solidFill>
              <a:srgbClr val="96AEFC"/>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8000" tIns="90000" rIns="90000" bIns="90000" numCol="1" spcCol="38100" rtlCol="0" anchor="ctr">
            <a:noAutofit/>
          </a:bodyPr>
          <a:lstStyle/>
          <a:p>
            <a:pPr marL="457200" marR="57150" indent="-457200" algn="l" defTabSz="1282700" rtl="0" fontAlgn="auto" latinLnBrk="0" hangingPunct="0">
              <a:lnSpc>
                <a:spcPct val="110000"/>
              </a:lnSpc>
              <a:spcBef>
                <a:spcPts val="0"/>
              </a:spcBef>
              <a:spcAft>
                <a:spcPts val="0"/>
              </a:spcAft>
              <a:buClrTx/>
              <a:buSzTx/>
              <a:buFont typeface="Arial" panose="020B0604020202020204" pitchFamily="34" charset="0"/>
              <a:buChar char="•"/>
              <a:tabLst/>
            </a:pPr>
            <a:endParaRPr lang="en-US">
              <a:solidFill>
                <a:schemeClr val="tx1"/>
              </a:solidFill>
            </a:endParaRPr>
          </a:p>
          <a:p>
            <a:pPr marL="457200" marR="57150" indent="-457200" algn="l" defTabSz="1282700" rtl="0" fontAlgn="auto" latinLnBrk="0" hangingPunct="0">
              <a:lnSpc>
                <a:spcPct val="110000"/>
              </a:lnSpc>
              <a:spcBef>
                <a:spcPts val="0"/>
              </a:spcBef>
              <a:spcAft>
                <a:spcPts val="0"/>
              </a:spcAft>
              <a:buClrTx/>
              <a:buSzTx/>
              <a:buFont typeface="Arial" panose="020B0604020202020204" pitchFamily="34" charset="0"/>
              <a:buChar char="•"/>
              <a:tabLst/>
            </a:pPr>
            <a:endParaRPr lang="en-US" sz="2000">
              <a:solidFill>
                <a:schemeClr val="tx1"/>
              </a:solidFill>
            </a:endParaRPr>
          </a:p>
          <a:p>
            <a:pPr marL="457200" marR="57150" indent="-457200" algn="l" defTabSz="1282700" rtl="0" fontAlgn="auto" latinLnBrk="0" hangingPunct="0">
              <a:lnSpc>
                <a:spcPct val="110000"/>
              </a:lnSpc>
              <a:spcBef>
                <a:spcPts val="0"/>
              </a:spcBef>
              <a:spcAft>
                <a:spcPts val="0"/>
              </a:spcAft>
              <a:buClrTx/>
              <a:buSzTx/>
              <a:buFont typeface="Arial" panose="020B0604020202020204" pitchFamily="34" charset="0"/>
              <a:buChar char="•"/>
              <a:tabLst/>
            </a:pPr>
            <a:r>
              <a:rPr lang="en-US" sz="2000">
                <a:solidFill>
                  <a:schemeClr val="tx1"/>
                </a:solidFill>
              </a:rPr>
              <a:t>Voice integration using Chirp</a:t>
            </a:r>
            <a:endParaRPr kumimoji="0" lang="en-US" sz="2000" i="0" u="none" strike="noStrike" cap="none" spc="0" normalizeH="0" baseline="0">
              <a:ln>
                <a:noFill/>
              </a:ln>
              <a:solidFill>
                <a:schemeClr val="tx1"/>
              </a:solidFill>
              <a:effectLst/>
              <a:uFill>
                <a:solidFill>
                  <a:schemeClr val="accent1">
                    <a:lumOff val="-57413"/>
                  </a:schemeClr>
                </a:solidFill>
              </a:uFill>
              <a:latin typeface="+mn-lt"/>
              <a:ea typeface="+mn-ea"/>
              <a:cs typeface="+mn-cs"/>
              <a:sym typeface="BentonSansF Book"/>
            </a:endParaRPr>
          </a:p>
          <a:p>
            <a:pPr marL="457200" marR="57150" indent="-457200" algn="l" defTabSz="1282700" rtl="0" fontAlgn="auto" latinLnBrk="0" hangingPunct="0">
              <a:lnSpc>
                <a:spcPct val="110000"/>
              </a:lnSpc>
              <a:spcBef>
                <a:spcPts val="0"/>
              </a:spcBef>
              <a:spcAft>
                <a:spcPts val="0"/>
              </a:spcAft>
              <a:buClrTx/>
              <a:buSzTx/>
              <a:buFont typeface="Arial" panose="020B0604020202020204" pitchFamily="34" charset="0"/>
              <a:buChar char="•"/>
              <a:tabLst/>
            </a:pPr>
            <a:r>
              <a:rPr lang="en-US" sz="2000">
                <a:solidFill>
                  <a:schemeClr val="tx1"/>
                </a:solidFill>
              </a:rPr>
              <a:t>Automated inventory check</a:t>
            </a:r>
          </a:p>
          <a:p>
            <a:pPr marL="457200" marR="57150" indent="-457200" algn="l" defTabSz="1282700" rtl="0" fontAlgn="auto" latinLnBrk="0" hangingPunct="0">
              <a:lnSpc>
                <a:spcPct val="110000"/>
              </a:lnSpc>
              <a:spcBef>
                <a:spcPts val="0"/>
              </a:spcBef>
              <a:spcAft>
                <a:spcPts val="0"/>
              </a:spcAft>
              <a:buClrTx/>
              <a:buSzTx/>
              <a:buFont typeface="Arial" panose="020B0604020202020204" pitchFamily="34" charset="0"/>
              <a:buChar char="•"/>
              <a:tabLst/>
            </a:pPr>
            <a:r>
              <a:rPr lang="en-US" sz="2000">
                <a:solidFill>
                  <a:schemeClr val="tx1"/>
                </a:solidFill>
              </a:rPr>
              <a:t>Integration of supplies’ systems for price and availability check</a:t>
            </a:r>
          </a:p>
          <a:p>
            <a:pPr marL="457200" marR="57150" indent="-457200" algn="l" defTabSz="1282700" rtl="0" fontAlgn="auto" latinLnBrk="0" hangingPunct="0">
              <a:lnSpc>
                <a:spcPct val="110000"/>
              </a:lnSpc>
              <a:spcBef>
                <a:spcPts val="0"/>
              </a:spcBef>
              <a:spcAft>
                <a:spcPts val="0"/>
              </a:spcAft>
              <a:buClrTx/>
              <a:buSzTx/>
              <a:buFont typeface="Arial" panose="020B0604020202020204" pitchFamily="34" charset="0"/>
              <a:buChar char="•"/>
              <a:tabLst/>
            </a:pPr>
            <a:r>
              <a:rPr lang="en-US" sz="2000">
                <a:solidFill>
                  <a:schemeClr val="tx1"/>
                </a:solidFill>
              </a:rPr>
              <a:t>Insurance approval integration</a:t>
            </a:r>
          </a:p>
        </p:txBody>
      </p:sp>
      <p:sp>
        <p:nvSpPr>
          <p:cNvPr id="60" name="TextBox 48">
            <a:extLst>
              <a:ext uri="{FF2B5EF4-FFF2-40B4-BE49-F238E27FC236}">
                <a16:creationId xmlns:a16="http://schemas.microsoft.com/office/drawing/2014/main" id="{17D349E8-B734-D755-D12A-510EC48D6D8A}"/>
              </a:ext>
            </a:extLst>
          </p:cNvPr>
          <p:cNvSpPr txBox="1"/>
          <p:nvPr/>
        </p:nvSpPr>
        <p:spPr>
          <a:xfrm>
            <a:off x="9167664" y="12035814"/>
            <a:ext cx="2895613" cy="9144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ctr" defTabSz="1282700" rtl="0" fontAlgn="auto" latinLnBrk="0" hangingPunct="0">
              <a:lnSpc>
                <a:spcPct val="100000"/>
              </a:lnSpc>
              <a:spcBef>
                <a:spcPts val="0"/>
              </a:spcBef>
              <a:spcAft>
                <a:spcPts val="0"/>
              </a:spcAft>
              <a:buClrTx/>
              <a:buSzTx/>
              <a:buFontTx/>
              <a:buNone/>
              <a:tabLst/>
            </a:pPr>
            <a:r>
              <a:rPr kumimoji="0" lang="en-US" sz="2000" b="1" i="0" u="none" strike="noStrike" cap="none" spc="0" normalizeH="0" baseline="0">
                <a:ln>
                  <a:noFill/>
                </a:ln>
                <a:solidFill>
                  <a:schemeClr val="tx1"/>
                </a:solidFill>
                <a:effectLst/>
                <a:uFill>
                  <a:solidFill>
                    <a:schemeClr val="accent1">
                      <a:lumOff val="-57413"/>
                    </a:schemeClr>
                  </a:solidFill>
                </a:uFill>
                <a:latin typeface="+mn-lt"/>
                <a:ea typeface="+mn-ea"/>
                <a:cs typeface="+mn-cs"/>
                <a:sym typeface="BentonSansF Book"/>
              </a:rPr>
              <a:t>Desktop Web App </a:t>
            </a:r>
            <a:br>
              <a:rPr kumimoji="0" lang="en-US" sz="2000" b="1" i="0" u="none" strike="noStrike" cap="none" spc="0" normalizeH="0" baseline="0">
                <a:ln>
                  <a:noFill/>
                </a:ln>
                <a:solidFill>
                  <a:schemeClr val="tx1"/>
                </a:solidFill>
                <a:effectLst/>
                <a:uFill>
                  <a:solidFill>
                    <a:schemeClr val="accent1">
                      <a:lumOff val="-57413"/>
                    </a:schemeClr>
                  </a:solidFill>
                </a:uFill>
                <a:latin typeface="+mn-lt"/>
                <a:ea typeface="+mn-ea"/>
                <a:cs typeface="+mn-cs"/>
                <a:sym typeface="BentonSansF Book"/>
              </a:rPr>
            </a:br>
            <a:r>
              <a:rPr kumimoji="0" lang="en-US" sz="2000" i="0" u="none" strike="noStrike" cap="none" spc="0" normalizeH="0" baseline="0">
                <a:ln>
                  <a:noFill/>
                </a:ln>
                <a:solidFill>
                  <a:schemeClr val="tx1"/>
                </a:solidFill>
                <a:effectLst/>
                <a:uFill>
                  <a:solidFill>
                    <a:schemeClr val="accent1">
                      <a:lumOff val="-57413"/>
                    </a:schemeClr>
                  </a:solidFill>
                </a:uFill>
                <a:latin typeface="+mn-lt"/>
                <a:ea typeface="+mn-ea"/>
                <a:cs typeface="+mn-cs"/>
                <a:sym typeface="BentonSansF Book"/>
              </a:rPr>
              <a:t>for </a:t>
            </a:r>
            <a:r>
              <a:rPr lang="en-US" sz="2000">
                <a:solidFill>
                  <a:schemeClr val="tx1"/>
                </a:solidFill>
              </a:rPr>
              <a:t>p</a:t>
            </a:r>
            <a:r>
              <a:rPr kumimoji="0" lang="en-US" sz="2000" i="0" u="none" strike="noStrike" cap="none" spc="0" normalizeH="0" baseline="0">
                <a:ln>
                  <a:noFill/>
                </a:ln>
                <a:solidFill>
                  <a:schemeClr val="tx1"/>
                </a:solidFill>
                <a:effectLst/>
                <a:uFill>
                  <a:solidFill>
                    <a:schemeClr val="accent1">
                      <a:lumOff val="-57413"/>
                    </a:schemeClr>
                  </a:solidFill>
                </a:uFill>
                <a:latin typeface="+mn-lt"/>
                <a:ea typeface="+mn-ea"/>
                <a:cs typeface="+mn-cs"/>
                <a:sym typeface="BentonSansF Book"/>
              </a:rPr>
              <a:t>rofessional usage</a:t>
            </a:r>
          </a:p>
        </p:txBody>
      </p:sp>
      <p:sp>
        <p:nvSpPr>
          <p:cNvPr id="62" name="TextBox 48">
            <a:extLst>
              <a:ext uri="{FF2B5EF4-FFF2-40B4-BE49-F238E27FC236}">
                <a16:creationId xmlns:a16="http://schemas.microsoft.com/office/drawing/2014/main" id="{C08B9AAF-E2D4-4EFC-C03F-96988876732A}"/>
              </a:ext>
            </a:extLst>
          </p:cNvPr>
          <p:cNvSpPr txBox="1"/>
          <p:nvPr/>
        </p:nvSpPr>
        <p:spPr>
          <a:xfrm>
            <a:off x="12488830" y="12101570"/>
            <a:ext cx="2071654" cy="5893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ctr" defTabSz="1282700" rtl="0" fontAlgn="auto" latinLnBrk="0" hangingPunct="0">
              <a:lnSpc>
                <a:spcPct val="100000"/>
              </a:lnSpc>
              <a:spcBef>
                <a:spcPts val="0"/>
              </a:spcBef>
              <a:spcAft>
                <a:spcPts val="0"/>
              </a:spcAft>
              <a:buClrTx/>
              <a:buSzTx/>
              <a:buFontTx/>
              <a:buNone/>
              <a:tabLst/>
            </a:pPr>
            <a:r>
              <a:rPr kumimoji="0" lang="en-US" sz="2000" b="1"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rPr>
              <a:t>Mobile App</a:t>
            </a:r>
          </a:p>
          <a:p>
            <a:pPr marL="0" marR="57150" indent="0" algn="ctr" defTabSz="1282700" rtl="0" fontAlgn="auto" latinLnBrk="0" hangingPunct="0">
              <a:lnSpc>
                <a:spcPct val="100000"/>
              </a:lnSpc>
              <a:spcBef>
                <a:spcPts val="0"/>
              </a:spcBef>
              <a:spcAft>
                <a:spcPts val="0"/>
              </a:spcAft>
              <a:buClrTx/>
              <a:buSzTx/>
              <a:buFontTx/>
              <a:buNone/>
              <a:tabLst/>
            </a:pPr>
            <a:r>
              <a:rPr lang="en-US" sz="2000"/>
              <a:t>for quick input</a:t>
            </a:r>
            <a:r>
              <a:rPr kumimoji="0" lang="en-US" sz="200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rPr>
              <a:t> </a:t>
            </a:r>
          </a:p>
        </p:txBody>
      </p:sp>
      <p:sp>
        <p:nvSpPr>
          <p:cNvPr id="72" name="TextBox 71">
            <a:extLst>
              <a:ext uri="{FF2B5EF4-FFF2-40B4-BE49-F238E27FC236}">
                <a16:creationId xmlns:a16="http://schemas.microsoft.com/office/drawing/2014/main" id="{923A2105-C8B1-D92C-1302-8981D006C7A9}"/>
              </a:ext>
            </a:extLst>
          </p:cNvPr>
          <p:cNvSpPr txBox="1"/>
          <p:nvPr/>
        </p:nvSpPr>
        <p:spPr>
          <a:xfrm>
            <a:off x="9371991" y="9516718"/>
            <a:ext cx="2895613" cy="5613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R="57150" algn="l" defTabSz="1282700" rtl="0" fontAlgn="auto" latinLnBrk="0" hangingPunct="0">
              <a:lnSpc>
                <a:spcPct val="140000"/>
              </a:lnSpc>
              <a:spcBef>
                <a:spcPts val="0"/>
              </a:spcBef>
              <a:spcAft>
                <a:spcPts val="0"/>
              </a:spcAft>
              <a:buClrTx/>
              <a:buSzTx/>
              <a:tabLst/>
            </a:pPr>
            <a:r>
              <a:rPr lang="en-US" sz="2400" b="1">
                <a:solidFill>
                  <a:srgbClr val="0E176D"/>
                </a:solidFill>
              </a:rPr>
              <a:t>Delivery Format</a:t>
            </a:r>
          </a:p>
        </p:txBody>
      </p:sp>
      <p:pic>
        <p:nvPicPr>
          <p:cNvPr id="74" name="Graphic 73" descr="Ui Ux with solid fill">
            <a:extLst>
              <a:ext uri="{FF2B5EF4-FFF2-40B4-BE49-F238E27FC236}">
                <a16:creationId xmlns:a16="http://schemas.microsoft.com/office/drawing/2014/main" id="{8222FDBD-D2A6-2415-3585-7E77BE615C2D}"/>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8735616" y="9571310"/>
            <a:ext cx="561372" cy="561372"/>
          </a:xfrm>
          <a:prstGeom prst="rect">
            <a:avLst/>
          </a:prstGeom>
        </p:spPr>
      </p:pic>
      <p:sp>
        <p:nvSpPr>
          <p:cNvPr id="75" name="TextBox 74">
            <a:extLst>
              <a:ext uri="{FF2B5EF4-FFF2-40B4-BE49-F238E27FC236}">
                <a16:creationId xmlns:a16="http://schemas.microsoft.com/office/drawing/2014/main" id="{349E48B6-D9CB-19C3-F92B-F452D056D9C4}"/>
              </a:ext>
            </a:extLst>
          </p:cNvPr>
          <p:cNvSpPr txBox="1"/>
          <p:nvPr/>
        </p:nvSpPr>
        <p:spPr>
          <a:xfrm>
            <a:off x="16500783" y="9587206"/>
            <a:ext cx="5772336" cy="88210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R="57150" algn="l" defTabSz="1282700" rtl="0" fontAlgn="auto" latinLnBrk="0" hangingPunct="0">
              <a:lnSpc>
                <a:spcPct val="110000"/>
              </a:lnSpc>
              <a:spcBef>
                <a:spcPts val="0"/>
              </a:spcBef>
              <a:spcAft>
                <a:spcPts val="0"/>
              </a:spcAft>
              <a:buClrTx/>
              <a:buSzTx/>
              <a:tabLst/>
            </a:pPr>
            <a:r>
              <a:rPr lang="en-US" sz="2400" b="1">
                <a:solidFill>
                  <a:schemeClr val="tx2">
                    <a:lumMod val="50000"/>
                  </a:schemeClr>
                </a:solidFill>
              </a:rPr>
              <a:t>End-to-End Solution for th</a:t>
            </a:r>
            <a:r>
              <a:rPr lang="en-US" b="1">
                <a:solidFill>
                  <a:schemeClr val="tx2">
                    <a:lumMod val="50000"/>
                  </a:schemeClr>
                </a:solidFill>
              </a:rPr>
              <a:t>e</a:t>
            </a:r>
            <a:br>
              <a:rPr lang="en-US" b="1">
                <a:solidFill>
                  <a:schemeClr val="tx2">
                    <a:lumMod val="50000"/>
                  </a:schemeClr>
                </a:solidFill>
              </a:rPr>
            </a:br>
            <a:r>
              <a:rPr lang="en-US" b="1">
                <a:solidFill>
                  <a:schemeClr val="tx2">
                    <a:lumMod val="50000"/>
                  </a:schemeClr>
                </a:solidFill>
              </a:rPr>
              <a:t>Car Repair Process</a:t>
            </a:r>
            <a:endParaRPr lang="en-US" sz="2400" b="1">
              <a:solidFill>
                <a:schemeClr val="tx2">
                  <a:lumMod val="50000"/>
                </a:schemeClr>
              </a:solidFill>
            </a:endParaRPr>
          </a:p>
        </p:txBody>
      </p:sp>
      <p:sp>
        <p:nvSpPr>
          <p:cNvPr id="55" name="TextBox 54">
            <a:extLst>
              <a:ext uri="{FF2B5EF4-FFF2-40B4-BE49-F238E27FC236}">
                <a16:creationId xmlns:a16="http://schemas.microsoft.com/office/drawing/2014/main" id="{2092D812-9423-5730-278E-89B731B643D6}"/>
              </a:ext>
            </a:extLst>
          </p:cNvPr>
          <p:cNvSpPr txBox="1"/>
          <p:nvPr/>
        </p:nvSpPr>
        <p:spPr>
          <a:xfrm>
            <a:off x="2163658" y="9501856"/>
            <a:ext cx="3788671" cy="5613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R="57150" algn="l" defTabSz="1282700" rtl="0" fontAlgn="auto" latinLnBrk="0" hangingPunct="0">
              <a:lnSpc>
                <a:spcPct val="140000"/>
              </a:lnSpc>
              <a:spcBef>
                <a:spcPts val="0"/>
              </a:spcBef>
              <a:spcAft>
                <a:spcPts val="0"/>
              </a:spcAft>
              <a:buClrTx/>
              <a:buSzTx/>
              <a:tabLst/>
            </a:pPr>
            <a:r>
              <a:rPr lang="en-US" sz="2400" b="1">
                <a:solidFill>
                  <a:srgbClr val="0E176D"/>
                </a:solidFill>
              </a:rPr>
              <a:t>Team Roles </a:t>
            </a:r>
            <a:r>
              <a:rPr lang="en-US" sz="2400">
                <a:solidFill>
                  <a:srgbClr val="0E176D"/>
                </a:solidFill>
              </a:rPr>
              <a:t>(8 people)</a:t>
            </a:r>
          </a:p>
        </p:txBody>
      </p:sp>
      <p:grpSp>
        <p:nvGrpSpPr>
          <p:cNvPr id="102" name="Group 101">
            <a:extLst>
              <a:ext uri="{FF2B5EF4-FFF2-40B4-BE49-F238E27FC236}">
                <a16:creationId xmlns:a16="http://schemas.microsoft.com/office/drawing/2014/main" id="{0BE25684-7B92-DA47-18A0-FBABA7438C00}"/>
              </a:ext>
            </a:extLst>
          </p:cNvPr>
          <p:cNvGrpSpPr/>
          <p:nvPr/>
        </p:nvGrpSpPr>
        <p:grpSpPr>
          <a:xfrm>
            <a:off x="1376931" y="10273995"/>
            <a:ext cx="2293643" cy="943380"/>
            <a:chOff x="1441932" y="10313889"/>
            <a:chExt cx="2293643" cy="943380"/>
          </a:xfrm>
        </p:grpSpPr>
        <p:grpSp>
          <p:nvGrpSpPr>
            <p:cNvPr id="11" name="Graphic 2">
              <a:extLst>
                <a:ext uri="{FF2B5EF4-FFF2-40B4-BE49-F238E27FC236}">
                  <a16:creationId xmlns:a16="http://schemas.microsoft.com/office/drawing/2014/main" id="{4E7EF3D0-3B8E-9523-2FB8-39A11CA255DE}"/>
                </a:ext>
              </a:extLst>
            </p:cNvPr>
            <p:cNvGrpSpPr>
              <a:grpSpLocks noChangeAspect="1"/>
            </p:cNvGrpSpPr>
            <p:nvPr/>
          </p:nvGrpSpPr>
          <p:grpSpPr>
            <a:xfrm>
              <a:off x="2319685" y="10313889"/>
              <a:ext cx="424773" cy="540000"/>
              <a:chOff x="5910729" y="3152577"/>
              <a:chExt cx="358962" cy="456335"/>
            </a:xfrm>
            <a:solidFill>
              <a:srgbClr val="0E176D"/>
            </a:solidFill>
          </p:grpSpPr>
          <p:sp>
            <p:nvSpPr>
              <p:cNvPr id="12" name="Freeform: Shape 11">
                <a:extLst>
                  <a:ext uri="{FF2B5EF4-FFF2-40B4-BE49-F238E27FC236}">
                    <a16:creationId xmlns:a16="http://schemas.microsoft.com/office/drawing/2014/main" id="{D1F09CF7-FEFC-AFD3-6C67-66002EDAE19C}"/>
                  </a:ext>
                </a:extLst>
              </p:cNvPr>
              <p:cNvSpPr/>
              <p:nvPr/>
            </p:nvSpPr>
            <p:spPr>
              <a:xfrm>
                <a:off x="6062601" y="3400483"/>
                <a:ext cx="57897" cy="208429"/>
              </a:xfrm>
              <a:custGeom>
                <a:avLst/>
                <a:gdLst>
                  <a:gd name="connsiteX0" fmla="*/ 58411 w 57897"/>
                  <a:gd name="connsiteY0" fmla="*/ 18 h 208429"/>
                  <a:gd name="connsiteX1" fmla="*/ 5725 w 57897"/>
                  <a:gd name="connsiteY1" fmla="*/ 18 h 208429"/>
                  <a:gd name="connsiteX2" fmla="*/ 514 w 57897"/>
                  <a:gd name="connsiteY2" fmla="*/ 3376 h 208429"/>
                  <a:gd name="connsiteX3" fmla="*/ 1325 w 57897"/>
                  <a:gd name="connsiteY3" fmla="*/ 9513 h 208429"/>
                  <a:gd name="connsiteX4" fmla="*/ 26220 w 57897"/>
                  <a:gd name="connsiteY4" fmla="*/ 38346 h 208429"/>
                  <a:gd name="connsiteX5" fmla="*/ 2367 w 57897"/>
                  <a:gd name="connsiteY5" fmla="*/ 179499 h 208429"/>
                  <a:gd name="connsiteX6" fmla="*/ 3640 w 57897"/>
                  <a:gd name="connsiteY6" fmla="*/ 184131 h 208429"/>
                  <a:gd name="connsiteX7" fmla="*/ 28073 w 57897"/>
                  <a:gd name="connsiteY7" fmla="*/ 213195 h 208429"/>
                  <a:gd name="connsiteX8" fmla="*/ 32473 w 57897"/>
                  <a:gd name="connsiteY8" fmla="*/ 215279 h 208429"/>
                  <a:gd name="connsiteX9" fmla="*/ 32473 w 57897"/>
                  <a:gd name="connsiteY9" fmla="*/ 215279 h 208429"/>
                  <a:gd name="connsiteX10" fmla="*/ 36989 w 57897"/>
                  <a:gd name="connsiteY10" fmla="*/ 213079 h 208429"/>
                  <a:gd name="connsiteX11" fmla="*/ 60959 w 57897"/>
                  <a:gd name="connsiteY11" fmla="*/ 183552 h 208429"/>
                  <a:gd name="connsiteX12" fmla="*/ 62116 w 57897"/>
                  <a:gd name="connsiteY12" fmla="*/ 178920 h 208429"/>
                  <a:gd name="connsiteX13" fmla="*/ 38958 w 57897"/>
                  <a:gd name="connsiteY13" fmla="*/ 37535 h 208429"/>
                  <a:gd name="connsiteX14" fmla="*/ 63159 w 57897"/>
                  <a:gd name="connsiteY14" fmla="*/ 9513 h 208429"/>
                  <a:gd name="connsiteX15" fmla="*/ 63969 w 57897"/>
                  <a:gd name="connsiteY15" fmla="*/ 3376 h 208429"/>
                  <a:gd name="connsiteX16" fmla="*/ 58411 w 57897"/>
                  <a:gd name="connsiteY16" fmla="*/ 18 h 208429"/>
                  <a:gd name="connsiteX17" fmla="*/ 32357 w 57897"/>
                  <a:gd name="connsiteY17" fmla="*/ 200342 h 208429"/>
                  <a:gd name="connsiteX18" fmla="*/ 14294 w 57897"/>
                  <a:gd name="connsiteY18" fmla="*/ 178804 h 208429"/>
                  <a:gd name="connsiteX19" fmla="*/ 32473 w 57897"/>
                  <a:gd name="connsiteY19" fmla="*/ 71231 h 208429"/>
                  <a:gd name="connsiteX20" fmla="*/ 50305 w 57897"/>
                  <a:gd name="connsiteY20" fmla="*/ 178225 h 208429"/>
                  <a:gd name="connsiteX21" fmla="*/ 32357 w 57897"/>
                  <a:gd name="connsiteY21" fmla="*/ 27346 h 208429"/>
                  <a:gd name="connsiteX22" fmla="*/ 18694 w 57897"/>
                  <a:gd name="connsiteY22" fmla="*/ 11598 h 208429"/>
                  <a:gd name="connsiteX23" fmla="*/ 46021 w 57897"/>
                  <a:gd name="connsiteY23" fmla="*/ 11598 h 20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97" h="208429">
                    <a:moveTo>
                      <a:pt x="58411" y="18"/>
                    </a:moveTo>
                    <a:lnTo>
                      <a:pt x="5725" y="18"/>
                    </a:lnTo>
                    <a:cubicBezTo>
                      <a:pt x="3476" y="5"/>
                      <a:pt x="1432" y="1323"/>
                      <a:pt x="514" y="3376"/>
                    </a:cubicBezTo>
                    <a:cubicBezTo>
                      <a:pt x="-395" y="5411"/>
                      <a:pt x="-82" y="7784"/>
                      <a:pt x="1325" y="9513"/>
                    </a:cubicBezTo>
                    <a:lnTo>
                      <a:pt x="26220" y="38346"/>
                    </a:lnTo>
                    <a:lnTo>
                      <a:pt x="2367" y="179499"/>
                    </a:lnTo>
                    <a:cubicBezTo>
                      <a:pt x="2131" y="181152"/>
                      <a:pt x="2591" y="182830"/>
                      <a:pt x="3640" y="184131"/>
                    </a:cubicBezTo>
                    <a:lnTo>
                      <a:pt x="28073" y="213195"/>
                    </a:lnTo>
                    <a:cubicBezTo>
                      <a:pt x="29152" y="214516"/>
                      <a:pt x="30768" y="215281"/>
                      <a:pt x="32473" y="215279"/>
                    </a:cubicBezTo>
                    <a:lnTo>
                      <a:pt x="32473" y="215279"/>
                    </a:lnTo>
                    <a:cubicBezTo>
                      <a:pt x="34231" y="215255"/>
                      <a:pt x="35887" y="214448"/>
                      <a:pt x="36989" y="213079"/>
                    </a:cubicBezTo>
                    <a:lnTo>
                      <a:pt x="60959" y="183552"/>
                    </a:lnTo>
                    <a:cubicBezTo>
                      <a:pt x="62022" y="182260"/>
                      <a:pt x="62446" y="180559"/>
                      <a:pt x="62116" y="178920"/>
                    </a:cubicBezTo>
                    <a:lnTo>
                      <a:pt x="38958" y="37535"/>
                    </a:lnTo>
                    <a:lnTo>
                      <a:pt x="63159" y="9513"/>
                    </a:lnTo>
                    <a:cubicBezTo>
                      <a:pt x="64679" y="7835"/>
                      <a:pt x="65002" y="5391"/>
                      <a:pt x="63969" y="3376"/>
                    </a:cubicBezTo>
                    <a:cubicBezTo>
                      <a:pt x="63031" y="1178"/>
                      <a:pt x="60793" y="-174"/>
                      <a:pt x="58411" y="18"/>
                    </a:cubicBezTo>
                    <a:close/>
                    <a:moveTo>
                      <a:pt x="32357" y="200342"/>
                    </a:moveTo>
                    <a:lnTo>
                      <a:pt x="14294" y="178804"/>
                    </a:lnTo>
                    <a:lnTo>
                      <a:pt x="32473" y="71231"/>
                    </a:lnTo>
                    <a:lnTo>
                      <a:pt x="50305" y="178225"/>
                    </a:lnTo>
                    <a:close/>
                    <a:moveTo>
                      <a:pt x="32357" y="27346"/>
                    </a:moveTo>
                    <a:lnTo>
                      <a:pt x="18694" y="11598"/>
                    </a:lnTo>
                    <a:lnTo>
                      <a:pt x="46021" y="11598"/>
                    </a:lnTo>
                    <a:close/>
                  </a:path>
                </a:pathLst>
              </a:custGeom>
              <a:grpFill/>
              <a:ln w="11311" cap="flat">
                <a:solidFill>
                  <a:srgbClr val="416CF9"/>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4172CBD4-2733-A77B-AF3F-2426FECB43C1}"/>
                  </a:ext>
                </a:extLst>
              </p:cNvPr>
              <p:cNvSpPr/>
              <p:nvPr/>
            </p:nvSpPr>
            <p:spPr>
              <a:xfrm>
                <a:off x="5910729" y="3152577"/>
                <a:ext cx="358962" cy="393700"/>
              </a:xfrm>
              <a:custGeom>
                <a:avLst/>
                <a:gdLst>
                  <a:gd name="connsiteX0" fmla="*/ 368110 w 358961"/>
                  <a:gd name="connsiteY0" fmla="*/ 340327 h 393699"/>
                  <a:gd name="connsiteX1" fmla="*/ 368110 w 358961"/>
                  <a:gd name="connsiteY1" fmla="*/ 338590 h 393699"/>
                  <a:gd name="connsiteX2" fmla="*/ 272927 w 358961"/>
                  <a:gd name="connsiteY2" fmla="*/ 241671 h 393699"/>
                  <a:gd name="connsiteX3" fmla="*/ 231585 w 358961"/>
                  <a:gd name="connsiteY3" fmla="*/ 198277 h 393699"/>
                  <a:gd name="connsiteX4" fmla="*/ 231589 w 358961"/>
                  <a:gd name="connsiteY4" fmla="*/ 198132 h 393699"/>
                  <a:gd name="connsiteX5" fmla="*/ 232284 w 358961"/>
                  <a:gd name="connsiteY5" fmla="*/ 190374 h 393699"/>
                  <a:gd name="connsiteX6" fmla="*/ 241431 w 358961"/>
                  <a:gd name="connsiteY6" fmla="*/ 182037 h 393699"/>
                  <a:gd name="connsiteX7" fmla="*/ 267138 w 358961"/>
                  <a:gd name="connsiteY7" fmla="*/ 111750 h 393699"/>
                  <a:gd name="connsiteX8" fmla="*/ 268296 w 358961"/>
                  <a:gd name="connsiteY8" fmla="*/ 104223 h 393699"/>
                  <a:gd name="connsiteX9" fmla="*/ 268296 w 358961"/>
                  <a:gd name="connsiteY9" fmla="*/ 58600 h 393699"/>
                  <a:gd name="connsiteX10" fmla="*/ 183650 w 358961"/>
                  <a:gd name="connsiteY10" fmla="*/ 9 h 393699"/>
                  <a:gd name="connsiteX11" fmla="*/ 99931 w 358961"/>
                  <a:gd name="connsiteY11" fmla="*/ 58948 h 393699"/>
                  <a:gd name="connsiteX12" fmla="*/ 99931 w 358961"/>
                  <a:gd name="connsiteY12" fmla="*/ 104223 h 393699"/>
                  <a:gd name="connsiteX13" fmla="*/ 99931 w 358961"/>
                  <a:gd name="connsiteY13" fmla="*/ 107581 h 393699"/>
                  <a:gd name="connsiteX14" fmla="*/ 127374 w 358961"/>
                  <a:gd name="connsiteY14" fmla="*/ 180879 h 393699"/>
                  <a:gd name="connsiteX15" fmla="*/ 134669 w 358961"/>
                  <a:gd name="connsiteY15" fmla="*/ 187826 h 393699"/>
                  <a:gd name="connsiteX16" fmla="*/ 135827 w 358961"/>
                  <a:gd name="connsiteY16" fmla="*/ 197785 h 393699"/>
                  <a:gd name="connsiteX17" fmla="*/ 94604 w 358961"/>
                  <a:gd name="connsiteY17" fmla="*/ 241323 h 393699"/>
                  <a:gd name="connsiteX18" fmla="*/ 1 w 358961"/>
                  <a:gd name="connsiteY18" fmla="*/ 338590 h 393699"/>
                  <a:gd name="connsiteX19" fmla="*/ 1 w 358961"/>
                  <a:gd name="connsiteY19" fmla="*/ 345885 h 393699"/>
                  <a:gd name="connsiteX20" fmla="*/ 1 w 358961"/>
                  <a:gd name="connsiteY20" fmla="*/ 388034 h 393699"/>
                  <a:gd name="connsiteX21" fmla="*/ 5790 w 358961"/>
                  <a:gd name="connsiteY21" fmla="*/ 393708 h 393699"/>
                  <a:gd name="connsiteX22" fmla="*/ 5790 w 358961"/>
                  <a:gd name="connsiteY22" fmla="*/ 393708 h 393699"/>
                  <a:gd name="connsiteX23" fmla="*/ 11581 w 358961"/>
                  <a:gd name="connsiteY23" fmla="*/ 387920 h 393699"/>
                  <a:gd name="connsiteX24" fmla="*/ 11580 w 358961"/>
                  <a:gd name="connsiteY24" fmla="*/ 387803 h 393699"/>
                  <a:gd name="connsiteX25" fmla="*/ 11580 w 358961"/>
                  <a:gd name="connsiteY25" fmla="*/ 345885 h 393699"/>
                  <a:gd name="connsiteX26" fmla="*/ 11580 w 358961"/>
                  <a:gd name="connsiteY26" fmla="*/ 338822 h 393699"/>
                  <a:gd name="connsiteX27" fmla="*/ 95183 w 358961"/>
                  <a:gd name="connsiteY27" fmla="*/ 253250 h 393699"/>
                  <a:gd name="connsiteX28" fmla="*/ 147986 w 358961"/>
                  <a:gd name="connsiteY28" fmla="*/ 198132 h 393699"/>
                  <a:gd name="connsiteX29" fmla="*/ 147986 w 358961"/>
                  <a:gd name="connsiteY29" fmla="*/ 196164 h 393699"/>
                  <a:gd name="connsiteX30" fmla="*/ 185040 w 358961"/>
                  <a:gd name="connsiteY30" fmla="*/ 204964 h 393699"/>
                  <a:gd name="connsiteX31" fmla="*/ 186082 w 358961"/>
                  <a:gd name="connsiteY31" fmla="*/ 204964 h 393699"/>
                  <a:gd name="connsiteX32" fmla="*/ 220820 w 358961"/>
                  <a:gd name="connsiteY32" fmla="*/ 197553 h 393699"/>
                  <a:gd name="connsiteX33" fmla="*/ 220820 w 358961"/>
                  <a:gd name="connsiteY33" fmla="*/ 198132 h 393699"/>
                  <a:gd name="connsiteX34" fmla="*/ 273506 w 358961"/>
                  <a:gd name="connsiteY34" fmla="*/ 253250 h 393699"/>
                  <a:gd name="connsiteX35" fmla="*/ 357110 w 358961"/>
                  <a:gd name="connsiteY35" fmla="*/ 338822 h 393699"/>
                  <a:gd name="connsiteX36" fmla="*/ 357110 w 358961"/>
                  <a:gd name="connsiteY36" fmla="*/ 341369 h 393699"/>
                  <a:gd name="connsiteX37" fmla="*/ 357110 w 358961"/>
                  <a:gd name="connsiteY37" fmla="*/ 387687 h 393699"/>
                  <a:gd name="connsiteX38" fmla="*/ 362899 w 358961"/>
                  <a:gd name="connsiteY38" fmla="*/ 393477 h 393699"/>
                  <a:gd name="connsiteX39" fmla="*/ 362899 w 358961"/>
                  <a:gd name="connsiteY39" fmla="*/ 393477 h 393699"/>
                  <a:gd name="connsiteX40" fmla="*/ 368689 w 358961"/>
                  <a:gd name="connsiteY40" fmla="*/ 387687 h 393699"/>
                  <a:gd name="connsiteX41" fmla="*/ 368110 w 358961"/>
                  <a:gd name="connsiteY41" fmla="*/ 340327 h 393699"/>
                  <a:gd name="connsiteX42" fmla="*/ 185271 w 358961"/>
                  <a:gd name="connsiteY42" fmla="*/ 193385 h 393699"/>
                  <a:gd name="connsiteX43" fmla="*/ 185271 w 358961"/>
                  <a:gd name="connsiteY43" fmla="*/ 193385 h 393699"/>
                  <a:gd name="connsiteX44" fmla="*/ 136754 w 358961"/>
                  <a:gd name="connsiteY44" fmla="*/ 173700 h 393699"/>
                  <a:gd name="connsiteX45" fmla="*/ 111974 w 358961"/>
                  <a:gd name="connsiteY45" fmla="*/ 105960 h 393699"/>
                  <a:gd name="connsiteX46" fmla="*/ 111395 w 358961"/>
                  <a:gd name="connsiteY46" fmla="*/ 102602 h 393699"/>
                  <a:gd name="connsiteX47" fmla="*/ 111395 w 358961"/>
                  <a:gd name="connsiteY47" fmla="*/ 61264 h 393699"/>
                  <a:gd name="connsiteX48" fmla="*/ 183882 w 358961"/>
                  <a:gd name="connsiteY48" fmla="*/ 11588 h 393699"/>
                  <a:gd name="connsiteX49" fmla="*/ 257064 w 358961"/>
                  <a:gd name="connsiteY49" fmla="*/ 61264 h 393699"/>
                  <a:gd name="connsiteX50" fmla="*/ 257064 w 358961"/>
                  <a:gd name="connsiteY50" fmla="*/ 102602 h 393699"/>
                  <a:gd name="connsiteX51" fmla="*/ 255906 w 358961"/>
                  <a:gd name="connsiteY51" fmla="*/ 110013 h 393699"/>
                  <a:gd name="connsiteX52" fmla="*/ 232747 w 358961"/>
                  <a:gd name="connsiteY52" fmla="*/ 174510 h 393699"/>
                  <a:gd name="connsiteX53" fmla="*/ 185271 w 358961"/>
                  <a:gd name="connsiteY53" fmla="*/ 193385 h 39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58961" h="393699">
                    <a:moveTo>
                      <a:pt x="368110" y="340327"/>
                    </a:moveTo>
                    <a:lnTo>
                      <a:pt x="368110" y="338590"/>
                    </a:lnTo>
                    <a:cubicBezTo>
                      <a:pt x="368181" y="285708"/>
                      <a:pt x="325801" y="242557"/>
                      <a:pt x="272927" y="241671"/>
                    </a:cubicBezTo>
                    <a:cubicBezTo>
                      <a:pt x="249528" y="241104"/>
                      <a:pt x="231018" y="221675"/>
                      <a:pt x="231585" y="198277"/>
                    </a:cubicBezTo>
                    <a:cubicBezTo>
                      <a:pt x="231587" y="198228"/>
                      <a:pt x="231588" y="198181"/>
                      <a:pt x="231589" y="198132"/>
                    </a:cubicBezTo>
                    <a:cubicBezTo>
                      <a:pt x="231590" y="195530"/>
                      <a:pt x="231823" y="192934"/>
                      <a:pt x="232284" y="190374"/>
                    </a:cubicBezTo>
                    <a:cubicBezTo>
                      <a:pt x="235631" y="187940"/>
                      <a:pt x="238699" y="185145"/>
                      <a:pt x="241431" y="182037"/>
                    </a:cubicBezTo>
                    <a:cubicBezTo>
                      <a:pt x="259495" y="161078"/>
                      <a:pt x="263895" y="132593"/>
                      <a:pt x="267138" y="111750"/>
                    </a:cubicBezTo>
                    <a:lnTo>
                      <a:pt x="268296" y="104223"/>
                    </a:lnTo>
                    <a:cubicBezTo>
                      <a:pt x="270893" y="89126"/>
                      <a:pt x="270893" y="73697"/>
                      <a:pt x="268296" y="58600"/>
                    </a:cubicBezTo>
                    <a:cubicBezTo>
                      <a:pt x="255442" y="-2076"/>
                      <a:pt x="183998" y="9"/>
                      <a:pt x="183650" y="9"/>
                    </a:cubicBezTo>
                    <a:cubicBezTo>
                      <a:pt x="183303" y="9"/>
                      <a:pt x="112321" y="-1613"/>
                      <a:pt x="99931" y="58948"/>
                    </a:cubicBezTo>
                    <a:cubicBezTo>
                      <a:pt x="97509" y="73942"/>
                      <a:pt x="97509" y="89229"/>
                      <a:pt x="99931" y="104223"/>
                    </a:cubicBezTo>
                    <a:lnTo>
                      <a:pt x="99931" y="107581"/>
                    </a:lnTo>
                    <a:cubicBezTo>
                      <a:pt x="103405" y="129119"/>
                      <a:pt x="108268" y="158646"/>
                      <a:pt x="127374" y="180879"/>
                    </a:cubicBezTo>
                    <a:cubicBezTo>
                      <a:pt x="129632" y="183371"/>
                      <a:pt x="132070" y="185692"/>
                      <a:pt x="134669" y="187826"/>
                    </a:cubicBezTo>
                    <a:cubicBezTo>
                      <a:pt x="135403" y="191097"/>
                      <a:pt x="135792" y="194434"/>
                      <a:pt x="135827" y="197785"/>
                    </a:cubicBezTo>
                    <a:cubicBezTo>
                      <a:pt x="136411" y="221169"/>
                      <a:pt x="117987" y="240630"/>
                      <a:pt x="94604" y="241323"/>
                    </a:cubicBezTo>
                    <a:cubicBezTo>
                      <a:pt x="41848" y="242584"/>
                      <a:pt x="-203" y="285819"/>
                      <a:pt x="1" y="338590"/>
                    </a:cubicBezTo>
                    <a:lnTo>
                      <a:pt x="1" y="345885"/>
                    </a:lnTo>
                    <a:cubicBezTo>
                      <a:pt x="1" y="358970"/>
                      <a:pt x="1" y="374602"/>
                      <a:pt x="1" y="388034"/>
                    </a:cubicBezTo>
                    <a:cubicBezTo>
                      <a:pt x="123" y="391161"/>
                      <a:pt x="2662" y="393649"/>
                      <a:pt x="5790" y="393708"/>
                    </a:cubicBezTo>
                    <a:lnTo>
                      <a:pt x="5790" y="393708"/>
                    </a:lnTo>
                    <a:cubicBezTo>
                      <a:pt x="8988" y="393709"/>
                      <a:pt x="11581" y="391117"/>
                      <a:pt x="11581" y="387920"/>
                    </a:cubicBezTo>
                    <a:cubicBezTo>
                      <a:pt x="11581" y="387880"/>
                      <a:pt x="11581" y="387842"/>
                      <a:pt x="11580" y="387803"/>
                    </a:cubicBezTo>
                    <a:cubicBezTo>
                      <a:pt x="11580" y="374486"/>
                      <a:pt x="11580" y="358970"/>
                      <a:pt x="11580" y="345885"/>
                    </a:cubicBezTo>
                    <a:lnTo>
                      <a:pt x="11580" y="338822"/>
                    </a:lnTo>
                    <a:cubicBezTo>
                      <a:pt x="11444" y="292270"/>
                      <a:pt x="48641" y="254197"/>
                      <a:pt x="95183" y="253250"/>
                    </a:cubicBezTo>
                    <a:cubicBezTo>
                      <a:pt x="124960" y="252554"/>
                      <a:pt x="148568" y="227911"/>
                      <a:pt x="147986" y="198132"/>
                    </a:cubicBezTo>
                    <a:cubicBezTo>
                      <a:pt x="147986" y="197553"/>
                      <a:pt x="147986" y="196858"/>
                      <a:pt x="147986" y="196164"/>
                    </a:cubicBezTo>
                    <a:cubicBezTo>
                      <a:pt x="159571" y="201697"/>
                      <a:pt x="172203" y="204698"/>
                      <a:pt x="185040" y="204964"/>
                    </a:cubicBezTo>
                    <a:lnTo>
                      <a:pt x="186082" y="204964"/>
                    </a:lnTo>
                    <a:cubicBezTo>
                      <a:pt x="198044" y="204884"/>
                      <a:pt x="209866" y="202362"/>
                      <a:pt x="220820" y="197553"/>
                    </a:cubicBezTo>
                    <a:lnTo>
                      <a:pt x="220820" y="198132"/>
                    </a:lnTo>
                    <a:cubicBezTo>
                      <a:pt x="220238" y="227867"/>
                      <a:pt x="243775" y="252492"/>
                      <a:pt x="273506" y="253250"/>
                    </a:cubicBezTo>
                    <a:cubicBezTo>
                      <a:pt x="320075" y="254136"/>
                      <a:pt x="357308" y="292245"/>
                      <a:pt x="357110" y="338822"/>
                    </a:cubicBezTo>
                    <a:lnTo>
                      <a:pt x="357110" y="341369"/>
                    </a:lnTo>
                    <a:cubicBezTo>
                      <a:pt x="357110" y="357696"/>
                      <a:pt x="357110" y="374023"/>
                      <a:pt x="357110" y="387687"/>
                    </a:cubicBezTo>
                    <a:cubicBezTo>
                      <a:pt x="357110" y="390884"/>
                      <a:pt x="359702" y="393477"/>
                      <a:pt x="362899" y="393477"/>
                    </a:cubicBezTo>
                    <a:lnTo>
                      <a:pt x="362899" y="393477"/>
                    </a:lnTo>
                    <a:cubicBezTo>
                      <a:pt x="366096" y="393477"/>
                      <a:pt x="368689" y="390884"/>
                      <a:pt x="368689" y="387687"/>
                    </a:cubicBezTo>
                    <a:cubicBezTo>
                      <a:pt x="368342" y="374023"/>
                      <a:pt x="368342" y="357580"/>
                      <a:pt x="368110" y="340327"/>
                    </a:cubicBezTo>
                    <a:close/>
                    <a:moveTo>
                      <a:pt x="185271" y="193385"/>
                    </a:moveTo>
                    <a:lnTo>
                      <a:pt x="185271" y="193385"/>
                    </a:lnTo>
                    <a:cubicBezTo>
                      <a:pt x="167165" y="193328"/>
                      <a:pt x="149780" y="186275"/>
                      <a:pt x="136754" y="173700"/>
                    </a:cubicBezTo>
                    <a:cubicBezTo>
                      <a:pt x="119732" y="153899"/>
                      <a:pt x="115795" y="126224"/>
                      <a:pt x="111974" y="105960"/>
                    </a:cubicBezTo>
                    <a:lnTo>
                      <a:pt x="111395" y="102602"/>
                    </a:lnTo>
                    <a:cubicBezTo>
                      <a:pt x="109222" y="88908"/>
                      <a:pt x="109222" y="74957"/>
                      <a:pt x="111395" y="61264"/>
                    </a:cubicBezTo>
                    <a:cubicBezTo>
                      <a:pt x="121816" y="10314"/>
                      <a:pt x="180871" y="11472"/>
                      <a:pt x="183882" y="11588"/>
                    </a:cubicBezTo>
                    <a:cubicBezTo>
                      <a:pt x="186892" y="11704"/>
                      <a:pt x="246295" y="9967"/>
                      <a:pt x="257064" y="61264"/>
                    </a:cubicBezTo>
                    <a:cubicBezTo>
                      <a:pt x="259274" y="74955"/>
                      <a:pt x="259274" y="88911"/>
                      <a:pt x="257064" y="102602"/>
                    </a:cubicBezTo>
                    <a:lnTo>
                      <a:pt x="255906" y="110013"/>
                    </a:lnTo>
                    <a:cubicBezTo>
                      <a:pt x="252663" y="130508"/>
                      <a:pt x="248726" y="156331"/>
                      <a:pt x="232747" y="174510"/>
                    </a:cubicBezTo>
                    <a:cubicBezTo>
                      <a:pt x="220062" y="186864"/>
                      <a:pt x="202976" y="193657"/>
                      <a:pt x="185271" y="193385"/>
                    </a:cubicBezTo>
                    <a:close/>
                  </a:path>
                </a:pathLst>
              </a:custGeom>
              <a:grpFill/>
              <a:ln w="11311" cap="flat">
                <a:solidFill>
                  <a:srgbClr val="416CF9"/>
                </a:solidFill>
                <a:prstDash val="solid"/>
                <a:miter/>
              </a:ln>
            </p:spPr>
            <p:txBody>
              <a:bodyPr rtlCol="0" anchor="ctr"/>
              <a:lstStyle/>
              <a:p>
                <a:endParaRPr lang="en-US"/>
              </a:p>
            </p:txBody>
          </p:sp>
        </p:grpSp>
        <p:sp>
          <p:nvSpPr>
            <p:cNvPr id="82" name="TextBox 81">
              <a:extLst>
                <a:ext uri="{FF2B5EF4-FFF2-40B4-BE49-F238E27FC236}">
                  <a16:creationId xmlns:a16="http://schemas.microsoft.com/office/drawing/2014/main" id="{413A6FFE-408B-3A9F-311E-CD7187DF45F5}"/>
                </a:ext>
              </a:extLst>
            </p:cNvPr>
            <p:cNvSpPr txBox="1"/>
            <p:nvPr/>
          </p:nvSpPr>
          <p:spPr>
            <a:xfrm>
              <a:off x="1441932" y="10853889"/>
              <a:ext cx="2293643" cy="4033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R="57150" algn="ctr" defTabSz="1282700" rtl="0" fontAlgn="auto" latinLnBrk="0" hangingPunct="0">
                <a:lnSpc>
                  <a:spcPct val="140000"/>
                </a:lnSpc>
                <a:spcBef>
                  <a:spcPts val="0"/>
                </a:spcBef>
                <a:spcAft>
                  <a:spcPts val="0"/>
                </a:spcAft>
                <a:buClrTx/>
                <a:buSzTx/>
                <a:tabLst/>
              </a:pPr>
              <a:r>
                <a:rPr kumimoji="0" lang="de-DE" sz="16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rPr>
                <a:t>Project </a:t>
              </a:r>
              <a:r>
                <a:rPr kumimoji="0" lang="de-DE" sz="1600" b="0" i="0" u="none" strike="noStrike" cap="none" spc="0" normalizeH="0" baseline="0" err="1">
                  <a:ln>
                    <a:noFill/>
                  </a:ln>
                  <a:solidFill>
                    <a:schemeClr val="accent1">
                      <a:lumOff val="-57413"/>
                    </a:schemeClr>
                  </a:solidFill>
                  <a:effectLst/>
                  <a:uFill>
                    <a:solidFill>
                      <a:schemeClr val="accent1">
                        <a:lumOff val="-57413"/>
                      </a:schemeClr>
                    </a:solidFill>
                  </a:uFill>
                  <a:latin typeface="+mn-lt"/>
                  <a:ea typeface="+mn-ea"/>
                  <a:cs typeface="+mn-cs"/>
                  <a:sym typeface="BentonSansF Book"/>
                </a:rPr>
                <a:t>manager</a:t>
              </a:r>
              <a:r>
                <a:rPr kumimoji="0" lang="de-DE" sz="16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rPr>
                <a:t> </a:t>
              </a:r>
              <a:r>
                <a:rPr lang="de-DE" sz="1600"/>
                <a:t>(1) </a:t>
              </a:r>
              <a:endParaRPr kumimoji="0" lang="de-DE" sz="16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grpSp>
      <p:grpSp>
        <p:nvGrpSpPr>
          <p:cNvPr id="54" name="Graphic 2">
            <a:extLst>
              <a:ext uri="{FF2B5EF4-FFF2-40B4-BE49-F238E27FC236}">
                <a16:creationId xmlns:a16="http://schemas.microsoft.com/office/drawing/2014/main" id="{C3B8B188-D181-09F6-F4FC-8AA8EE0F8630}"/>
              </a:ext>
            </a:extLst>
          </p:cNvPr>
          <p:cNvGrpSpPr>
            <a:grpSpLocks noChangeAspect="1"/>
          </p:cNvGrpSpPr>
          <p:nvPr/>
        </p:nvGrpSpPr>
        <p:grpSpPr>
          <a:xfrm>
            <a:off x="4494161" y="10298098"/>
            <a:ext cx="507273" cy="540000"/>
            <a:chOff x="5878448" y="3152586"/>
            <a:chExt cx="435105" cy="463176"/>
          </a:xfrm>
          <a:solidFill>
            <a:srgbClr val="0E176D"/>
          </a:solidFill>
        </p:grpSpPr>
        <p:sp>
          <p:nvSpPr>
            <p:cNvPr id="56" name="Freeform: Shape 55">
              <a:extLst>
                <a:ext uri="{FF2B5EF4-FFF2-40B4-BE49-F238E27FC236}">
                  <a16:creationId xmlns:a16="http://schemas.microsoft.com/office/drawing/2014/main" id="{BE1DDE74-0BA1-52F9-F7EC-161CFAFB2160}"/>
                </a:ext>
              </a:extLst>
            </p:cNvPr>
            <p:cNvSpPr/>
            <p:nvPr/>
          </p:nvSpPr>
          <p:spPr>
            <a:xfrm>
              <a:off x="5969680" y="3152586"/>
              <a:ext cx="210535" cy="210535"/>
            </a:xfrm>
            <a:custGeom>
              <a:avLst/>
              <a:gdLst>
                <a:gd name="connsiteX0" fmla="*/ 105267 w 210534"/>
                <a:gd name="connsiteY0" fmla="*/ 210535 h 210534"/>
                <a:gd name="connsiteX1" fmla="*/ 0 w 210534"/>
                <a:gd name="connsiteY1" fmla="*/ 105267 h 210534"/>
                <a:gd name="connsiteX2" fmla="*/ 105267 w 210534"/>
                <a:gd name="connsiteY2" fmla="*/ 0 h 210534"/>
                <a:gd name="connsiteX3" fmla="*/ 210535 w 210534"/>
                <a:gd name="connsiteY3" fmla="*/ 105267 h 210534"/>
                <a:gd name="connsiteX4" fmla="*/ 105267 w 210534"/>
                <a:gd name="connsiteY4" fmla="*/ 210535 h 210534"/>
                <a:gd name="connsiteX5" fmla="*/ 105267 w 210534"/>
                <a:gd name="connsiteY5" fmla="*/ 14036 h 210534"/>
                <a:gd name="connsiteX6" fmla="*/ 14036 w 210534"/>
                <a:gd name="connsiteY6" fmla="*/ 105267 h 210534"/>
                <a:gd name="connsiteX7" fmla="*/ 105267 w 210534"/>
                <a:gd name="connsiteY7" fmla="*/ 196499 h 210534"/>
                <a:gd name="connsiteX8" fmla="*/ 196499 w 210534"/>
                <a:gd name="connsiteY8" fmla="*/ 105267 h 210534"/>
                <a:gd name="connsiteX9" fmla="*/ 105267 w 210534"/>
                <a:gd name="connsiteY9" fmla="*/ 14036 h 21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534" h="210534">
                  <a:moveTo>
                    <a:pt x="105267" y="210535"/>
                  </a:moveTo>
                  <a:cubicBezTo>
                    <a:pt x="47130" y="210535"/>
                    <a:pt x="0" y="163404"/>
                    <a:pt x="0" y="105267"/>
                  </a:cubicBezTo>
                  <a:cubicBezTo>
                    <a:pt x="0" y="47130"/>
                    <a:pt x="47130" y="0"/>
                    <a:pt x="105267" y="0"/>
                  </a:cubicBezTo>
                  <a:cubicBezTo>
                    <a:pt x="163404" y="0"/>
                    <a:pt x="210535" y="47130"/>
                    <a:pt x="210535" y="105267"/>
                  </a:cubicBezTo>
                  <a:cubicBezTo>
                    <a:pt x="210535" y="163404"/>
                    <a:pt x="163404" y="210535"/>
                    <a:pt x="105267" y="210535"/>
                  </a:cubicBezTo>
                  <a:close/>
                  <a:moveTo>
                    <a:pt x="105267" y="14036"/>
                  </a:moveTo>
                  <a:cubicBezTo>
                    <a:pt x="54881" y="14036"/>
                    <a:pt x="14036" y="54881"/>
                    <a:pt x="14036" y="105267"/>
                  </a:cubicBezTo>
                  <a:cubicBezTo>
                    <a:pt x="14036" y="155654"/>
                    <a:pt x="54881" y="196499"/>
                    <a:pt x="105267" y="196499"/>
                  </a:cubicBezTo>
                  <a:cubicBezTo>
                    <a:pt x="155654" y="196499"/>
                    <a:pt x="196499" y="155654"/>
                    <a:pt x="196499" y="105267"/>
                  </a:cubicBezTo>
                  <a:cubicBezTo>
                    <a:pt x="196422" y="54913"/>
                    <a:pt x="155622" y="14113"/>
                    <a:pt x="105267" y="14036"/>
                  </a:cubicBezTo>
                  <a:close/>
                </a:path>
              </a:pathLst>
            </a:custGeom>
            <a:grpFill/>
            <a:ln w="13827" cap="flat">
              <a:solidFill>
                <a:srgbClr val="416CF9"/>
              </a:solid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E771DC0-7B91-713D-1ECD-A67F3082B1DA}"/>
                </a:ext>
              </a:extLst>
            </p:cNvPr>
            <p:cNvSpPr/>
            <p:nvPr/>
          </p:nvSpPr>
          <p:spPr>
            <a:xfrm>
              <a:off x="5878448" y="3385718"/>
              <a:ext cx="336855" cy="224570"/>
            </a:xfrm>
            <a:custGeom>
              <a:avLst/>
              <a:gdLst>
                <a:gd name="connsiteX0" fmla="*/ 259519 w 336855"/>
                <a:gd name="connsiteY0" fmla="*/ 230746 h 224570"/>
                <a:gd name="connsiteX1" fmla="*/ 43089 w 336855"/>
                <a:gd name="connsiteY1" fmla="*/ 230746 h 224570"/>
                <a:gd name="connsiteX2" fmla="*/ 0 w 336855"/>
                <a:gd name="connsiteY2" fmla="*/ 187937 h 224570"/>
                <a:gd name="connsiteX3" fmla="*/ 0 w 336855"/>
                <a:gd name="connsiteY3" fmla="*/ 126321 h 224570"/>
                <a:gd name="connsiteX4" fmla="*/ 126321 w 336855"/>
                <a:gd name="connsiteY4" fmla="*/ 0 h 224570"/>
                <a:gd name="connsiteX5" fmla="*/ 266677 w 336855"/>
                <a:gd name="connsiteY5" fmla="*/ 0 h 224570"/>
                <a:gd name="connsiteX6" fmla="*/ 348224 w 336855"/>
                <a:gd name="connsiteY6" fmla="*/ 29756 h 224570"/>
                <a:gd name="connsiteX7" fmla="*/ 349190 w 336855"/>
                <a:gd name="connsiteY7" fmla="*/ 39433 h 224570"/>
                <a:gd name="connsiteX8" fmla="*/ 349067 w 336855"/>
                <a:gd name="connsiteY8" fmla="*/ 39580 h 224570"/>
                <a:gd name="connsiteX9" fmla="*/ 339404 w 336855"/>
                <a:gd name="connsiteY9" fmla="*/ 40696 h 224570"/>
                <a:gd name="connsiteX10" fmla="*/ 339242 w 336855"/>
                <a:gd name="connsiteY10" fmla="*/ 40563 h 224570"/>
                <a:gd name="connsiteX11" fmla="*/ 266677 w 336855"/>
                <a:gd name="connsiteY11" fmla="*/ 14457 h 224570"/>
                <a:gd name="connsiteX12" fmla="*/ 126321 w 336855"/>
                <a:gd name="connsiteY12" fmla="*/ 14457 h 224570"/>
                <a:gd name="connsiteX13" fmla="*/ 14036 w 336855"/>
                <a:gd name="connsiteY13" fmla="*/ 126742 h 224570"/>
                <a:gd name="connsiteX14" fmla="*/ 14036 w 336855"/>
                <a:gd name="connsiteY14" fmla="*/ 187937 h 224570"/>
                <a:gd name="connsiteX15" fmla="*/ 43089 w 336855"/>
                <a:gd name="connsiteY15" fmla="*/ 216991 h 224570"/>
                <a:gd name="connsiteX16" fmla="*/ 259519 w 336855"/>
                <a:gd name="connsiteY16" fmla="*/ 216991 h 224570"/>
                <a:gd name="connsiteX17" fmla="*/ 266537 w 336855"/>
                <a:gd name="connsiteY17" fmla="*/ 224009 h 224570"/>
                <a:gd name="connsiteX18" fmla="*/ 259519 w 336855"/>
                <a:gd name="connsiteY18" fmla="*/ 231027 h 22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6855" h="224570">
                  <a:moveTo>
                    <a:pt x="259519" y="230746"/>
                  </a:moveTo>
                  <a:lnTo>
                    <a:pt x="43089" y="230746"/>
                  </a:lnTo>
                  <a:cubicBezTo>
                    <a:pt x="19432" y="230670"/>
                    <a:pt x="230" y="211593"/>
                    <a:pt x="0" y="187937"/>
                  </a:cubicBezTo>
                  <a:lnTo>
                    <a:pt x="0" y="126321"/>
                  </a:lnTo>
                  <a:cubicBezTo>
                    <a:pt x="0" y="56555"/>
                    <a:pt x="56556" y="0"/>
                    <a:pt x="126321" y="0"/>
                  </a:cubicBezTo>
                  <a:lnTo>
                    <a:pt x="266677" y="0"/>
                  </a:lnTo>
                  <a:cubicBezTo>
                    <a:pt x="296457" y="337"/>
                    <a:pt x="325227" y="10834"/>
                    <a:pt x="348224" y="29756"/>
                  </a:cubicBezTo>
                  <a:cubicBezTo>
                    <a:pt x="351163" y="32161"/>
                    <a:pt x="351596" y="36494"/>
                    <a:pt x="349190" y="39433"/>
                  </a:cubicBezTo>
                  <a:cubicBezTo>
                    <a:pt x="349149" y="39484"/>
                    <a:pt x="349109" y="39533"/>
                    <a:pt x="349067" y="39580"/>
                  </a:cubicBezTo>
                  <a:cubicBezTo>
                    <a:pt x="346707" y="42556"/>
                    <a:pt x="342381" y="43056"/>
                    <a:pt x="339404" y="40696"/>
                  </a:cubicBezTo>
                  <a:cubicBezTo>
                    <a:pt x="339350" y="40653"/>
                    <a:pt x="339295" y="40608"/>
                    <a:pt x="339242" y="40563"/>
                  </a:cubicBezTo>
                  <a:cubicBezTo>
                    <a:pt x="318724" y="23865"/>
                    <a:pt x="293130" y="14657"/>
                    <a:pt x="266677" y="14457"/>
                  </a:cubicBezTo>
                  <a:lnTo>
                    <a:pt x="126321" y="14457"/>
                  </a:lnTo>
                  <a:cubicBezTo>
                    <a:pt x="64307" y="14457"/>
                    <a:pt x="14036" y="64728"/>
                    <a:pt x="14036" y="126742"/>
                  </a:cubicBezTo>
                  <a:lnTo>
                    <a:pt x="14036" y="187937"/>
                  </a:lnTo>
                  <a:cubicBezTo>
                    <a:pt x="14036" y="203983"/>
                    <a:pt x="27043" y="216991"/>
                    <a:pt x="43089" y="216991"/>
                  </a:cubicBezTo>
                  <a:lnTo>
                    <a:pt x="259519" y="216991"/>
                  </a:lnTo>
                  <a:cubicBezTo>
                    <a:pt x="263394" y="216991"/>
                    <a:pt x="266537" y="220134"/>
                    <a:pt x="266537" y="224009"/>
                  </a:cubicBezTo>
                  <a:cubicBezTo>
                    <a:pt x="266537" y="227884"/>
                    <a:pt x="263394" y="231027"/>
                    <a:pt x="259519" y="231027"/>
                  </a:cubicBezTo>
                  <a:close/>
                </a:path>
              </a:pathLst>
            </a:custGeom>
            <a:grpFill/>
            <a:ln w="13827" cap="flat">
              <a:solidFill>
                <a:srgbClr val="416CF9"/>
              </a:solid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2559E689-CA2B-63DC-6766-E85D5B942BBE}"/>
                </a:ext>
              </a:extLst>
            </p:cNvPr>
            <p:cNvSpPr/>
            <p:nvPr/>
          </p:nvSpPr>
          <p:spPr>
            <a:xfrm>
              <a:off x="6136963" y="3448899"/>
              <a:ext cx="168428" cy="154392"/>
            </a:xfrm>
            <a:custGeom>
              <a:avLst/>
              <a:gdLst>
                <a:gd name="connsiteX0" fmla="*/ 133641 w 168427"/>
                <a:gd name="connsiteY0" fmla="*/ 162372 h 154392"/>
                <a:gd name="connsiteX1" fmla="*/ 129430 w 168427"/>
                <a:gd name="connsiteY1" fmla="*/ 160968 h 154392"/>
                <a:gd name="connsiteX2" fmla="*/ 84937 w 168427"/>
                <a:gd name="connsiteY2" fmla="*/ 128686 h 154392"/>
                <a:gd name="connsiteX3" fmla="*/ 41005 w 168427"/>
                <a:gd name="connsiteY3" fmla="*/ 160968 h 154392"/>
                <a:gd name="connsiteX4" fmla="*/ 32724 w 168427"/>
                <a:gd name="connsiteY4" fmla="*/ 160968 h 154392"/>
                <a:gd name="connsiteX5" fmla="*/ 30198 w 168427"/>
                <a:gd name="connsiteY5" fmla="*/ 153108 h 154392"/>
                <a:gd name="connsiteX6" fmla="*/ 47321 w 168427"/>
                <a:gd name="connsiteY6" fmla="*/ 100755 h 154392"/>
                <a:gd name="connsiteX7" fmla="*/ 2969 w 168427"/>
                <a:gd name="connsiteY7" fmla="*/ 68614 h 154392"/>
                <a:gd name="connsiteX8" fmla="*/ 302 w 168427"/>
                <a:gd name="connsiteY8" fmla="*/ 60754 h 154392"/>
                <a:gd name="connsiteX9" fmla="*/ 7039 w 168427"/>
                <a:gd name="connsiteY9" fmla="*/ 55982 h 154392"/>
                <a:gd name="connsiteX10" fmla="*/ 62059 w 168427"/>
                <a:gd name="connsiteY10" fmla="*/ 55982 h 154392"/>
                <a:gd name="connsiteX11" fmla="*/ 78340 w 168427"/>
                <a:gd name="connsiteY11" fmla="*/ 4331 h 154392"/>
                <a:gd name="connsiteX12" fmla="*/ 87977 w 168427"/>
                <a:gd name="connsiteY12" fmla="*/ 634 h 154392"/>
                <a:gd name="connsiteX13" fmla="*/ 91674 w 168427"/>
                <a:gd name="connsiteY13" fmla="*/ 4331 h 154392"/>
                <a:gd name="connsiteX14" fmla="*/ 108657 w 168427"/>
                <a:gd name="connsiteY14" fmla="*/ 56683 h 154392"/>
                <a:gd name="connsiteX15" fmla="*/ 163256 w 168427"/>
                <a:gd name="connsiteY15" fmla="*/ 56683 h 154392"/>
                <a:gd name="connsiteX16" fmla="*/ 169853 w 168427"/>
                <a:gd name="connsiteY16" fmla="*/ 61456 h 154392"/>
                <a:gd name="connsiteX17" fmla="*/ 167326 w 168427"/>
                <a:gd name="connsiteY17" fmla="*/ 69316 h 154392"/>
                <a:gd name="connsiteX18" fmla="*/ 122833 w 168427"/>
                <a:gd name="connsiteY18" fmla="*/ 101738 h 154392"/>
                <a:gd name="connsiteX19" fmla="*/ 140237 w 168427"/>
                <a:gd name="connsiteY19" fmla="*/ 152828 h 154392"/>
                <a:gd name="connsiteX20" fmla="*/ 137711 w 168427"/>
                <a:gd name="connsiteY20" fmla="*/ 160688 h 154392"/>
                <a:gd name="connsiteX21" fmla="*/ 133641 w 168427"/>
                <a:gd name="connsiteY21" fmla="*/ 162372 h 154392"/>
                <a:gd name="connsiteX22" fmla="*/ 28654 w 168427"/>
                <a:gd name="connsiteY22" fmla="*/ 70438 h 154392"/>
                <a:gd name="connsiteX23" fmla="*/ 55743 w 168427"/>
                <a:gd name="connsiteY23" fmla="*/ 90088 h 154392"/>
                <a:gd name="connsiteX24" fmla="*/ 60655 w 168427"/>
                <a:gd name="connsiteY24" fmla="*/ 105106 h 154392"/>
                <a:gd name="connsiteX25" fmla="*/ 50269 w 168427"/>
                <a:gd name="connsiteY25" fmla="*/ 136967 h 154392"/>
                <a:gd name="connsiteX26" fmla="*/ 77358 w 168427"/>
                <a:gd name="connsiteY26" fmla="*/ 117317 h 154392"/>
                <a:gd name="connsiteX27" fmla="*/ 93218 w 168427"/>
                <a:gd name="connsiteY27" fmla="*/ 117317 h 154392"/>
                <a:gd name="connsiteX28" fmla="*/ 120447 w 168427"/>
                <a:gd name="connsiteY28" fmla="*/ 136967 h 154392"/>
                <a:gd name="connsiteX29" fmla="*/ 110061 w 168427"/>
                <a:gd name="connsiteY29" fmla="*/ 105106 h 154392"/>
                <a:gd name="connsiteX30" fmla="*/ 114973 w 168427"/>
                <a:gd name="connsiteY30" fmla="*/ 90088 h 154392"/>
                <a:gd name="connsiteX31" fmla="*/ 142062 w 168427"/>
                <a:gd name="connsiteY31" fmla="*/ 70438 h 154392"/>
                <a:gd name="connsiteX32" fmla="*/ 108377 w 168427"/>
                <a:gd name="connsiteY32" fmla="*/ 70438 h 154392"/>
                <a:gd name="connsiteX33" fmla="*/ 95604 w 168427"/>
                <a:gd name="connsiteY33" fmla="*/ 61035 h 154392"/>
                <a:gd name="connsiteX34" fmla="*/ 85218 w 168427"/>
                <a:gd name="connsiteY34" fmla="*/ 29174 h 154392"/>
                <a:gd name="connsiteX35" fmla="*/ 74972 w 168427"/>
                <a:gd name="connsiteY35" fmla="*/ 61035 h 154392"/>
                <a:gd name="connsiteX36" fmla="*/ 62059 w 168427"/>
                <a:gd name="connsiteY36" fmla="*/ 70438 h 15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8427" h="154392">
                  <a:moveTo>
                    <a:pt x="133641" y="162372"/>
                  </a:moveTo>
                  <a:cubicBezTo>
                    <a:pt x="132121" y="162382"/>
                    <a:pt x="130640" y="161889"/>
                    <a:pt x="129430" y="160968"/>
                  </a:cubicBezTo>
                  <a:lnTo>
                    <a:pt x="84937" y="128686"/>
                  </a:lnTo>
                  <a:lnTo>
                    <a:pt x="41005" y="160968"/>
                  </a:lnTo>
                  <a:cubicBezTo>
                    <a:pt x="38555" y="162817"/>
                    <a:pt x="35175" y="162817"/>
                    <a:pt x="32724" y="160968"/>
                  </a:cubicBezTo>
                  <a:cubicBezTo>
                    <a:pt x="30305" y="159146"/>
                    <a:pt x="29293" y="156000"/>
                    <a:pt x="30198" y="153108"/>
                  </a:cubicBezTo>
                  <a:lnTo>
                    <a:pt x="47321" y="100755"/>
                  </a:lnTo>
                  <a:lnTo>
                    <a:pt x="2969" y="68614"/>
                  </a:lnTo>
                  <a:cubicBezTo>
                    <a:pt x="497" y="66828"/>
                    <a:pt x="-574" y="63675"/>
                    <a:pt x="302" y="60754"/>
                  </a:cubicBezTo>
                  <a:cubicBezTo>
                    <a:pt x="1276" y="57871"/>
                    <a:pt x="3996" y="55944"/>
                    <a:pt x="7039" y="55982"/>
                  </a:cubicBezTo>
                  <a:lnTo>
                    <a:pt x="62059" y="55982"/>
                  </a:lnTo>
                  <a:lnTo>
                    <a:pt x="78340" y="4331"/>
                  </a:lnTo>
                  <a:cubicBezTo>
                    <a:pt x="79981" y="649"/>
                    <a:pt x="84296" y="-1007"/>
                    <a:pt x="87977" y="634"/>
                  </a:cubicBezTo>
                  <a:cubicBezTo>
                    <a:pt x="89623" y="1368"/>
                    <a:pt x="90940" y="2684"/>
                    <a:pt x="91674" y="4331"/>
                  </a:cubicBezTo>
                  <a:lnTo>
                    <a:pt x="108657" y="56683"/>
                  </a:lnTo>
                  <a:lnTo>
                    <a:pt x="163256" y="56683"/>
                  </a:lnTo>
                  <a:cubicBezTo>
                    <a:pt x="166276" y="56615"/>
                    <a:pt x="168973" y="58566"/>
                    <a:pt x="169853" y="61456"/>
                  </a:cubicBezTo>
                  <a:cubicBezTo>
                    <a:pt x="170852" y="64346"/>
                    <a:pt x="169822" y="67548"/>
                    <a:pt x="167326" y="69316"/>
                  </a:cubicBezTo>
                  <a:lnTo>
                    <a:pt x="122833" y="101738"/>
                  </a:lnTo>
                  <a:lnTo>
                    <a:pt x="140237" y="152828"/>
                  </a:lnTo>
                  <a:cubicBezTo>
                    <a:pt x="141287" y="155717"/>
                    <a:pt x="140247" y="158951"/>
                    <a:pt x="137711" y="160688"/>
                  </a:cubicBezTo>
                  <a:cubicBezTo>
                    <a:pt x="136594" y="161709"/>
                    <a:pt x="135152" y="162304"/>
                    <a:pt x="133641" y="162372"/>
                  </a:cubicBezTo>
                  <a:close/>
                  <a:moveTo>
                    <a:pt x="28654" y="70438"/>
                  </a:moveTo>
                  <a:lnTo>
                    <a:pt x="55743" y="90088"/>
                  </a:lnTo>
                  <a:cubicBezTo>
                    <a:pt x="60529" y="93451"/>
                    <a:pt x="62528" y="99565"/>
                    <a:pt x="60655" y="105106"/>
                  </a:cubicBezTo>
                  <a:lnTo>
                    <a:pt x="50269" y="136967"/>
                  </a:lnTo>
                  <a:lnTo>
                    <a:pt x="77358" y="117317"/>
                  </a:lnTo>
                  <a:cubicBezTo>
                    <a:pt x="82138" y="114044"/>
                    <a:pt x="88437" y="114044"/>
                    <a:pt x="93218" y="117317"/>
                  </a:cubicBezTo>
                  <a:lnTo>
                    <a:pt x="120447" y="136967"/>
                  </a:lnTo>
                  <a:lnTo>
                    <a:pt x="110061" y="105106"/>
                  </a:lnTo>
                  <a:cubicBezTo>
                    <a:pt x="108188" y="99565"/>
                    <a:pt x="110187" y="93451"/>
                    <a:pt x="114973" y="90088"/>
                  </a:cubicBezTo>
                  <a:lnTo>
                    <a:pt x="142062" y="70438"/>
                  </a:lnTo>
                  <a:lnTo>
                    <a:pt x="108377" y="70438"/>
                  </a:lnTo>
                  <a:cubicBezTo>
                    <a:pt x="102587" y="70240"/>
                    <a:pt x="97513" y="66504"/>
                    <a:pt x="95604" y="61035"/>
                  </a:cubicBezTo>
                  <a:lnTo>
                    <a:pt x="85218" y="29174"/>
                  </a:lnTo>
                  <a:lnTo>
                    <a:pt x="74972" y="61035"/>
                  </a:lnTo>
                  <a:cubicBezTo>
                    <a:pt x="73045" y="66552"/>
                    <a:pt x="67901" y="70298"/>
                    <a:pt x="62059" y="70438"/>
                  </a:cubicBezTo>
                  <a:close/>
                </a:path>
              </a:pathLst>
            </a:custGeom>
            <a:grpFill/>
            <a:ln w="13827" cap="flat">
              <a:solidFill>
                <a:srgbClr val="416CF9"/>
              </a:solidFill>
              <a:prstDash val="solid"/>
              <a:miter/>
            </a:ln>
          </p:spPr>
          <p:txBody>
            <a:bodyPr rtlCol="0" anchor="ctr"/>
            <a:lstStyle/>
            <a:p>
              <a:endParaRPr lang="en-US"/>
            </a:p>
          </p:txBody>
        </p:sp>
      </p:grpSp>
      <p:sp>
        <p:nvSpPr>
          <p:cNvPr id="83" name="TextBox 82">
            <a:extLst>
              <a:ext uri="{FF2B5EF4-FFF2-40B4-BE49-F238E27FC236}">
                <a16:creationId xmlns:a16="http://schemas.microsoft.com/office/drawing/2014/main" id="{F38C2C86-E3AA-504D-DEFA-53D1BCF1A812}"/>
              </a:ext>
            </a:extLst>
          </p:cNvPr>
          <p:cNvSpPr txBox="1"/>
          <p:nvPr/>
        </p:nvSpPr>
        <p:spPr>
          <a:xfrm>
            <a:off x="3921195" y="10838098"/>
            <a:ext cx="1766172" cy="4033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R="57150" algn="l" defTabSz="1282700" rtl="0" fontAlgn="auto" latinLnBrk="0" hangingPunct="0">
              <a:lnSpc>
                <a:spcPct val="140000"/>
              </a:lnSpc>
              <a:spcBef>
                <a:spcPts val="0"/>
              </a:spcBef>
              <a:spcAft>
                <a:spcPts val="0"/>
              </a:spcAft>
              <a:buClrTx/>
              <a:buSzTx/>
              <a:tabLst/>
            </a:pPr>
            <a:r>
              <a:rPr kumimoji="0" lang="de-DE" sz="1600" b="0" i="0" u="none" strike="noStrike" cap="none" spc="0" normalizeH="0" baseline="0" err="1">
                <a:ln>
                  <a:noFill/>
                </a:ln>
                <a:solidFill>
                  <a:schemeClr val="accent1">
                    <a:lumOff val="-57413"/>
                  </a:schemeClr>
                </a:solidFill>
                <a:effectLst/>
                <a:uFill>
                  <a:solidFill>
                    <a:schemeClr val="accent1">
                      <a:lumOff val="-57413"/>
                    </a:schemeClr>
                  </a:solidFill>
                </a:uFill>
                <a:latin typeface="+mn-lt"/>
                <a:ea typeface="+mn-ea"/>
                <a:cs typeface="+mn-cs"/>
                <a:sym typeface="BentonSansF Book"/>
              </a:rPr>
              <a:t>GenAI</a:t>
            </a:r>
            <a:r>
              <a:rPr kumimoji="0" lang="de-DE" sz="16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rPr>
              <a:t> expert (1) </a:t>
            </a:r>
          </a:p>
        </p:txBody>
      </p:sp>
      <p:grpSp>
        <p:nvGrpSpPr>
          <p:cNvPr id="16" name="Graphic 7">
            <a:extLst>
              <a:ext uri="{FF2B5EF4-FFF2-40B4-BE49-F238E27FC236}">
                <a16:creationId xmlns:a16="http://schemas.microsoft.com/office/drawing/2014/main" id="{3DDE5A2A-C296-1FB3-33ED-3103F0DE8878}"/>
              </a:ext>
            </a:extLst>
          </p:cNvPr>
          <p:cNvGrpSpPr>
            <a:grpSpLocks noChangeAspect="1"/>
          </p:cNvGrpSpPr>
          <p:nvPr/>
        </p:nvGrpSpPr>
        <p:grpSpPr>
          <a:xfrm>
            <a:off x="6713381" y="11512462"/>
            <a:ext cx="527368" cy="540000"/>
            <a:chOff x="5870452" y="3144979"/>
            <a:chExt cx="449639" cy="460408"/>
          </a:xfrm>
          <a:solidFill>
            <a:srgbClr val="0E176D"/>
          </a:solidFill>
        </p:grpSpPr>
        <p:sp>
          <p:nvSpPr>
            <p:cNvPr id="17" name="Freeform: Shape 16">
              <a:extLst>
                <a:ext uri="{FF2B5EF4-FFF2-40B4-BE49-F238E27FC236}">
                  <a16:creationId xmlns:a16="http://schemas.microsoft.com/office/drawing/2014/main" id="{6CC36295-20F9-DF99-3BC0-5CD26AF8A4DF}"/>
                </a:ext>
              </a:extLst>
            </p:cNvPr>
            <p:cNvSpPr/>
            <p:nvPr/>
          </p:nvSpPr>
          <p:spPr>
            <a:xfrm>
              <a:off x="5957957" y="3144979"/>
              <a:ext cx="201934" cy="201933"/>
            </a:xfrm>
            <a:custGeom>
              <a:avLst/>
              <a:gdLst>
                <a:gd name="connsiteX0" fmla="*/ 100967 w 201933"/>
                <a:gd name="connsiteY0" fmla="*/ 201933 h 201933"/>
                <a:gd name="connsiteX1" fmla="*/ 0 w 201933"/>
                <a:gd name="connsiteY1" fmla="*/ 100967 h 201933"/>
                <a:gd name="connsiteX2" fmla="*/ 100967 w 201933"/>
                <a:gd name="connsiteY2" fmla="*/ 0 h 201933"/>
                <a:gd name="connsiteX3" fmla="*/ 201934 w 201933"/>
                <a:gd name="connsiteY3" fmla="*/ 100967 h 201933"/>
                <a:gd name="connsiteX4" fmla="*/ 100967 w 201933"/>
                <a:gd name="connsiteY4" fmla="*/ 201933 h 201933"/>
                <a:gd name="connsiteX5" fmla="*/ 100967 w 201933"/>
                <a:gd name="connsiteY5" fmla="*/ 13462 h 201933"/>
                <a:gd name="connsiteX6" fmla="*/ 13462 w 201933"/>
                <a:gd name="connsiteY6" fmla="*/ 100967 h 201933"/>
                <a:gd name="connsiteX7" fmla="*/ 100967 w 201933"/>
                <a:gd name="connsiteY7" fmla="*/ 188471 h 201933"/>
                <a:gd name="connsiteX8" fmla="*/ 188471 w 201933"/>
                <a:gd name="connsiteY8" fmla="*/ 100967 h 201933"/>
                <a:gd name="connsiteX9" fmla="*/ 100967 w 201933"/>
                <a:gd name="connsiteY9" fmla="*/ 13462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933" h="201933">
                  <a:moveTo>
                    <a:pt x="100967" y="201933"/>
                  </a:moveTo>
                  <a:cubicBezTo>
                    <a:pt x="45772" y="201933"/>
                    <a:pt x="0" y="156162"/>
                    <a:pt x="0" y="100967"/>
                  </a:cubicBezTo>
                  <a:cubicBezTo>
                    <a:pt x="0" y="45772"/>
                    <a:pt x="45772" y="0"/>
                    <a:pt x="100967" y="0"/>
                  </a:cubicBezTo>
                  <a:cubicBezTo>
                    <a:pt x="156162" y="0"/>
                    <a:pt x="201934" y="45772"/>
                    <a:pt x="201934" y="100967"/>
                  </a:cubicBezTo>
                  <a:cubicBezTo>
                    <a:pt x="201934" y="156162"/>
                    <a:pt x="156162" y="201933"/>
                    <a:pt x="100967" y="201933"/>
                  </a:cubicBezTo>
                  <a:close/>
                  <a:moveTo>
                    <a:pt x="100967" y="13462"/>
                  </a:moveTo>
                  <a:cubicBezTo>
                    <a:pt x="52503" y="13462"/>
                    <a:pt x="13462" y="52503"/>
                    <a:pt x="13462" y="100967"/>
                  </a:cubicBezTo>
                  <a:cubicBezTo>
                    <a:pt x="13462" y="149431"/>
                    <a:pt x="52503" y="188471"/>
                    <a:pt x="100967" y="188471"/>
                  </a:cubicBezTo>
                  <a:cubicBezTo>
                    <a:pt x="149431" y="188471"/>
                    <a:pt x="188471" y="149431"/>
                    <a:pt x="188471" y="100967"/>
                  </a:cubicBezTo>
                  <a:cubicBezTo>
                    <a:pt x="188471" y="52503"/>
                    <a:pt x="149431" y="13462"/>
                    <a:pt x="100967" y="13462"/>
                  </a:cubicBezTo>
                  <a:close/>
                </a:path>
              </a:pathLst>
            </a:custGeom>
            <a:grpFill/>
            <a:ln w="13447" cap="flat">
              <a:solidFill>
                <a:srgbClr val="416CF9"/>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E147640-8358-2615-A2BD-D687CF11274F}"/>
                </a:ext>
              </a:extLst>
            </p:cNvPr>
            <p:cNvSpPr/>
            <p:nvPr/>
          </p:nvSpPr>
          <p:spPr>
            <a:xfrm>
              <a:off x="5870452" y="3368452"/>
              <a:ext cx="309631" cy="215396"/>
            </a:xfrm>
            <a:custGeom>
              <a:avLst/>
              <a:gdLst>
                <a:gd name="connsiteX0" fmla="*/ 249051 w 309631"/>
                <a:gd name="connsiteY0" fmla="*/ 220781 h 215395"/>
                <a:gd name="connsiteX1" fmla="*/ 41733 w 309631"/>
                <a:gd name="connsiteY1" fmla="*/ 220781 h 215395"/>
                <a:gd name="connsiteX2" fmla="*/ 0 w 309631"/>
                <a:gd name="connsiteY2" fmla="*/ 180394 h 215395"/>
                <a:gd name="connsiteX3" fmla="*/ 0 w 309631"/>
                <a:gd name="connsiteY3" fmla="*/ 121160 h 215395"/>
                <a:gd name="connsiteX4" fmla="*/ 121160 w 309631"/>
                <a:gd name="connsiteY4" fmla="*/ 0 h 215395"/>
                <a:gd name="connsiteX5" fmla="*/ 255782 w 309631"/>
                <a:gd name="connsiteY5" fmla="*/ 0 h 215395"/>
                <a:gd name="connsiteX6" fmla="*/ 316363 w 309631"/>
                <a:gd name="connsiteY6" fmla="*/ 16155 h 215395"/>
                <a:gd name="connsiteX7" fmla="*/ 319055 w 309631"/>
                <a:gd name="connsiteY7" fmla="*/ 25578 h 215395"/>
                <a:gd name="connsiteX8" fmla="*/ 309631 w 309631"/>
                <a:gd name="connsiteY8" fmla="*/ 28271 h 215395"/>
                <a:gd name="connsiteX9" fmla="*/ 255782 w 309631"/>
                <a:gd name="connsiteY9" fmla="*/ 13462 h 215395"/>
                <a:gd name="connsiteX10" fmla="*/ 121160 w 309631"/>
                <a:gd name="connsiteY10" fmla="*/ 13462 h 215395"/>
                <a:gd name="connsiteX11" fmla="*/ 13462 w 309631"/>
                <a:gd name="connsiteY11" fmla="*/ 121160 h 215395"/>
                <a:gd name="connsiteX12" fmla="*/ 13462 w 309631"/>
                <a:gd name="connsiteY12" fmla="*/ 180394 h 215395"/>
                <a:gd name="connsiteX13" fmla="*/ 41733 w 309631"/>
                <a:gd name="connsiteY13" fmla="*/ 207318 h 215395"/>
                <a:gd name="connsiteX14" fmla="*/ 249051 w 309631"/>
                <a:gd name="connsiteY14" fmla="*/ 207318 h 215395"/>
                <a:gd name="connsiteX15" fmla="*/ 255782 w 309631"/>
                <a:gd name="connsiteY15" fmla="*/ 214049 h 215395"/>
                <a:gd name="connsiteX16" fmla="*/ 249051 w 309631"/>
                <a:gd name="connsiteY16" fmla="*/ 220781 h 215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9631" h="215395">
                  <a:moveTo>
                    <a:pt x="249051" y="220781"/>
                  </a:moveTo>
                  <a:lnTo>
                    <a:pt x="41733" y="220781"/>
                  </a:lnTo>
                  <a:cubicBezTo>
                    <a:pt x="18847" y="220781"/>
                    <a:pt x="0" y="203280"/>
                    <a:pt x="0" y="180394"/>
                  </a:cubicBezTo>
                  <a:lnTo>
                    <a:pt x="0" y="121160"/>
                  </a:lnTo>
                  <a:cubicBezTo>
                    <a:pt x="0" y="55195"/>
                    <a:pt x="53849" y="0"/>
                    <a:pt x="121160" y="0"/>
                  </a:cubicBezTo>
                  <a:lnTo>
                    <a:pt x="255782" y="0"/>
                  </a:lnTo>
                  <a:cubicBezTo>
                    <a:pt x="275976" y="0"/>
                    <a:pt x="297515" y="5385"/>
                    <a:pt x="316363" y="16155"/>
                  </a:cubicBezTo>
                  <a:cubicBezTo>
                    <a:pt x="319055" y="17501"/>
                    <a:pt x="320401" y="21540"/>
                    <a:pt x="319055" y="25578"/>
                  </a:cubicBezTo>
                  <a:cubicBezTo>
                    <a:pt x="317709" y="28271"/>
                    <a:pt x="313670" y="29617"/>
                    <a:pt x="309631" y="28271"/>
                  </a:cubicBezTo>
                  <a:cubicBezTo>
                    <a:pt x="292131" y="18847"/>
                    <a:pt x="274630" y="13462"/>
                    <a:pt x="255782" y="13462"/>
                  </a:cubicBezTo>
                  <a:lnTo>
                    <a:pt x="121160" y="13462"/>
                  </a:lnTo>
                  <a:cubicBezTo>
                    <a:pt x="61926" y="13462"/>
                    <a:pt x="13462" y="61926"/>
                    <a:pt x="13462" y="121160"/>
                  </a:cubicBezTo>
                  <a:lnTo>
                    <a:pt x="13462" y="180394"/>
                  </a:lnTo>
                  <a:cubicBezTo>
                    <a:pt x="13462" y="195202"/>
                    <a:pt x="25578" y="207318"/>
                    <a:pt x="41733" y="207318"/>
                  </a:cubicBezTo>
                  <a:lnTo>
                    <a:pt x="249051" y="207318"/>
                  </a:lnTo>
                  <a:cubicBezTo>
                    <a:pt x="253090" y="207318"/>
                    <a:pt x="255782" y="210011"/>
                    <a:pt x="255782" y="214049"/>
                  </a:cubicBezTo>
                  <a:cubicBezTo>
                    <a:pt x="255782" y="218088"/>
                    <a:pt x="253090" y="220781"/>
                    <a:pt x="249051" y="220781"/>
                  </a:cubicBezTo>
                  <a:close/>
                </a:path>
              </a:pathLst>
            </a:custGeom>
            <a:grpFill/>
            <a:ln w="13447" cap="flat">
              <a:solidFill>
                <a:srgbClr val="416CF9"/>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9E102DB0-AC0C-3D93-F1D9-B351B802990E}"/>
                </a:ext>
              </a:extLst>
            </p:cNvPr>
            <p:cNvSpPr/>
            <p:nvPr/>
          </p:nvSpPr>
          <p:spPr>
            <a:xfrm>
              <a:off x="6189507" y="3476150"/>
              <a:ext cx="67311" cy="67311"/>
            </a:xfrm>
            <a:custGeom>
              <a:avLst/>
              <a:gdLst>
                <a:gd name="connsiteX0" fmla="*/ 35002 w 67311"/>
                <a:gd name="connsiteY0" fmla="*/ 70004 h 67311"/>
                <a:gd name="connsiteX1" fmla="*/ 0 w 67311"/>
                <a:gd name="connsiteY1" fmla="*/ 35002 h 67311"/>
                <a:gd name="connsiteX2" fmla="*/ 35002 w 67311"/>
                <a:gd name="connsiteY2" fmla="*/ 0 h 67311"/>
                <a:gd name="connsiteX3" fmla="*/ 70004 w 67311"/>
                <a:gd name="connsiteY3" fmla="*/ 35002 h 67311"/>
                <a:gd name="connsiteX4" fmla="*/ 35002 w 67311"/>
                <a:gd name="connsiteY4" fmla="*/ 70004 h 67311"/>
                <a:gd name="connsiteX5" fmla="*/ 35002 w 67311"/>
                <a:gd name="connsiteY5" fmla="*/ 12116 h 67311"/>
                <a:gd name="connsiteX6" fmla="*/ 13462 w 67311"/>
                <a:gd name="connsiteY6" fmla="*/ 33656 h 67311"/>
                <a:gd name="connsiteX7" fmla="*/ 35002 w 67311"/>
                <a:gd name="connsiteY7" fmla="*/ 55195 h 67311"/>
                <a:gd name="connsiteX8" fmla="*/ 57888 w 67311"/>
                <a:gd name="connsiteY8" fmla="*/ 33656 h 67311"/>
                <a:gd name="connsiteX9" fmla="*/ 35002 w 67311"/>
                <a:gd name="connsiteY9" fmla="*/ 12116 h 6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11" h="67311">
                  <a:moveTo>
                    <a:pt x="35002" y="70004"/>
                  </a:moveTo>
                  <a:cubicBezTo>
                    <a:pt x="14808" y="70004"/>
                    <a:pt x="0" y="53849"/>
                    <a:pt x="0" y="35002"/>
                  </a:cubicBezTo>
                  <a:cubicBezTo>
                    <a:pt x="0" y="16155"/>
                    <a:pt x="16155" y="0"/>
                    <a:pt x="35002" y="0"/>
                  </a:cubicBezTo>
                  <a:cubicBezTo>
                    <a:pt x="55195" y="0"/>
                    <a:pt x="70004" y="16155"/>
                    <a:pt x="70004" y="35002"/>
                  </a:cubicBezTo>
                  <a:cubicBezTo>
                    <a:pt x="70004" y="53849"/>
                    <a:pt x="55195" y="70004"/>
                    <a:pt x="35002" y="70004"/>
                  </a:cubicBezTo>
                  <a:close/>
                  <a:moveTo>
                    <a:pt x="35002" y="12116"/>
                  </a:moveTo>
                  <a:cubicBezTo>
                    <a:pt x="22886" y="12116"/>
                    <a:pt x="13462" y="21540"/>
                    <a:pt x="13462" y="33656"/>
                  </a:cubicBezTo>
                  <a:cubicBezTo>
                    <a:pt x="13462" y="45772"/>
                    <a:pt x="22886" y="55195"/>
                    <a:pt x="35002" y="55195"/>
                  </a:cubicBezTo>
                  <a:cubicBezTo>
                    <a:pt x="47118" y="55195"/>
                    <a:pt x="57888" y="45772"/>
                    <a:pt x="57888" y="33656"/>
                  </a:cubicBezTo>
                  <a:cubicBezTo>
                    <a:pt x="57888" y="21540"/>
                    <a:pt x="47118" y="12116"/>
                    <a:pt x="35002" y="12116"/>
                  </a:cubicBezTo>
                  <a:close/>
                </a:path>
              </a:pathLst>
            </a:custGeom>
            <a:grpFill/>
            <a:ln w="13447" cap="flat">
              <a:solidFill>
                <a:srgbClr val="416CF9"/>
              </a:soli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C22DE76-264C-4654-D4F4-22B36C9DC928}"/>
                </a:ext>
              </a:extLst>
            </p:cNvPr>
            <p:cNvSpPr/>
            <p:nvPr/>
          </p:nvSpPr>
          <p:spPr>
            <a:xfrm>
              <a:off x="6118157" y="3403454"/>
              <a:ext cx="201934" cy="201933"/>
            </a:xfrm>
            <a:custGeom>
              <a:avLst/>
              <a:gdLst>
                <a:gd name="connsiteX0" fmla="*/ 117121 w 201933"/>
                <a:gd name="connsiteY0" fmla="*/ 214049 h 201933"/>
                <a:gd name="connsiteX1" fmla="*/ 96928 w 201933"/>
                <a:gd name="connsiteY1" fmla="*/ 214049 h 201933"/>
                <a:gd name="connsiteX2" fmla="*/ 90197 w 201933"/>
                <a:gd name="connsiteY2" fmla="*/ 210011 h 201933"/>
                <a:gd name="connsiteX3" fmla="*/ 82120 w 201933"/>
                <a:gd name="connsiteY3" fmla="*/ 185779 h 201933"/>
                <a:gd name="connsiteX4" fmla="*/ 67311 w 201933"/>
                <a:gd name="connsiteY4" fmla="*/ 181740 h 201933"/>
                <a:gd name="connsiteX5" fmla="*/ 41733 w 201933"/>
                <a:gd name="connsiteY5" fmla="*/ 191164 h 201933"/>
                <a:gd name="connsiteX6" fmla="*/ 35002 w 201933"/>
                <a:gd name="connsiteY6" fmla="*/ 189817 h 201933"/>
                <a:gd name="connsiteX7" fmla="*/ 24232 w 201933"/>
                <a:gd name="connsiteY7" fmla="*/ 179048 h 201933"/>
                <a:gd name="connsiteX8" fmla="*/ 22886 w 201933"/>
                <a:gd name="connsiteY8" fmla="*/ 172317 h 201933"/>
                <a:gd name="connsiteX9" fmla="*/ 32309 w 201933"/>
                <a:gd name="connsiteY9" fmla="*/ 146738 h 201933"/>
                <a:gd name="connsiteX10" fmla="*/ 28271 w 201933"/>
                <a:gd name="connsiteY10" fmla="*/ 131930 h 201933"/>
                <a:gd name="connsiteX11" fmla="*/ 4039 w 201933"/>
                <a:gd name="connsiteY11" fmla="*/ 123852 h 201933"/>
                <a:gd name="connsiteX12" fmla="*/ 0 w 201933"/>
                <a:gd name="connsiteY12" fmla="*/ 117121 h 201933"/>
                <a:gd name="connsiteX13" fmla="*/ 0 w 201933"/>
                <a:gd name="connsiteY13" fmla="*/ 96928 h 201933"/>
                <a:gd name="connsiteX14" fmla="*/ 4039 w 201933"/>
                <a:gd name="connsiteY14" fmla="*/ 90197 h 201933"/>
                <a:gd name="connsiteX15" fmla="*/ 28271 w 201933"/>
                <a:gd name="connsiteY15" fmla="*/ 82120 h 201933"/>
                <a:gd name="connsiteX16" fmla="*/ 32309 w 201933"/>
                <a:gd name="connsiteY16" fmla="*/ 67311 h 201933"/>
                <a:gd name="connsiteX17" fmla="*/ 22886 w 201933"/>
                <a:gd name="connsiteY17" fmla="*/ 41733 h 201933"/>
                <a:gd name="connsiteX18" fmla="*/ 24232 w 201933"/>
                <a:gd name="connsiteY18" fmla="*/ 35002 h 201933"/>
                <a:gd name="connsiteX19" fmla="*/ 35002 w 201933"/>
                <a:gd name="connsiteY19" fmla="*/ 24232 h 201933"/>
                <a:gd name="connsiteX20" fmla="*/ 41733 w 201933"/>
                <a:gd name="connsiteY20" fmla="*/ 22886 h 201933"/>
                <a:gd name="connsiteX21" fmla="*/ 67311 w 201933"/>
                <a:gd name="connsiteY21" fmla="*/ 32309 h 201933"/>
                <a:gd name="connsiteX22" fmla="*/ 82120 w 201933"/>
                <a:gd name="connsiteY22" fmla="*/ 28271 h 201933"/>
                <a:gd name="connsiteX23" fmla="*/ 90197 w 201933"/>
                <a:gd name="connsiteY23" fmla="*/ 4039 h 201933"/>
                <a:gd name="connsiteX24" fmla="*/ 96928 w 201933"/>
                <a:gd name="connsiteY24" fmla="*/ 0 h 201933"/>
                <a:gd name="connsiteX25" fmla="*/ 117121 w 201933"/>
                <a:gd name="connsiteY25" fmla="*/ 0 h 201933"/>
                <a:gd name="connsiteX26" fmla="*/ 123853 w 201933"/>
                <a:gd name="connsiteY26" fmla="*/ 4039 h 201933"/>
                <a:gd name="connsiteX27" fmla="*/ 131930 w 201933"/>
                <a:gd name="connsiteY27" fmla="*/ 28271 h 201933"/>
                <a:gd name="connsiteX28" fmla="*/ 146738 w 201933"/>
                <a:gd name="connsiteY28" fmla="*/ 32309 h 201933"/>
                <a:gd name="connsiteX29" fmla="*/ 172317 w 201933"/>
                <a:gd name="connsiteY29" fmla="*/ 22886 h 201933"/>
                <a:gd name="connsiteX30" fmla="*/ 179048 w 201933"/>
                <a:gd name="connsiteY30" fmla="*/ 24232 h 201933"/>
                <a:gd name="connsiteX31" fmla="*/ 189818 w 201933"/>
                <a:gd name="connsiteY31" fmla="*/ 35002 h 201933"/>
                <a:gd name="connsiteX32" fmla="*/ 191164 w 201933"/>
                <a:gd name="connsiteY32" fmla="*/ 41733 h 201933"/>
                <a:gd name="connsiteX33" fmla="*/ 181740 w 201933"/>
                <a:gd name="connsiteY33" fmla="*/ 67311 h 201933"/>
                <a:gd name="connsiteX34" fmla="*/ 185779 w 201933"/>
                <a:gd name="connsiteY34" fmla="*/ 82120 h 201933"/>
                <a:gd name="connsiteX35" fmla="*/ 210011 w 201933"/>
                <a:gd name="connsiteY35" fmla="*/ 90197 h 201933"/>
                <a:gd name="connsiteX36" fmla="*/ 214050 w 201933"/>
                <a:gd name="connsiteY36" fmla="*/ 96928 h 201933"/>
                <a:gd name="connsiteX37" fmla="*/ 214050 w 201933"/>
                <a:gd name="connsiteY37" fmla="*/ 117121 h 201933"/>
                <a:gd name="connsiteX38" fmla="*/ 210011 w 201933"/>
                <a:gd name="connsiteY38" fmla="*/ 123852 h 201933"/>
                <a:gd name="connsiteX39" fmla="*/ 185779 w 201933"/>
                <a:gd name="connsiteY39" fmla="*/ 131930 h 201933"/>
                <a:gd name="connsiteX40" fmla="*/ 180394 w 201933"/>
                <a:gd name="connsiteY40" fmla="*/ 145392 h 201933"/>
                <a:gd name="connsiteX41" fmla="*/ 189818 w 201933"/>
                <a:gd name="connsiteY41" fmla="*/ 170970 h 201933"/>
                <a:gd name="connsiteX42" fmla="*/ 188471 w 201933"/>
                <a:gd name="connsiteY42" fmla="*/ 177701 h 201933"/>
                <a:gd name="connsiteX43" fmla="*/ 177702 w 201933"/>
                <a:gd name="connsiteY43" fmla="*/ 188471 h 201933"/>
                <a:gd name="connsiteX44" fmla="*/ 170970 w 201933"/>
                <a:gd name="connsiteY44" fmla="*/ 189817 h 201933"/>
                <a:gd name="connsiteX45" fmla="*/ 145392 w 201933"/>
                <a:gd name="connsiteY45" fmla="*/ 180394 h 201933"/>
                <a:gd name="connsiteX46" fmla="*/ 131930 w 201933"/>
                <a:gd name="connsiteY46" fmla="*/ 185779 h 201933"/>
                <a:gd name="connsiteX47" fmla="*/ 123853 w 201933"/>
                <a:gd name="connsiteY47" fmla="*/ 210011 h 201933"/>
                <a:gd name="connsiteX48" fmla="*/ 117121 w 201933"/>
                <a:gd name="connsiteY48" fmla="*/ 214049 h 201933"/>
                <a:gd name="connsiteX49" fmla="*/ 102313 w 201933"/>
                <a:gd name="connsiteY49" fmla="*/ 200587 h 201933"/>
                <a:gd name="connsiteX50" fmla="*/ 113083 w 201933"/>
                <a:gd name="connsiteY50" fmla="*/ 200587 h 201933"/>
                <a:gd name="connsiteX51" fmla="*/ 121160 w 201933"/>
                <a:gd name="connsiteY51" fmla="*/ 177701 h 201933"/>
                <a:gd name="connsiteX52" fmla="*/ 125199 w 201933"/>
                <a:gd name="connsiteY52" fmla="*/ 173663 h 201933"/>
                <a:gd name="connsiteX53" fmla="*/ 145392 w 201933"/>
                <a:gd name="connsiteY53" fmla="*/ 166932 h 201933"/>
                <a:gd name="connsiteX54" fmla="*/ 149431 w 201933"/>
                <a:gd name="connsiteY54" fmla="*/ 166932 h 201933"/>
                <a:gd name="connsiteX55" fmla="*/ 173663 w 201933"/>
                <a:gd name="connsiteY55" fmla="*/ 176355 h 201933"/>
                <a:gd name="connsiteX56" fmla="*/ 177702 w 201933"/>
                <a:gd name="connsiteY56" fmla="*/ 172317 h 201933"/>
                <a:gd name="connsiteX57" fmla="*/ 168278 w 201933"/>
                <a:gd name="connsiteY57" fmla="*/ 148085 h 201933"/>
                <a:gd name="connsiteX58" fmla="*/ 168278 w 201933"/>
                <a:gd name="connsiteY58" fmla="*/ 144046 h 201933"/>
                <a:gd name="connsiteX59" fmla="*/ 175009 w 201933"/>
                <a:gd name="connsiteY59" fmla="*/ 123852 h 201933"/>
                <a:gd name="connsiteX60" fmla="*/ 179048 w 201933"/>
                <a:gd name="connsiteY60" fmla="*/ 119814 h 201933"/>
                <a:gd name="connsiteX61" fmla="*/ 201934 w 201933"/>
                <a:gd name="connsiteY61" fmla="*/ 111736 h 201933"/>
                <a:gd name="connsiteX62" fmla="*/ 201934 w 201933"/>
                <a:gd name="connsiteY62" fmla="*/ 100967 h 201933"/>
                <a:gd name="connsiteX63" fmla="*/ 179048 w 201933"/>
                <a:gd name="connsiteY63" fmla="*/ 92889 h 201933"/>
                <a:gd name="connsiteX64" fmla="*/ 175009 w 201933"/>
                <a:gd name="connsiteY64" fmla="*/ 88851 h 201933"/>
                <a:gd name="connsiteX65" fmla="*/ 168278 w 201933"/>
                <a:gd name="connsiteY65" fmla="*/ 68657 h 201933"/>
                <a:gd name="connsiteX66" fmla="*/ 168278 w 201933"/>
                <a:gd name="connsiteY66" fmla="*/ 64619 h 201933"/>
                <a:gd name="connsiteX67" fmla="*/ 177702 w 201933"/>
                <a:gd name="connsiteY67" fmla="*/ 40387 h 201933"/>
                <a:gd name="connsiteX68" fmla="*/ 172317 w 201933"/>
                <a:gd name="connsiteY68" fmla="*/ 37694 h 201933"/>
                <a:gd name="connsiteX69" fmla="*/ 148085 w 201933"/>
                <a:gd name="connsiteY69" fmla="*/ 47118 h 201933"/>
                <a:gd name="connsiteX70" fmla="*/ 144046 w 201933"/>
                <a:gd name="connsiteY70" fmla="*/ 47118 h 201933"/>
                <a:gd name="connsiteX71" fmla="*/ 123853 w 201933"/>
                <a:gd name="connsiteY71" fmla="*/ 40387 h 201933"/>
                <a:gd name="connsiteX72" fmla="*/ 119814 w 201933"/>
                <a:gd name="connsiteY72" fmla="*/ 36348 h 201933"/>
                <a:gd name="connsiteX73" fmla="*/ 111737 w 201933"/>
                <a:gd name="connsiteY73" fmla="*/ 13462 h 201933"/>
                <a:gd name="connsiteX74" fmla="*/ 102313 w 201933"/>
                <a:gd name="connsiteY74" fmla="*/ 13462 h 201933"/>
                <a:gd name="connsiteX75" fmla="*/ 94236 w 201933"/>
                <a:gd name="connsiteY75" fmla="*/ 36348 h 201933"/>
                <a:gd name="connsiteX76" fmla="*/ 90197 w 201933"/>
                <a:gd name="connsiteY76" fmla="*/ 40387 h 201933"/>
                <a:gd name="connsiteX77" fmla="*/ 70004 w 201933"/>
                <a:gd name="connsiteY77" fmla="*/ 47118 h 201933"/>
                <a:gd name="connsiteX78" fmla="*/ 65965 w 201933"/>
                <a:gd name="connsiteY78" fmla="*/ 47118 h 201933"/>
                <a:gd name="connsiteX79" fmla="*/ 41733 w 201933"/>
                <a:gd name="connsiteY79" fmla="*/ 37694 h 201933"/>
                <a:gd name="connsiteX80" fmla="*/ 37694 w 201933"/>
                <a:gd name="connsiteY80" fmla="*/ 41733 h 201933"/>
                <a:gd name="connsiteX81" fmla="*/ 47118 w 201933"/>
                <a:gd name="connsiteY81" fmla="*/ 65965 h 201933"/>
                <a:gd name="connsiteX82" fmla="*/ 47118 w 201933"/>
                <a:gd name="connsiteY82" fmla="*/ 70004 h 201933"/>
                <a:gd name="connsiteX83" fmla="*/ 40387 w 201933"/>
                <a:gd name="connsiteY83" fmla="*/ 90197 h 201933"/>
                <a:gd name="connsiteX84" fmla="*/ 36348 w 201933"/>
                <a:gd name="connsiteY84" fmla="*/ 94236 h 201933"/>
                <a:gd name="connsiteX85" fmla="*/ 13462 w 201933"/>
                <a:gd name="connsiteY85" fmla="*/ 102313 h 201933"/>
                <a:gd name="connsiteX86" fmla="*/ 13462 w 201933"/>
                <a:gd name="connsiteY86" fmla="*/ 113083 h 201933"/>
                <a:gd name="connsiteX87" fmla="*/ 36348 w 201933"/>
                <a:gd name="connsiteY87" fmla="*/ 121160 h 201933"/>
                <a:gd name="connsiteX88" fmla="*/ 40387 w 201933"/>
                <a:gd name="connsiteY88" fmla="*/ 125199 h 201933"/>
                <a:gd name="connsiteX89" fmla="*/ 47118 w 201933"/>
                <a:gd name="connsiteY89" fmla="*/ 145392 h 201933"/>
                <a:gd name="connsiteX90" fmla="*/ 47118 w 201933"/>
                <a:gd name="connsiteY90" fmla="*/ 149431 h 201933"/>
                <a:gd name="connsiteX91" fmla="*/ 37694 w 201933"/>
                <a:gd name="connsiteY91" fmla="*/ 172317 h 201933"/>
                <a:gd name="connsiteX92" fmla="*/ 41733 w 201933"/>
                <a:gd name="connsiteY92" fmla="*/ 176355 h 201933"/>
                <a:gd name="connsiteX93" fmla="*/ 65965 w 201933"/>
                <a:gd name="connsiteY93" fmla="*/ 166932 h 201933"/>
                <a:gd name="connsiteX94" fmla="*/ 70004 w 201933"/>
                <a:gd name="connsiteY94" fmla="*/ 166932 h 201933"/>
                <a:gd name="connsiteX95" fmla="*/ 90197 w 201933"/>
                <a:gd name="connsiteY95" fmla="*/ 173663 h 201933"/>
                <a:gd name="connsiteX96" fmla="*/ 94236 w 201933"/>
                <a:gd name="connsiteY96" fmla="*/ 177701 h 201933"/>
                <a:gd name="connsiteX97" fmla="*/ 102313 w 201933"/>
                <a:gd name="connsiteY97" fmla="*/ 200587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01933" h="201933">
                  <a:moveTo>
                    <a:pt x="117121" y="214049"/>
                  </a:moveTo>
                  <a:lnTo>
                    <a:pt x="96928" y="214049"/>
                  </a:lnTo>
                  <a:cubicBezTo>
                    <a:pt x="94236" y="214049"/>
                    <a:pt x="91543" y="212703"/>
                    <a:pt x="90197" y="210011"/>
                  </a:cubicBezTo>
                  <a:lnTo>
                    <a:pt x="82120" y="185779"/>
                  </a:lnTo>
                  <a:lnTo>
                    <a:pt x="67311" y="181740"/>
                  </a:lnTo>
                  <a:lnTo>
                    <a:pt x="41733" y="191164"/>
                  </a:lnTo>
                  <a:cubicBezTo>
                    <a:pt x="39040" y="192510"/>
                    <a:pt x="36348" y="191164"/>
                    <a:pt x="35002" y="189817"/>
                  </a:cubicBezTo>
                  <a:lnTo>
                    <a:pt x="24232" y="179048"/>
                  </a:lnTo>
                  <a:cubicBezTo>
                    <a:pt x="22886" y="177701"/>
                    <a:pt x="21540" y="175009"/>
                    <a:pt x="22886" y="172317"/>
                  </a:cubicBezTo>
                  <a:lnTo>
                    <a:pt x="32309" y="146738"/>
                  </a:lnTo>
                  <a:lnTo>
                    <a:pt x="28271" y="131930"/>
                  </a:lnTo>
                  <a:lnTo>
                    <a:pt x="4039" y="123852"/>
                  </a:lnTo>
                  <a:cubicBezTo>
                    <a:pt x="1346" y="122506"/>
                    <a:pt x="0" y="119814"/>
                    <a:pt x="0" y="117121"/>
                  </a:cubicBezTo>
                  <a:lnTo>
                    <a:pt x="0" y="96928"/>
                  </a:lnTo>
                  <a:cubicBezTo>
                    <a:pt x="0" y="94236"/>
                    <a:pt x="1346" y="91543"/>
                    <a:pt x="4039" y="90197"/>
                  </a:cubicBezTo>
                  <a:lnTo>
                    <a:pt x="28271" y="82120"/>
                  </a:lnTo>
                  <a:lnTo>
                    <a:pt x="32309" y="67311"/>
                  </a:lnTo>
                  <a:lnTo>
                    <a:pt x="22886" y="41733"/>
                  </a:lnTo>
                  <a:cubicBezTo>
                    <a:pt x="21540" y="39040"/>
                    <a:pt x="22886" y="36348"/>
                    <a:pt x="24232" y="35002"/>
                  </a:cubicBezTo>
                  <a:lnTo>
                    <a:pt x="35002" y="24232"/>
                  </a:lnTo>
                  <a:cubicBezTo>
                    <a:pt x="36348" y="22886"/>
                    <a:pt x="39040" y="21540"/>
                    <a:pt x="41733" y="22886"/>
                  </a:cubicBezTo>
                  <a:lnTo>
                    <a:pt x="67311" y="32309"/>
                  </a:lnTo>
                  <a:lnTo>
                    <a:pt x="82120" y="28271"/>
                  </a:lnTo>
                  <a:lnTo>
                    <a:pt x="90197" y="4039"/>
                  </a:lnTo>
                  <a:cubicBezTo>
                    <a:pt x="91543" y="1346"/>
                    <a:pt x="94236" y="0"/>
                    <a:pt x="96928" y="0"/>
                  </a:cubicBezTo>
                  <a:lnTo>
                    <a:pt x="117121" y="0"/>
                  </a:lnTo>
                  <a:cubicBezTo>
                    <a:pt x="119814" y="0"/>
                    <a:pt x="122506" y="1346"/>
                    <a:pt x="123853" y="4039"/>
                  </a:cubicBezTo>
                  <a:lnTo>
                    <a:pt x="131930" y="28271"/>
                  </a:lnTo>
                  <a:lnTo>
                    <a:pt x="146738" y="32309"/>
                  </a:lnTo>
                  <a:lnTo>
                    <a:pt x="172317" y="22886"/>
                  </a:lnTo>
                  <a:cubicBezTo>
                    <a:pt x="175009" y="21540"/>
                    <a:pt x="177702" y="22886"/>
                    <a:pt x="179048" y="24232"/>
                  </a:cubicBezTo>
                  <a:lnTo>
                    <a:pt x="189818" y="35002"/>
                  </a:lnTo>
                  <a:cubicBezTo>
                    <a:pt x="191164" y="36348"/>
                    <a:pt x="192510" y="39040"/>
                    <a:pt x="191164" y="41733"/>
                  </a:cubicBezTo>
                  <a:lnTo>
                    <a:pt x="181740" y="67311"/>
                  </a:lnTo>
                  <a:lnTo>
                    <a:pt x="185779" y="82120"/>
                  </a:lnTo>
                  <a:lnTo>
                    <a:pt x="210011" y="90197"/>
                  </a:lnTo>
                  <a:cubicBezTo>
                    <a:pt x="212703" y="91543"/>
                    <a:pt x="214050" y="94236"/>
                    <a:pt x="214050" y="96928"/>
                  </a:cubicBezTo>
                  <a:lnTo>
                    <a:pt x="214050" y="117121"/>
                  </a:lnTo>
                  <a:cubicBezTo>
                    <a:pt x="214050" y="119814"/>
                    <a:pt x="212703" y="122506"/>
                    <a:pt x="210011" y="123852"/>
                  </a:cubicBezTo>
                  <a:lnTo>
                    <a:pt x="185779" y="131930"/>
                  </a:lnTo>
                  <a:lnTo>
                    <a:pt x="180394" y="145392"/>
                  </a:lnTo>
                  <a:lnTo>
                    <a:pt x="189818" y="170970"/>
                  </a:lnTo>
                  <a:cubicBezTo>
                    <a:pt x="191164" y="173663"/>
                    <a:pt x="189818" y="176355"/>
                    <a:pt x="188471" y="177701"/>
                  </a:cubicBezTo>
                  <a:lnTo>
                    <a:pt x="177702" y="188471"/>
                  </a:lnTo>
                  <a:cubicBezTo>
                    <a:pt x="176355" y="189817"/>
                    <a:pt x="173663" y="191164"/>
                    <a:pt x="170970" y="189817"/>
                  </a:cubicBezTo>
                  <a:lnTo>
                    <a:pt x="145392" y="180394"/>
                  </a:lnTo>
                  <a:lnTo>
                    <a:pt x="131930" y="185779"/>
                  </a:lnTo>
                  <a:lnTo>
                    <a:pt x="123853" y="210011"/>
                  </a:lnTo>
                  <a:cubicBezTo>
                    <a:pt x="122506" y="212703"/>
                    <a:pt x="119814" y="214049"/>
                    <a:pt x="117121" y="214049"/>
                  </a:cubicBezTo>
                  <a:close/>
                  <a:moveTo>
                    <a:pt x="102313" y="200587"/>
                  </a:moveTo>
                  <a:lnTo>
                    <a:pt x="113083" y="200587"/>
                  </a:lnTo>
                  <a:lnTo>
                    <a:pt x="121160" y="177701"/>
                  </a:lnTo>
                  <a:cubicBezTo>
                    <a:pt x="122506" y="176355"/>
                    <a:pt x="123853" y="173663"/>
                    <a:pt x="125199" y="173663"/>
                  </a:cubicBezTo>
                  <a:lnTo>
                    <a:pt x="145392" y="166932"/>
                  </a:lnTo>
                  <a:cubicBezTo>
                    <a:pt x="146738" y="166932"/>
                    <a:pt x="148085" y="166932"/>
                    <a:pt x="149431" y="166932"/>
                  </a:cubicBezTo>
                  <a:lnTo>
                    <a:pt x="173663" y="176355"/>
                  </a:lnTo>
                  <a:lnTo>
                    <a:pt x="177702" y="172317"/>
                  </a:lnTo>
                  <a:lnTo>
                    <a:pt x="168278" y="148085"/>
                  </a:lnTo>
                  <a:cubicBezTo>
                    <a:pt x="168278" y="146738"/>
                    <a:pt x="168278" y="145392"/>
                    <a:pt x="168278" y="144046"/>
                  </a:cubicBezTo>
                  <a:lnTo>
                    <a:pt x="175009" y="123852"/>
                  </a:lnTo>
                  <a:cubicBezTo>
                    <a:pt x="175009" y="121160"/>
                    <a:pt x="177702" y="119814"/>
                    <a:pt x="179048" y="119814"/>
                  </a:cubicBezTo>
                  <a:lnTo>
                    <a:pt x="201934" y="111736"/>
                  </a:lnTo>
                  <a:lnTo>
                    <a:pt x="201934" y="100967"/>
                  </a:lnTo>
                  <a:lnTo>
                    <a:pt x="179048" y="92889"/>
                  </a:lnTo>
                  <a:cubicBezTo>
                    <a:pt x="177702" y="91543"/>
                    <a:pt x="175009" y="90197"/>
                    <a:pt x="175009" y="88851"/>
                  </a:cubicBezTo>
                  <a:lnTo>
                    <a:pt x="168278" y="68657"/>
                  </a:lnTo>
                  <a:cubicBezTo>
                    <a:pt x="168278" y="67311"/>
                    <a:pt x="168278" y="65965"/>
                    <a:pt x="168278" y="64619"/>
                  </a:cubicBezTo>
                  <a:lnTo>
                    <a:pt x="177702" y="40387"/>
                  </a:lnTo>
                  <a:lnTo>
                    <a:pt x="172317" y="37694"/>
                  </a:lnTo>
                  <a:lnTo>
                    <a:pt x="148085" y="47118"/>
                  </a:lnTo>
                  <a:cubicBezTo>
                    <a:pt x="146738" y="47118"/>
                    <a:pt x="145392" y="47118"/>
                    <a:pt x="144046" y="47118"/>
                  </a:cubicBezTo>
                  <a:lnTo>
                    <a:pt x="123853" y="40387"/>
                  </a:lnTo>
                  <a:cubicBezTo>
                    <a:pt x="121160" y="40387"/>
                    <a:pt x="119814" y="37694"/>
                    <a:pt x="119814" y="36348"/>
                  </a:cubicBezTo>
                  <a:lnTo>
                    <a:pt x="111737" y="13462"/>
                  </a:lnTo>
                  <a:lnTo>
                    <a:pt x="102313" y="13462"/>
                  </a:lnTo>
                  <a:lnTo>
                    <a:pt x="94236" y="36348"/>
                  </a:lnTo>
                  <a:cubicBezTo>
                    <a:pt x="92889" y="37694"/>
                    <a:pt x="91543" y="40387"/>
                    <a:pt x="90197" y="40387"/>
                  </a:cubicBezTo>
                  <a:lnTo>
                    <a:pt x="70004" y="47118"/>
                  </a:lnTo>
                  <a:cubicBezTo>
                    <a:pt x="68657" y="47118"/>
                    <a:pt x="67311" y="47118"/>
                    <a:pt x="65965" y="47118"/>
                  </a:cubicBezTo>
                  <a:lnTo>
                    <a:pt x="41733" y="37694"/>
                  </a:lnTo>
                  <a:lnTo>
                    <a:pt x="37694" y="41733"/>
                  </a:lnTo>
                  <a:lnTo>
                    <a:pt x="47118" y="65965"/>
                  </a:lnTo>
                  <a:cubicBezTo>
                    <a:pt x="47118" y="67311"/>
                    <a:pt x="47118" y="68657"/>
                    <a:pt x="47118" y="70004"/>
                  </a:cubicBezTo>
                  <a:lnTo>
                    <a:pt x="40387" y="90197"/>
                  </a:lnTo>
                  <a:cubicBezTo>
                    <a:pt x="40387" y="92889"/>
                    <a:pt x="37694" y="94236"/>
                    <a:pt x="36348" y="94236"/>
                  </a:cubicBezTo>
                  <a:lnTo>
                    <a:pt x="13462" y="102313"/>
                  </a:lnTo>
                  <a:lnTo>
                    <a:pt x="13462" y="113083"/>
                  </a:lnTo>
                  <a:lnTo>
                    <a:pt x="36348" y="121160"/>
                  </a:lnTo>
                  <a:cubicBezTo>
                    <a:pt x="37694" y="122506"/>
                    <a:pt x="40387" y="123852"/>
                    <a:pt x="40387" y="125199"/>
                  </a:cubicBezTo>
                  <a:lnTo>
                    <a:pt x="47118" y="145392"/>
                  </a:lnTo>
                  <a:cubicBezTo>
                    <a:pt x="47118" y="146738"/>
                    <a:pt x="47118" y="148085"/>
                    <a:pt x="47118" y="149431"/>
                  </a:cubicBezTo>
                  <a:lnTo>
                    <a:pt x="37694" y="172317"/>
                  </a:lnTo>
                  <a:lnTo>
                    <a:pt x="41733" y="176355"/>
                  </a:lnTo>
                  <a:lnTo>
                    <a:pt x="65965" y="166932"/>
                  </a:lnTo>
                  <a:cubicBezTo>
                    <a:pt x="67311" y="166932"/>
                    <a:pt x="68657" y="166932"/>
                    <a:pt x="70004" y="166932"/>
                  </a:cubicBezTo>
                  <a:lnTo>
                    <a:pt x="90197" y="173663"/>
                  </a:lnTo>
                  <a:cubicBezTo>
                    <a:pt x="92889" y="173663"/>
                    <a:pt x="94236" y="176355"/>
                    <a:pt x="94236" y="177701"/>
                  </a:cubicBezTo>
                  <a:lnTo>
                    <a:pt x="102313" y="200587"/>
                  </a:lnTo>
                  <a:close/>
                </a:path>
              </a:pathLst>
            </a:custGeom>
            <a:grpFill/>
            <a:ln w="13447" cap="flat">
              <a:solidFill>
                <a:srgbClr val="416CF9"/>
              </a:solidFill>
              <a:prstDash val="solid"/>
              <a:miter/>
            </a:ln>
          </p:spPr>
          <p:txBody>
            <a:bodyPr rtlCol="0" anchor="ctr"/>
            <a:lstStyle/>
            <a:p>
              <a:endParaRPr lang="en-US"/>
            </a:p>
          </p:txBody>
        </p:sp>
      </p:grpSp>
      <p:sp>
        <p:nvSpPr>
          <p:cNvPr id="84" name="TextBox 83">
            <a:extLst>
              <a:ext uri="{FF2B5EF4-FFF2-40B4-BE49-F238E27FC236}">
                <a16:creationId xmlns:a16="http://schemas.microsoft.com/office/drawing/2014/main" id="{9446EC11-1D07-C4B3-5CC7-27AB489A45FD}"/>
              </a:ext>
            </a:extLst>
          </p:cNvPr>
          <p:cNvSpPr txBox="1"/>
          <p:nvPr/>
        </p:nvSpPr>
        <p:spPr>
          <a:xfrm>
            <a:off x="6064606" y="12051155"/>
            <a:ext cx="1959104" cy="4033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R="57150" algn="l" defTabSz="1282700" rtl="0" fontAlgn="auto" latinLnBrk="0" hangingPunct="0">
              <a:lnSpc>
                <a:spcPct val="140000"/>
              </a:lnSpc>
              <a:spcBef>
                <a:spcPts val="0"/>
              </a:spcBef>
              <a:spcAft>
                <a:spcPts val="0"/>
              </a:spcAft>
              <a:buClrTx/>
              <a:buSzTx/>
              <a:tabLst/>
            </a:pPr>
            <a:r>
              <a:rPr lang="de-DE" sz="1600"/>
              <a:t>Data </a:t>
            </a:r>
            <a:r>
              <a:rPr lang="de-DE" sz="1600" err="1"/>
              <a:t>engineer</a:t>
            </a:r>
            <a:r>
              <a:rPr lang="de-DE" sz="1600"/>
              <a:t> (1) </a:t>
            </a:r>
          </a:p>
        </p:txBody>
      </p:sp>
      <p:grpSp>
        <p:nvGrpSpPr>
          <p:cNvPr id="32" name="Graphic 7">
            <a:extLst>
              <a:ext uri="{FF2B5EF4-FFF2-40B4-BE49-F238E27FC236}">
                <a16:creationId xmlns:a16="http://schemas.microsoft.com/office/drawing/2014/main" id="{2D7DB328-D57B-7A67-58B6-F83DC26637A5}"/>
              </a:ext>
            </a:extLst>
          </p:cNvPr>
          <p:cNvGrpSpPr>
            <a:grpSpLocks noChangeAspect="1"/>
          </p:cNvGrpSpPr>
          <p:nvPr/>
        </p:nvGrpSpPr>
        <p:grpSpPr>
          <a:xfrm>
            <a:off x="2260071" y="11500418"/>
            <a:ext cx="527361" cy="540000"/>
            <a:chOff x="5870452" y="3144979"/>
            <a:chExt cx="449639" cy="460408"/>
          </a:xfrm>
          <a:solidFill>
            <a:srgbClr val="0E176D"/>
          </a:solidFill>
        </p:grpSpPr>
        <p:sp>
          <p:nvSpPr>
            <p:cNvPr id="40" name="Freeform: Shape 39">
              <a:extLst>
                <a:ext uri="{FF2B5EF4-FFF2-40B4-BE49-F238E27FC236}">
                  <a16:creationId xmlns:a16="http://schemas.microsoft.com/office/drawing/2014/main" id="{91D79168-C6DB-0A31-E504-345B11FE0028}"/>
                </a:ext>
              </a:extLst>
            </p:cNvPr>
            <p:cNvSpPr/>
            <p:nvPr/>
          </p:nvSpPr>
          <p:spPr>
            <a:xfrm>
              <a:off x="5957957" y="3144979"/>
              <a:ext cx="201934" cy="201933"/>
            </a:xfrm>
            <a:custGeom>
              <a:avLst/>
              <a:gdLst>
                <a:gd name="connsiteX0" fmla="*/ 100967 w 201933"/>
                <a:gd name="connsiteY0" fmla="*/ 201933 h 201933"/>
                <a:gd name="connsiteX1" fmla="*/ 0 w 201933"/>
                <a:gd name="connsiteY1" fmla="*/ 100967 h 201933"/>
                <a:gd name="connsiteX2" fmla="*/ 100967 w 201933"/>
                <a:gd name="connsiteY2" fmla="*/ 0 h 201933"/>
                <a:gd name="connsiteX3" fmla="*/ 201934 w 201933"/>
                <a:gd name="connsiteY3" fmla="*/ 100967 h 201933"/>
                <a:gd name="connsiteX4" fmla="*/ 100967 w 201933"/>
                <a:gd name="connsiteY4" fmla="*/ 201933 h 201933"/>
                <a:gd name="connsiteX5" fmla="*/ 100967 w 201933"/>
                <a:gd name="connsiteY5" fmla="*/ 13462 h 201933"/>
                <a:gd name="connsiteX6" fmla="*/ 13462 w 201933"/>
                <a:gd name="connsiteY6" fmla="*/ 100967 h 201933"/>
                <a:gd name="connsiteX7" fmla="*/ 100967 w 201933"/>
                <a:gd name="connsiteY7" fmla="*/ 188471 h 201933"/>
                <a:gd name="connsiteX8" fmla="*/ 188471 w 201933"/>
                <a:gd name="connsiteY8" fmla="*/ 100967 h 201933"/>
                <a:gd name="connsiteX9" fmla="*/ 100967 w 201933"/>
                <a:gd name="connsiteY9" fmla="*/ 13462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933" h="201933">
                  <a:moveTo>
                    <a:pt x="100967" y="201933"/>
                  </a:moveTo>
                  <a:cubicBezTo>
                    <a:pt x="45772" y="201933"/>
                    <a:pt x="0" y="156162"/>
                    <a:pt x="0" y="100967"/>
                  </a:cubicBezTo>
                  <a:cubicBezTo>
                    <a:pt x="0" y="45772"/>
                    <a:pt x="45772" y="0"/>
                    <a:pt x="100967" y="0"/>
                  </a:cubicBezTo>
                  <a:cubicBezTo>
                    <a:pt x="156162" y="0"/>
                    <a:pt x="201934" y="45772"/>
                    <a:pt x="201934" y="100967"/>
                  </a:cubicBezTo>
                  <a:cubicBezTo>
                    <a:pt x="201934" y="156162"/>
                    <a:pt x="156162" y="201933"/>
                    <a:pt x="100967" y="201933"/>
                  </a:cubicBezTo>
                  <a:close/>
                  <a:moveTo>
                    <a:pt x="100967" y="13462"/>
                  </a:moveTo>
                  <a:cubicBezTo>
                    <a:pt x="52503" y="13462"/>
                    <a:pt x="13462" y="52503"/>
                    <a:pt x="13462" y="100967"/>
                  </a:cubicBezTo>
                  <a:cubicBezTo>
                    <a:pt x="13462" y="149431"/>
                    <a:pt x="52503" y="188471"/>
                    <a:pt x="100967" y="188471"/>
                  </a:cubicBezTo>
                  <a:cubicBezTo>
                    <a:pt x="149431" y="188471"/>
                    <a:pt x="188471" y="149431"/>
                    <a:pt x="188471" y="100967"/>
                  </a:cubicBezTo>
                  <a:cubicBezTo>
                    <a:pt x="188471" y="52503"/>
                    <a:pt x="149431" y="13462"/>
                    <a:pt x="100967" y="13462"/>
                  </a:cubicBezTo>
                  <a:close/>
                </a:path>
              </a:pathLst>
            </a:custGeom>
            <a:grpFill/>
            <a:ln w="13447" cap="flat">
              <a:solidFill>
                <a:srgbClr val="416CF9"/>
              </a:solid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D0F90EDB-32B0-0A01-F553-78442145986A}"/>
                </a:ext>
              </a:extLst>
            </p:cNvPr>
            <p:cNvSpPr/>
            <p:nvPr/>
          </p:nvSpPr>
          <p:spPr>
            <a:xfrm>
              <a:off x="5870452" y="3368452"/>
              <a:ext cx="309631" cy="215396"/>
            </a:xfrm>
            <a:custGeom>
              <a:avLst/>
              <a:gdLst>
                <a:gd name="connsiteX0" fmla="*/ 249051 w 309631"/>
                <a:gd name="connsiteY0" fmla="*/ 220781 h 215395"/>
                <a:gd name="connsiteX1" fmla="*/ 41733 w 309631"/>
                <a:gd name="connsiteY1" fmla="*/ 220781 h 215395"/>
                <a:gd name="connsiteX2" fmla="*/ 0 w 309631"/>
                <a:gd name="connsiteY2" fmla="*/ 180394 h 215395"/>
                <a:gd name="connsiteX3" fmla="*/ 0 w 309631"/>
                <a:gd name="connsiteY3" fmla="*/ 121160 h 215395"/>
                <a:gd name="connsiteX4" fmla="*/ 121160 w 309631"/>
                <a:gd name="connsiteY4" fmla="*/ 0 h 215395"/>
                <a:gd name="connsiteX5" fmla="*/ 255782 w 309631"/>
                <a:gd name="connsiteY5" fmla="*/ 0 h 215395"/>
                <a:gd name="connsiteX6" fmla="*/ 316363 w 309631"/>
                <a:gd name="connsiteY6" fmla="*/ 16155 h 215395"/>
                <a:gd name="connsiteX7" fmla="*/ 319055 w 309631"/>
                <a:gd name="connsiteY7" fmla="*/ 25578 h 215395"/>
                <a:gd name="connsiteX8" fmla="*/ 309631 w 309631"/>
                <a:gd name="connsiteY8" fmla="*/ 28271 h 215395"/>
                <a:gd name="connsiteX9" fmla="*/ 255782 w 309631"/>
                <a:gd name="connsiteY9" fmla="*/ 13462 h 215395"/>
                <a:gd name="connsiteX10" fmla="*/ 121160 w 309631"/>
                <a:gd name="connsiteY10" fmla="*/ 13462 h 215395"/>
                <a:gd name="connsiteX11" fmla="*/ 13462 w 309631"/>
                <a:gd name="connsiteY11" fmla="*/ 121160 h 215395"/>
                <a:gd name="connsiteX12" fmla="*/ 13462 w 309631"/>
                <a:gd name="connsiteY12" fmla="*/ 180394 h 215395"/>
                <a:gd name="connsiteX13" fmla="*/ 41733 w 309631"/>
                <a:gd name="connsiteY13" fmla="*/ 207318 h 215395"/>
                <a:gd name="connsiteX14" fmla="*/ 249051 w 309631"/>
                <a:gd name="connsiteY14" fmla="*/ 207318 h 215395"/>
                <a:gd name="connsiteX15" fmla="*/ 255782 w 309631"/>
                <a:gd name="connsiteY15" fmla="*/ 214049 h 215395"/>
                <a:gd name="connsiteX16" fmla="*/ 249051 w 309631"/>
                <a:gd name="connsiteY16" fmla="*/ 220781 h 215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9631" h="215395">
                  <a:moveTo>
                    <a:pt x="249051" y="220781"/>
                  </a:moveTo>
                  <a:lnTo>
                    <a:pt x="41733" y="220781"/>
                  </a:lnTo>
                  <a:cubicBezTo>
                    <a:pt x="18847" y="220781"/>
                    <a:pt x="0" y="203280"/>
                    <a:pt x="0" y="180394"/>
                  </a:cubicBezTo>
                  <a:lnTo>
                    <a:pt x="0" y="121160"/>
                  </a:lnTo>
                  <a:cubicBezTo>
                    <a:pt x="0" y="55195"/>
                    <a:pt x="53849" y="0"/>
                    <a:pt x="121160" y="0"/>
                  </a:cubicBezTo>
                  <a:lnTo>
                    <a:pt x="255782" y="0"/>
                  </a:lnTo>
                  <a:cubicBezTo>
                    <a:pt x="275976" y="0"/>
                    <a:pt x="297515" y="5385"/>
                    <a:pt x="316363" y="16155"/>
                  </a:cubicBezTo>
                  <a:cubicBezTo>
                    <a:pt x="319055" y="17501"/>
                    <a:pt x="320401" y="21540"/>
                    <a:pt x="319055" y="25578"/>
                  </a:cubicBezTo>
                  <a:cubicBezTo>
                    <a:pt x="317709" y="28271"/>
                    <a:pt x="313670" y="29617"/>
                    <a:pt x="309631" y="28271"/>
                  </a:cubicBezTo>
                  <a:cubicBezTo>
                    <a:pt x="292131" y="18847"/>
                    <a:pt x="274630" y="13462"/>
                    <a:pt x="255782" y="13462"/>
                  </a:cubicBezTo>
                  <a:lnTo>
                    <a:pt x="121160" y="13462"/>
                  </a:lnTo>
                  <a:cubicBezTo>
                    <a:pt x="61926" y="13462"/>
                    <a:pt x="13462" y="61926"/>
                    <a:pt x="13462" y="121160"/>
                  </a:cubicBezTo>
                  <a:lnTo>
                    <a:pt x="13462" y="180394"/>
                  </a:lnTo>
                  <a:cubicBezTo>
                    <a:pt x="13462" y="195202"/>
                    <a:pt x="25578" y="207318"/>
                    <a:pt x="41733" y="207318"/>
                  </a:cubicBezTo>
                  <a:lnTo>
                    <a:pt x="249051" y="207318"/>
                  </a:lnTo>
                  <a:cubicBezTo>
                    <a:pt x="253090" y="207318"/>
                    <a:pt x="255782" y="210011"/>
                    <a:pt x="255782" y="214049"/>
                  </a:cubicBezTo>
                  <a:cubicBezTo>
                    <a:pt x="255782" y="218088"/>
                    <a:pt x="253090" y="220781"/>
                    <a:pt x="249051" y="220781"/>
                  </a:cubicBezTo>
                  <a:close/>
                </a:path>
              </a:pathLst>
            </a:custGeom>
            <a:grpFill/>
            <a:ln w="13447" cap="flat">
              <a:solidFill>
                <a:srgbClr val="416CF9"/>
              </a:solid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88970FA-1A13-40EE-D983-F99DB10F8043}"/>
                </a:ext>
              </a:extLst>
            </p:cNvPr>
            <p:cNvSpPr/>
            <p:nvPr/>
          </p:nvSpPr>
          <p:spPr>
            <a:xfrm>
              <a:off x="6189507" y="3476150"/>
              <a:ext cx="67311" cy="67311"/>
            </a:xfrm>
            <a:custGeom>
              <a:avLst/>
              <a:gdLst>
                <a:gd name="connsiteX0" fmla="*/ 35002 w 67311"/>
                <a:gd name="connsiteY0" fmla="*/ 70004 h 67311"/>
                <a:gd name="connsiteX1" fmla="*/ 0 w 67311"/>
                <a:gd name="connsiteY1" fmla="*/ 35002 h 67311"/>
                <a:gd name="connsiteX2" fmla="*/ 35002 w 67311"/>
                <a:gd name="connsiteY2" fmla="*/ 0 h 67311"/>
                <a:gd name="connsiteX3" fmla="*/ 70004 w 67311"/>
                <a:gd name="connsiteY3" fmla="*/ 35002 h 67311"/>
                <a:gd name="connsiteX4" fmla="*/ 35002 w 67311"/>
                <a:gd name="connsiteY4" fmla="*/ 70004 h 67311"/>
                <a:gd name="connsiteX5" fmla="*/ 35002 w 67311"/>
                <a:gd name="connsiteY5" fmla="*/ 12116 h 67311"/>
                <a:gd name="connsiteX6" fmla="*/ 13462 w 67311"/>
                <a:gd name="connsiteY6" fmla="*/ 33656 h 67311"/>
                <a:gd name="connsiteX7" fmla="*/ 35002 w 67311"/>
                <a:gd name="connsiteY7" fmla="*/ 55195 h 67311"/>
                <a:gd name="connsiteX8" fmla="*/ 57888 w 67311"/>
                <a:gd name="connsiteY8" fmla="*/ 33656 h 67311"/>
                <a:gd name="connsiteX9" fmla="*/ 35002 w 67311"/>
                <a:gd name="connsiteY9" fmla="*/ 12116 h 6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11" h="67311">
                  <a:moveTo>
                    <a:pt x="35002" y="70004"/>
                  </a:moveTo>
                  <a:cubicBezTo>
                    <a:pt x="14808" y="70004"/>
                    <a:pt x="0" y="53849"/>
                    <a:pt x="0" y="35002"/>
                  </a:cubicBezTo>
                  <a:cubicBezTo>
                    <a:pt x="0" y="16155"/>
                    <a:pt x="16155" y="0"/>
                    <a:pt x="35002" y="0"/>
                  </a:cubicBezTo>
                  <a:cubicBezTo>
                    <a:pt x="55195" y="0"/>
                    <a:pt x="70004" y="16155"/>
                    <a:pt x="70004" y="35002"/>
                  </a:cubicBezTo>
                  <a:cubicBezTo>
                    <a:pt x="70004" y="53849"/>
                    <a:pt x="55195" y="70004"/>
                    <a:pt x="35002" y="70004"/>
                  </a:cubicBezTo>
                  <a:close/>
                  <a:moveTo>
                    <a:pt x="35002" y="12116"/>
                  </a:moveTo>
                  <a:cubicBezTo>
                    <a:pt x="22886" y="12116"/>
                    <a:pt x="13462" y="21540"/>
                    <a:pt x="13462" y="33656"/>
                  </a:cubicBezTo>
                  <a:cubicBezTo>
                    <a:pt x="13462" y="45772"/>
                    <a:pt x="22886" y="55195"/>
                    <a:pt x="35002" y="55195"/>
                  </a:cubicBezTo>
                  <a:cubicBezTo>
                    <a:pt x="47118" y="55195"/>
                    <a:pt x="57888" y="45772"/>
                    <a:pt x="57888" y="33656"/>
                  </a:cubicBezTo>
                  <a:cubicBezTo>
                    <a:pt x="57888" y="21540"/>
                    <a:pt x="47118" y="12116"/>
                    <a:pt x="35002" y="12116"/>
                  </a:cubicBezTo>
                  <a:close/>
                </a:path>
              </a:pathLst>
            </a:custGeom>
            <a:grpFill/>
            <a:ln w="13447" cap="flat">
              <a:solidFill>
                <a:srgbClr val="416CF9"/>
              </a:solid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E2CB22FE-026F-BA1D-7A75-0C805555BD62}"/>
                </a:ext>
              </a:extLst>
            </p:cNvPr>
            <p:cNvSpPr/>
            <p:nvPr/>
          </p:nvSpPr>
          <p:spPr>
            <a:xfrm>
              <a:off x="6118157" y="3403454"/>
              <a:ext cx="201934" cy="201933"/>
            </a:xfrm>
            <a:custGeom>
              <a:avLst/>
              <a:gdLst>
                <a:gd name="connsiteX0" fmla="*/ 117121 w 201933"/>
                <a:gd name="connsiteY0" fmla="*/ 214049 h 201933"/>
                <a:gd name="connsiteX1" fmla="*/ 96928 w 201933"/>
                <a:gd name="connsiteY1" fmla="*/ 214049 h 201933"/>
                <a:gd name="connsiteX2" fmla="*/ 90197 w 201933"/>
                <a:gd name="connsiteY2" fmla="*/ 210011 h 201933"/>
                <a:gd name="connsiteX3" fmla="*/ 82120 w 201933"/>
                <a:gd name="connsiteY3" fmla="*/ 185779 h 201933"/>
                <a:gd name="connsiteX4" fmla="*/ 67311 w 201933"/>
                <a:gd name="connsiteY4" fmla="*/ 181740 h 201933"/>
                <a:gd name="connsiteX5" fmla="*/ 41733 w 201933"/>
                <a:gd name="connsiteY5" fmla="*/ 191164 h 201933"/>
                <a:gd name="connsiteX6" fmla="*/ 35002 w 201933"/>
                <a:gd name="connsiteY6" fmla="*/ 189817 h 201933"/>
                <a:gd name="connsiteX7" fmla="*/ 24232 w 201933"/>
                <a:gd name="connsiteY7" fmla="*/ 179048 h 201933"/>
                <a:gd name="connsiteX8" fmla="*/ 22886 w 201933"/>
                <a:gd name="connsiteY8" fmla="*/ 172317 h 201933"/>
                <a:gd name="connsiteX9" fmla="*/ 32309 w 201933"/>
                <a:gd name="connsiteY9" fmla="*/ 146738 h 201933"/>
                <a:gd name="connsiteX10" fmla="*/ 28271 w 201933"/>
                <a:gd name="connsiteY10" fmla="*/ 131930 h 201933"/>
                <a:gd name="connsiteX11" fmla="*/ 4039 w 201933"/>
                <a:gd name="connsiteY11" fmla="*/ 123852 h 201933"/>
                <a:gd name="connsiteX12" fmla="*/ 0 w 201933"/>
                <a:gd name="connsiteY12" fmla="*/ 117121 h 201933"/>
                <a:gd name="connsiteX13" fmla="*/ 0 w 201933"/>
                <a:gd name="connsiteY13" fmla="*/ 96928 h 201933"/>
                <a:gd name="connsiteX14" fmla="*/ 4039 w 201933"/>
                <a:gd name="connsiteY14" fmla="*/ 90197 h 201933"/>
                <a:gd name="connsiteX15" fmla="*/ 28271 w 201933"/>
                <a:gd name="connsiteY15" fmla="*/ 82120 h 201933"/>
                <a:gd name="connsiteX16" fmla="*/ 32309 w 201933"/>
                <a:gd name="connsiteY16" fmla="*/ 67311 h 201933"/>
                <a:gd name="connsiteX17" fmla="*/ 22886 w 201933"/>
                <a:gd name="connsiteY17" fmla="*/ 41733 h 201933"/>
                <a:gd name="connsiteX18" fmla="*/ 24232 w 201933"/>
                <a:gd name="connsiteY18" fmla="*/ 35002 h 201933"/>
                <a:gd name="connsiteX19" fmla="*/ 35002 w 201933"/>
                <a:gd name="connsiteY19" fmla="*/ 24232 h 201933"/>
                <a:gd name="connsiteX20" fmla="*/ 41733 w 201933"/>
                <a:gd name="connsiteY20" fmla="*/ 22886 h 201933"/>
                <a:gd name="connsiteX21" fmla="*/ 67311 w 201933"/>
                <a:gd name="connsiteY21" fmla="*/ 32309 h 201933"/>
                <a:gd name="connsiteX22" fmla="*/ 82120 w 201933"/>
                <a:gd name="connsiteY22" fmla="*/ 28271 h 201933"/>
                <a:gd name="connsiteX23" fmla="*/ 90197 w 201933"/>
                <a:gd name="connsiteY23" fmla="*/ 4039 h 201933"/>
                <a:gd name="connsiteX24" fmla="*/ 96928 w 201933"/>
                <a:gd name="connsiteY24" fmla="*/ 0 h 201933"/>
                <a:gd name="connsiteX25" fmla="*/ 117121 w 201933"/>
                <a:gd name="connsiteY25" fmla="*/ 0 h 201933"/>
                <a:gd name="connsiteX26" fmla="*/ 123853 w 201933"/>
                <a:gd name="connsiteY26" fmla="*/ 4039 h 201933"/>
                <a:gd name="connsiteX27" fmla="*/ 131930 w 201933"/>
                <a:gd name="connsiteY27" fmla="*/ 28271 h 201933"/>
                <a:gd name="connsiteX28" fmla="*/ 146738 w 201933"/>
                <a:gd name="connsiteY28" fmla="*/ 32309 h 201933"/>
                <a:gd name="connsiteX29" fmla="*/ 172317 w 201933"/>
                <a:gd name="connsiteY29" fmla="*/ 22886 h 201933"/>
                <a:gd name="connsiteX30" fmla="*/ 179048 w 201933"/>
                <a:gd name="connsiteY30" fmla="*/ 24232 h 201933"/>
                <a:gd name="connsiteX31" fmla="*/ 189818 w 201933"/>
                <a:gd name="connsiteY31" fmla="*/ 35002 h 201933"/>
                <a:gd name="connsiteX32" fmla="*/ 191164 w 201933"/>
                <a:gd name="connsiteY32" fmla="*/ 41733 h 201933"/>
                <a:gd name="connsiteX33" fmla="*/ 181740 w 201933"/>
                <a:gd name="connsiteY33" fmla="*/ 67311 h 201933"/>
                <a:gd name="connsiteX34" fmla="*/ 185779 w 201933"/>
                <a:gd name="connsiteY34" fmla="*/ 82120 h 201933"/>
                <a:gd name="connsiteX35" fmla="*/ 210011 w 201933"/>
                <a:gd name="connsiteY35" fmla="*/ 90197 h 201933"/>
                <a:gd name="connsiteX36" fmla="*/ 214050 w 201933"/>
                <a:gd name="connsiteY36" fmla="*/ 96928 h 201933"/>
                <a:gd name="connsiteX37" fmla="*/ 214050 w 201933"/>
                <a:gd name="connsiteY37" fmla="*/ 117121 h 201933"/>
                <a:gd name="connsiteX38" fmla="*/ 210011 w 201933"/>
                <a:gd name="connsiteY38" fmla="*/ 123852 h 201933"/>
                <a:gd name="connsiteX39" fmla="*/ 185779 w 201933"/>
                <a:gd name="connsiteY39" fmla="*/ 131930 h 201933"/>
                <a:gd name="connsiteX40" fmla="*/ 180394 w 201933"/>
                <a:gd name="connsiteY40" fmla="*/ 145392 h 201933"/>
                <a:gd name="connsiteX41" fmla="*/ 189818 w 201933"/>
                <a:gd name="connsiteY41" fmla="*/ 170970 h 201933"/>
                <a:gd name="connsiteX42" fmla="*/ 188471 w 201933"/>
                <a:gd name="connsiteY42" fmla="*/ 177701 h 201933"/>
                <a:gd name="connsiteX43" fmla="*/ 177702 w 201933"/>
                <a:gd name="connsiteY43" fmla="*/ 188471 h 201933"/>
                <a:gd name="connsiteX44" fmla="*/ 170970 w 201933"/>
                <a:gd name="connsiteY44" fmla="*/ 189817 h 201933"/>
                <a:gd name="connsiteX45" fmla="*/ 145392 w 201933"/>
                <a:gd name="connsiteY45" fmla="*/ 180394 h 201933"/>
                <a:gd name="connsiteX46" fmla="*/ 131930 w 201933"/>
                <a:gd name="connsiteY46" fmla="*/ 185779 h 201933"/>
                <a:gd name="connsiteX47" fmla="*/ 123853 w 201933"/>
                <a:gd name="connsiteY47" fmla="*/ 210011 h 201933"/>
                <a:gd name="connsiteX48" fmla="*/ 117121 w 201933"/>
                <a:gd name="connsiteY48" fmla="*/ 214049 h 201933"/>
                <a:gd name="connsiteX49" fmla="*/ 102313 w 201933"/>
                <a:gd name="connsiteY49" fmla="*/ 200587 h 201933"/>
                <a:gd name="connsiteX50" fmla="*/ 113083 w 201933"/>
                <a:gd name="connsiteY50" fmla="*/ 200587 h 201933"/>
                <a:gd name="connsiteX51" fmla="*/ 121160 w 201933"/>
                <a:gd name="connsiteY51" fmla="*/ 177701 h 201933"/>
                <a:gd name="connsiteX52" fmla="*/ 125199 w 201933"/>
                <a:gd name="connsiteY52" fmla="*/ 173663 h 201933"/>
                <a:gd name="connsiteX53" fmla="*/ 145392 w 201933"/>
                <a:gd name="connsiteY53" fmla="*/ 166932 h 201933"/>
                <a:gd name="connsiteX54" fmla="*/ 149431 w 201933"/>
                <a:gd name="connsiteY54" fmla="*/ 166932 h 201933"/>
                <a:gd name="connsiteX55" fmla="*/ 173663 w 201933"/>
                <a:gd name="connsiteY55" fmla="*/ 176355 h 201933"/>
                <a:gd name="connsiteX56" fmla="*/ 177702 w 201933"/>
                <a:gd name="connsiteY56" fmla="*/ 172317 h 201933"/>
                <a:gd name="connsiteX57" fmla="*/ 168278 w 201933"/>
                <a:gd name="connsiteY57" fmla="*/ 148085 h 201933"/>
                <a:gd name="connsiteX58" fmla="*/ 168278 w 201933"/>
                <a:gd name="connsiteY58" fmla="*/ 144046 h 201933"/>
                <a:gd name="connsiteX59" fmla="*/ 175009 w 201933"/>
                <a:gd name="connsiteY59" fmla="*/ 123852 h 201933"/>
                <a:gd name="connsiteX60" fmla="*/ 179048 w 201933"/>
                <a:gd name="connsiteY60" fmla="*/ 119814 h 201933"/>
                <a:gd name="connsiteX61" fmla="*/ 201934 w 201933"/>
                <a:gd name="connsiteY61" fmla="*/ 111736 h 201933"/>
                <a:gd name="connsiteX62" fmla="*/ 201934 w 201933"/>
                <a:gd name="connsiteY62" fmla="*/ 100967 h 201933"/>
                <a:gd name="connsiteX63" fmla="*/ 179048 w 201933"/>
                <a:gd name="connsiteY63" fmla="*/ 92889 h 201933"/>
                <a:gd name="connsiteX64" fmla="*/ 175009 w 201933"/>
                <a:gd name="connsiteY64" fmla="*/ 88851 h 201933"/>
                <a:gd name="connsiteX65" fmla="*/ 168278 w 201933"/>
                <a:gd name="connsiteY65" fmla="*/ 68657 h 201933"/>
                <a:gd name="connsiteX66" fmla="*/ 168278 w 201933"/>
                <a:gd name="connsiteY66" fmla="*/ 64619 h 201933"/>
                <a:gd name="connsiteX67" fmla="*/ 177702 w 201933"/>
                <a:gd name="connsiteY67" fmla="*/ 40387 h 201933"/>
                <a:gd name="connsiteX68" fmla="*/ 172317 w 201933"/>
                <a:gd name="connsiteY68" fmla="*/ 37694 h 201933"/>
                <a:gd name="connsiteX69" fmla="*/ 148085 w 201933"/>
                <a:gd name="connsiteY69" fmla="*/ 47118 h 201933"/>
                <a:gd name="connsiteX70" fmla="*/ 144046 w 201933"/>
                <a:gd name="connsiteY70" fmla="*/ 47118 h 201933"/>
                <a:gd name="connsiteX71" fmla="*/ 123853 w 201933"/>
                <a:gd name="connsiteY71" fmla="*/ 40387 h 201933"/>
                <a:gd name="connsiteX72" fmla="*/ 119814 w 201933"/>
                <a:gd name="connsiteY72" fmla="*/ 36348 h 201933"/>
                <a:gd name="connsiteX73" fmla="*/ 111737 w 201933"/>
                <a:gd name="connsiteY73" fmla="*/ 13462 h 201933"/>
                <a:gd name="connsiteX74" fmla="*/ 102313 w 201933"/>
                <a:gd name="connsiteY74" fmla="*/ 13462 h 201933"/>
                <a:gd name="connsiteX75" fmla="*/ 94236 w 201933"/>
                <a:gd name="connsiteY75" fmla="*/ 36348 h 201933"/>
                <a:gd name="connsiteX76" fmla="*/ 90197 w 201933"/>
                <a:gd name="connsiteY76" fmla="*/ 40387 h 201933"/>
                <a:gd name="connsiteX77" fmla="*/ 70004 w 201933"/>
                <a:gd name="connsiteY77" fmla="*/ 47118 h 201933"/>
                <a:gd name="connsiteX78" fmla="*/ 65965 w 201933"/>
                <a:gd name="connsiteY78" fmla="*/ 47118 h 201933"/>
                <a:gd name="connsiteX79" fmla="*/ 41733 w 201933"/>
                <a:gd name="connsiteY79" fmla="*/ 37694 h 201933"/>
                <a:gd name="connsiteX80" fmla="*/ 37694 w 201933"/>
                <a:gd name="connsiteY80" fmla="*/ 41733 h 201933"/>
                <a:gd name="connsiteX81" fmla="*/ 47118 w 201933"/>
                <a:gd name="connsiteY81" fmla="*/ 65965 h 201933"/>
                <a:gd name="connsiteX82" fmla="*/ 47118 w 201933"/>
                <a:gd name="connsiteY82" fmla="*/ 70004 h 201933"/>
                <a:gd name="connsiteX83" fmla="*/ 40387 w 201933"/>
                <a:gd name="connsiteY83" fmla="*/ 90197 h 201933"/>
                <a:gd name="connsiteX84" fmla="*/ 36348 w 201933"/>
                <a:gd name="connsiteY84" fmla="*/ 94236 h 201933"/>
                <a:gd name="connsiteX85" fmla="*/ 13462 w 201933"/>
                <a:gd name="connsiteY85" fmla="*/ 102313 h 201933"/>
                <a:gd name="connsiteX86" fmla="*/ 13462 w 201933"/>
                <a:gd name="connsiteY86" fmla="*/ 113083 h 201933"/>
                <a:gd name="connsiteX87" fmla="*/ 36348 w 201933"/>
                <a:gd name="connsiteY87" fmla="*/ 121160 h 201933"/>
                <a:gd name="connsiteX88" fmla="*/ 40387 w 201933"/>
                <a:gd name="connsiteY88" fmla="*/ 125199 h 201933"/>
                <a:gd name="connsiteX89" fmla="*/ 47118 w 201933"/>
                <a:gd name="connsiteY89" fmla="*/ 145392 h 201933"/>
                <a:gd name="connsiteX90" fmla="*/ 47118 w 201933"/>
                <a:gd name="connsiteY90" fmla="*/ 149431 h 201933"/>
                <a:gd name="connsiteX91" fmla="*/ 37694 w 201933"/>
                <a:gd name="connsiteY91" fmla="*/ 172317 h 201933"/>
                <a:gd name="connsiteX92" fmla="*/ 41733 w 201933"/>
                <a:gd name="connsiteY92" fmla="*/ 176355 h 201933"/>
                <a:gd name="connsiteX93" fmla="*/ 65965 w 201933"/>
                <a:gd name="connsiteY93" fmla="*/ 166932 h 201933"/>
                <a:gd name="connsiteX94" fmla="*/ 70004 w 201933"/>
                <a:gd name="connsiteY94" fmla="*/ 166932 h 201933"/>
                <a:gd name="connsiteX95" fmla="*/ 90197 w 201933"/>
                <a:gd name="connsiteY95" fmla="*/ 173663 h 201933"/>
                <a:gd name="connsiteX96" fmla="*/ 94236 w 201933"/>
                <a:gd name="connsiteY96" fmla="*/ 177701 h 201933"/>
                <a:gd name="connsiteX97" fmla="*/ 102313 w 201933"/>
                <a:gd name="connsiteY97" fmla="*/ 200587 h 2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01933" h="201933">
                  <a:moveTo>
                    <a:pt x="117121" y="214049"/>
                  </a:moveTo>
                  <a:lnTo>
                    <a:pt x="96928" y="214049"/>
                  </a:lnTo>
                  <a:cubicBezTo>
                    <a:pt x="94236" y="214049"/>
                    <a:pt x="91543" y="212703"/>
                    <a:pt x="90197" y="210011"/>
                  </a:cubicBezTo>
                  <a:lnTo>
                    <a:pt x="82120" y="185779"/>
                  </a:lnTo>
                  <a:lnTo>
                    <a:pt x="67311" y="181740"/>
                  </a:lnTo>
                  <a:lnTo>
                    <a:pt x="41733" y="191164"/>
                  </a:lnTo>
                  <a:cubicBezTo>
                    <a:pt x="39040" y="192510"/>
                    <a:pt x="36348" y="191164"/>
                    <a:pt x="35002" y="189817"/>
                  </a:cubicBezTo>
                  <a:lnTo>
                    <a:pt x="24232" y="179048"/>
                  </a:lnTo>
                  <a:cubicBezTo>
                    <a:pt x="22886" y="177701"/>
                    <a:pt x="21540" y="175009"/>
                    <a:pt x="22886" y="172317"/>
                  </a:cubicBezTo>
                  <a:lnTo>
                    <a:pt x="32309" y="146738"/>
                  </a:lnTo>
                  <a:lnTo>
                    <a:pt x="28271" y="131930"/>
                  </a:lnTo>
                  <a:lnTo>
                    <a:pt x="4039" y="123852"/>
                  </a:lnTo>
                  <a:cubicBezTo>
                    <a:pt x="1346" y="122506"/>
                    <a:pt x="0" y="119814"/>
                    <a:pt x="0" y="117121"/>
                  </a:cubicBezTo>
                  <a:lnTo>
                    <a:pt x="0" y="96928"/>
                  </a:lnTo>
                  <a:cubicBezTo>
                    <a:pt x="0" y="94236"/>
                    <a:pt x="1346" y="91543"/>
                    <a:pt x="4039" y="90197"/>
                  </a:cubicBezTo>
                  <a:lnTo>
                    <a:pt x="28271" y="82120"/>
                  </a:lnTo>
                  <a:lnTo>
                    <a:pt x="32309" y="67311"/>
                  </a:lnTo>
                  <a:lnTo>
                    <a:pt x="22886" y="41733"/>
                  </a:lnTo>
                  <a:cubicBezTo>
                    <a:pt x="21540" y="39040"/>
                    <a:pt x="22886" y="36348"/>
                    <a:pt x="24232" y="35002"/>
                  </a:cubicBezTo>
                  <a:lnTo>
                    <a:pt x="35002" y="24232"/>
                  </a:lnTo>
                  <a:cubicBezTo>
                    <a:pt x="36348" y="22886"/>
                    <a:pt x="39040" y="21540"/>
                    <a:pt x="41733" y="22886"/>
                  </a:cubicBezTo>
                  <a:lnTo>
                    <a:pt x="67311" y="32309"/>
                  </a:lnTo>
                  <a:lnTo>
                    <a:pt x="82120" y="28271"/>
                  </a:lnTo>
                  <a:lnTo>
                    <a:pt x="90197" y="4039"/>
                  </a:lnTo>
                  <a:cubicBezTo>
                    <a:pt x="91543" y="1346"/>
                    <a:pt x="94236" y="0"/>
                    <a:pt x="96928" y="0"/>
                  </a:cubicBezTo>
                  <a:lnTo>
                    <a:pt x="117121" y="0"/>
                  </a:lnTo>
                  <a:cubicBezTo>
                    <a:pt x="119814" y="0"/>
                    <a:pt x="122506" y="1346"/>
                    <a:pt x="123853" y="4039"/>
                  </a:cubicBezTo>
                  <a:lnTo>
                    <a:pt x="131930" y="28271"/>
                  </a:lnTo>
                  <a:lnTo>
                    <a:pt x="146738" y="32309"/>
                  </a:lnTo>
                  <a:lnTo>
                    <a:pt x="172317" y="22886"/>
                  </a:lnTo>
                  <a:cubicBezTo>
                    <a:pt x="175009" y="21540"/>
                    <a:pt x="177702" y="22886"/>
                    <a:pt x="179048" y="24232"/>
                  </a:cubicBezTo>
                  <a:lnTo>
                    <a:pt x="189818" y="35002"/>
                  </a:lnTo>
                  <a:cubicBezTo>
                    <a:pt x="191164" y="36348"/>
                    <a:pt x="192510" y="39040"/>
                    <a:pt x="191164" y="41733"/>
                  </a:cubicBezTo>
                  <a:lnTo>
                    <a:pt x="181740" y="67311"/>
                  </a:lnTo>
                  <a:lnTo>
                    <a:pt x="185779" y="82120"/>
                  </a:lnTo>
                  <a:lnTo>
                    <a:pt x="210011" y="90197"/>
                  </a:lnTo>
                  <a:cubicBezTo>
                    <a:pt x="212703" y="91543"/>
                    <a:pt x="214050" y="94236"/>
                    <a:pt x="214050" y="96928"/>
                  </a:cubicBezTo>
                  <a:lnTo>
                    <a:pt x="214050" y="117121"/>
                  </a:lnTo>
                  <a:cubicBezTo>
                    <a:pt x="214050" y="119814"/>
                    <a:pt x="212703" y="122506"/>
                    <a:pt x="210011" y="123852"/>
                  </a:cubicBezTo>
                  <a:lnTo>
                    <a:pt x="185779" y="131930"/>
                  </a:lnTo>
                  <a:lnTo>
                    <a:pt x="180394" y="145392"/>
                  </a:lnTo>
                  <a:lnTo>
                    <a:pt x="189818" y="170970"/>
                  </a:lnTo>
                  <a:cubicBezTo>
                    <a:pt x="191164" y="173663"/>
                    <a:pt x="189818" y="176355"/>
                    <a:pt x="188471" y="177701"/>
                  </a:cubicBezTo>
                  <a:lnTo>
                    <a:pt x="177702" y="188471"/>
                  </a:lnTo>
                  <a:cubicBezTo>
                    <a:pt x="176355" y="189817"/>
                    <a:pt x="173663" y="191164"/>
                    <a:pt x="170970" y="189817"/>
                  </a:cubicBezTo>
                  <a:lnTo>
                    <a:pt x="145392" y="180394"/>
                  </a:lnTo>
                  <a:lnTo>
                    <a:pt x="131930" y="185779"/>
                  </a:lnTo>
                  <a:lnTo>
                    <a:pt x="123853" y="210011"/>
                  </a:lnTo>
                  <a:cubicBezTo>
                    <a:pt x="122506" y="212703"/>
                    <a:pt x="119814" y="214049"/>
                    <a:pt x="117121" y="214049"/>
                  </a:cubicBezTo>
                  <a:close/>
                  <a:moveTo>
                    <a:pt x="102313" y="200587"/>
                  </a:moveTo>
                  <a:lnTo>
                    <a:pt x="113083" y="200587"/>
                  </a:lnTo>
                  <a:lnTo>
                    <a:pt x="121160" y="177701"/>
                  </a:lnTo>
                  <a:cubicBezTo>
                    <a:pt x="122506" y="176355"/>
                    <a:pt x="123853" y="173663"/>
                    <a:pt x="125199" y="173663"/>
                  </a:cubicBezTo>
                  <a:lnTo>
                    <a:pt x="145392" y="166932"/>
                  </a:lnTo>
                  <a:cubicBezTo>
                    <a:pt x="146738" y="166932"/>
                    <a:pt x="148085" y="166932"/>
                    <a:pt x="149431" y="166932"/>
                  </a:cubicBezTo>
                  <a:lnTo>
                    <a:pt x="173663" y="176355"/>
                  </a:lnTo>
                  <a:lnTo>
                    <a:pt x="177702" y="172317"/>
                  </a:lnTo>
                  <a:lnTo>
                    <a:pt x="168278" y="148085"/>
                  </a:lnTo>
                  <a:cubicBezTo>
                    <a:pt x="168278" y="146738"/>
                    <a:pt x="168278" y="145392"/>
                    <a:pt x="168278" y="144046"/>
                  </a:cubicBezTo>
                  <a:lnTo>
                    <a:pt x="175009" y="123852"/>
                  </a:lnTo>
                  <a:cubicBezTo>
                    <a:pt x="175009" y="121160"/>
                    <a:pt x="177702" y="119814"/>
                    <a:pt x="179048" y="119814"/>
                  </a:cubicBezTo>
                  <a:lnTo>
                    <a:pt x="201934" y="111736"/>
                  </a:lnTo>
                  <a:lnTo>
                    <a:pt x="201934" y="100967"/>
                  </a:lnTo>
                  <a:lnTo>
                    <a:pt x="179048" y="92889"/>
                  </a:lnTo>
                  <a:cubicBezTo>
                    <a:pt x="177702" y="91543"/>
                    <a:pt x="175009" y="90197"/>
                    <a:pt x="175009" y="88851"/>
                  </a:cubicBezTo>
                  <a:lnTo>
                    <a:pt x="168278" y="68657"/>
                  </a:lnTo>
                  <a:cubicBezTo>
                    <a:pt x="168278" y="67311"/>
                    <a:pt x="168278" y="65965"/>
                    <a:pt x="168278" y="64619"/>
                  </a:cubicBezTo>
                  <a:lnTo>
                    <a:pt x="177702" y="40387"/>
                  </a:lnTo>
                  <a:lnTo>
                    <a:pt x="172317" y="37694"/>
                  </a:lnTo>
                  <a:lnTo>
                    <a:pt x="148085" y="47118"/>
                  </a:lnTo>
                  <a:cubicBezTo>
                    <a:pt x="146738" y="47118"/>
                    <a:pt x="145392" y="47118"/>
                    <a:pt x="144046" y="47118"/>
                  </a:cubicBezTo>
                  <a:lnTo>
                    <a:pt x="123853" y="40387"/>
                  </a:lnTo>
                  <a:cubicBezTo>
                    <a:pt x="121160" y="40387"/>
                    <a:pt x="119814" y="37694"/>
                    <a:pt x="119814" y="36348"/>
                  </a:cubicBezTo>
                  <a:lnTo>
                    <a:pt x="111737" y="13462"/>
                  </a:lnTo>
                  <a:lnTo>
                    <a:pt x="102313" y="13462"/>
                  </a:lnTo>
                  <a:lnTo>
                    <a:pt x="94236" y="36348"/>
                  </a:lnTo>
                  <a:cubicBezTo>
                    <a:pt x="92889" y="37694"/>
                    <a:pt x="91543" y="40387"/>
                    <a:pt x="90197" y="40387"/>
                  </a:cubicBezTo>
                  <a:lnTo>
                    <a:pt x="70004" y="47118"/>
                  </a:lnTo>
                  <a:cubicBezTo>
                    <a:pt x="68657" y="47118"/>
                    <a:pt x="67311" y="47118"/>
                    <a:pt x="65965" y="47118"/>
                  </a:cubicBezTo>
                  <a:lnTo>
                    <a:pt x="41733" y="37694"/>
                  </a:lnTo>
                  <a:lnTo>
                    <a:pt x="37694" y="41733"/>
                  </a:lnTo>
                  <a:lnTo>
                    <a:pt x="47118" y="65965"/>
                  </a:lnTo>
                  <a:cubicBezTo>
                    <a:pt x="47118" y="67311"/>
                    <a:pt x="47118" y="68657"/>
                    <a:pt x="47118" y="70004"/>
                  </a:cubicBezTo>
                  <a:lnTo>
                    <a:pt x="40387" y="90197"/>
                  </a:lnTo>
                  <a:cubicBezTo>
                    <a:pt x="40387" y="92889"/>
                    <a:pt x="37694" y="94236"/>
                    <a:pt x="36348" y="94236"/>
                  </a:cubicBezTo>
                  <a:lnTo>
                    <a:pt x="13462" y="102313"/>
                  </a:lnTo>
                  <a:lnTo>
                    <a:pt x="13462" y="113083"/>
                  </a:lnTo>
                  <a:lnTo>
                    <a:pt x="36348" y="121160"/>
                  </a:lnTo>
                  <a:cubicBezTo>
                    <a:pt x="37694" y="122506"/>
                    <a:pt x="40387" y="123852"/>
                    <a:pt x="40387" y="125199"/>
                  </a:cubicBezTo>
                  <a:lnTo>
                    <a:pt x="47118" y="145392"/>
                  </a:lnTo>
                  <a:cubicBezTo>
                    <a:pt x="47118" y="146738"/>
                    <a:pt x="47118" y="148085"/>
                    <a:pt x="47118" y="149431"/>
                  </a:cubicBezTo>
                  <a:lnTo>
                    <a:pt x="37694" y="172317"/>
                  </a:lnTo>
                  <a:lnTo>
                    <a:pt x="41733" y="176355"/>
                  </a:lnTo>
                  <a:lnTo>
                    <a:pt x="65965" y="166932"/>
                  </a:lnTo>
                  <a:cubicBezTo>
                    <a:pt x="67311" y="166932"/>
                    <a:pt x="68657" y="166932"/>
                    <a:pt x="70004" y="166932"/>
                  </a:cubicBezTo>
                  <a:lnTo>
                    <a:pt x="90197" y="173663"/>
                  </a:lnTo>
                  <a:cubicBezTo>
                    <a:pt x="92889" y="173663"/>
                    <a:pt x="94236" y="176355"/>
                    <a:pt x="94236" y="177701"/>
                  </a:cubicBezTo>
                  <a:lnTo>
                    <a:pt x="102313" y="200587"/>
                  </a:lnTo>
                  <a:close/>
                </a:path>
              </a:pathLst>
            </a:custGeom>
            <a:grpFill/>
            <a:ln w="13447" cap="flat">
              <a:solidFill>
                <a:srgbClr val="416CF9"/>
              </a:solidFill>
              <a:prstDash val="solid"/>
              <a:miter/>
            </a:ln>
          </p:spPr>
          <p:txBody>
            <a:bodyPr rtlCol="0" anchor="ctr"/>
            <a:lstStyle/>
            <a:p>
              <a:endParaRPr lang="en-US"/>
            </a:p>
          </p:txBody>
        </p:sp>
      </p:grpSp>
      <p:sp>
        <p:nvSpPr>
          <p:cNvPr id="86" name="TextBox 85">
            <a:extLst>
              <a:ext uri="{FF2B5EF4-FFF2-40B4-BE49-F238E27FC236}">
                <a16:creationId xmlns:a16="http://schemas.microsoft.com/office/drawing/2014/main" id="{F2574E1C-0EEA-67B9-E984-E4DF43A01574}"/>
              </a:ext>
            </a:extLst>
          </p:cNvPr>
          <p:cNvSpPr txBox="1"/>
          <p:nvPr/>
        </p:nvSpPr>
        <p:spPr>
          <a:xfrm>
            <a:off x="1558685" y="12032887"/>
            <a:ext cx="2040476" cy="4033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40000"/>
              </a:lnSpc>
            </a:pPr>
            <a:r>
              <a:rPr lang="de-DE" sz="1600"/>
              <a:t>Cloud </a:t>
            </a:r>
            <a:r>
              <a:rPr lang="de-DE" sz="1600" err="1"/>
              <a:t>engineer</a:t>
            </a:r>
            <a:r>
              <a:rPr lang="de-DE" sz="1600"/>
              <a:t> (1) </a:t>
            </a:r>
            <a:endParaRPr kumimoji="0" lang="de-DE" sz="16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grpSp>
        <p:nvGrpSpPr>
          <p:cNvPr id="73" name="Graphic 2">
            <a:extLst>
              <a:ext uri="{FF2B5EF4-FFF2-40B4-BE49-F238E27FC236}">
                <a16:creationId xmlns:a16="http://schemas.microsoft.com/office/drawing/2014/main" id="{A4FEC377-2539-72B1-8D97-EC81503A6C56}"/>
              </a:ext>
            </a:extLst>
          </p:cNvPr>
          <p:cNvGrpSpPr>
            <a:grpSpLocks noChangeAspect="1"/>
          </p:cNvGrpSpPr>
          <p:nvPr/>
        </p:nvGrpSpPr>
        <p:grpSpPr>
          <a:xfrm>
            <a:off x="4220304" y="11412047"/>
            <a:ext cx="1136177" cy="584797"/>
            <a:chOff x="5842002" y="3249704"/>
            <a:chExt cx="507997" cy="261469"/>
          </a:xfrm>
          <a:solidFill>
            <a:srgbClr val="416CF9"/>
          </a:solidFill>
        </p:grpSpPr>
        <p:sp>
          <p:nvSpPr>
            <p:cNvPr id="77" name="Freeform: Shape 76">
              <a:extLst>
                <a:ext uri="{FF2B5EF4-FFF2-40B4-BE49-F238E27FC236}">
                  <a16:creationId xmlns:a16="http://schemas.microsoft.com/office/drawing/2014/main" id="{E16957CC-F2FA-E449-606C-D3741D6E30E0}"/>
                </a:ext>
              </a:extLst>
            </p:cNvPr>
            <p:cNvSpPr/>
            <p:nvPr/>
          </p:nvSpPr>
          <p:spPr>
            <a:xfrm>
              <a:off x="5886825" y="3249704"/>
              <a:ext cx="104588" cy="104588"/>
            </a:xfrm>
            <a:custGeom>
              <a:avLst/>
              <a:gdLst>
                <a:gd name="connsiteX0" fmla="*/ 52294 w 104587"/>
                <a:gd name="connsiteY0" fmla="*/ 104588 h 104587"/>
                <a:gd name="connsiteX1" fmla="*/ 104588 w 104587"/>
                <a:gd name="connsiteY1" fmla="*/ 52294 h 104587"/>
                <a:gd name="connsiteX2" fmla="*/ 52294 w 104587"/>
                <a:gd name="connsiteY2" fmla="*/ 0 h 104587"/>
                <a:gd name="connsiteX3" fmla="*/ 0 w 104587"/>
                <a:gd name="connsiteY3" fmla="*/ 52294 h 104587"/>
                <a:gd name="connsiteX4" fmla="*/ 52294 w 104587"/>
                <a:gd name="connsiteY4" fmla="*/ 104588 h 104587"/>
                <a:gd name="connsiteX5" fmla="*/ 52294 w 104587"/>
                <a:gd name="connsiteY5" fmla="*/ 14941 h 104587"/>
                <a:gd name="connsiteX6" fmla="*/ 89647 w 104587"/>
                <a:gd name="connsiteY6" fmla="*/ 52294 h 104587"/>
                <a:gd name="connsiteX7" fmla="*/ 52294 w 104587"/>
                <a:gd name="connsiteY7" fmla="*/ 89647 h 104587"/>
                <a:gd name="connsiteX8" fmla="*/ 14941 w 104587"/>
                <a:gd name="connsiteY8" fmla="*/ 52294 h 104587"/>
                <a:gd name="connsiteX9" fmla="*/ 52294 w 104587"/>
                <a:gd name="connsiteY9" fmla="*/ 14941 h 10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587" h="104587">
                  <a:moveTo>
                    <a:pt x="52294" y="104588"/>
                  </a:moveTo>
                  <a:cubicBezTo>
                    <a:pt x="81175" y="104588"/>
                    <a:pt x="104588" y="81175"/>
                    <a:pt x="104588" y="52294"/>
                  </a:cubicBezTo>
                  <a:cubicBezTo>
                    <a:pt x="104588" y="23413"/>
                    <a:pt x="81175" y="0"/>
                    <a:pt x="52294" y="0"/>
                  </a:cubicBezTo>
                  <a:cubicBezTo>
                    <a:pt x="23413" y="0"/>
                    <a:pt x="0" y="23413"/>
                    <a:pt x="0" y="52294"/>
                  </a:cubicBezTo>
                  <a:cubicBezTo>
                    <a:pt x="0" y="81175"/>
                    <a:pt x="23413" y="104588"/>
                    <a:pt x="52294" y="104588"/>
                  </a:cubicBezTo>
                  <a:close/>
                  <a:moveTo>
                    <a:pt x="52294" y="14941"/>
                  </a:moveTo>
                  <a:cubicBezTo>
                    <a:pt x="72923" y="14941"/>
                    <a:pt x="89647" y="31665"/>
                    <a:pt x="89647" y="52294"/>
                  </a:cubicBezTo>
                  <a:cubicBezTo>
                    <a:pt x="89647" y="72923"/>
                    <a:pt x="72923" y="89647"/>
                    <a:pt x="52294" y="89647"/>
                  </a:cubicBezTo>
                  <a:cubicBezTo>
                    <a:pt x="31664" y="89647"/>
                    <a:pt x="14941" y="72923"/>
                    <a:pt x="14941" y="52294"/>
                  </a:cubicBezTo>
                  <a:cubicBezTo>
                    <a:pt x="14941" y="31665"/>
                    <a:pt x="31664" y="14941"/>
                    <a:pt x="52294" y="14941"/>
                  </a:cubicBezTo>
                  <a:close/>
                </a:path>
              </a:pathLst>
            </a:custGeom>
            <a:grpFill/>
            <a:ln w="14848"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124C8AE6-3D41-F909-A5FD-CA85071C1952}"/>
                </a:ext>
              </a:extLst>
            </p:cNvPr>
            <p:cNvSpPr/>
            <p:nvPr/>
          </p:nvSpPr>
          <p:spPr>
            <a:xfrm>
              <a:off x="6200588" y="3249704"/>
              <a:ext cx="104588" cy="104588"/>
            </a:xfrm>
            <a:custGeom>
              <a:avLst/>
              <a:gdLst>
                <a:gd name="connsiteX0" fmla="*/ 52294 w 104587"/>
                <a:gd name="connsiteY0" fmla="*/ 104588 h 104587"/>
                <a:gd name="connsiteX1" fmla="*/ 104588 w 104587"/>
                <a:gd name="connsiteY1" fmla="*/ 52294 h 104587"/>
                <a:gd name="connsiteX2" fmla="*/ 52294 w 104587"/>
                <a:gd name="connsiteY2" fmla="*/ 0 h 104587"/>
                <a:gd name="connsiteX3" fmla="*/ 0 w 104587"/>
                <a:gd name="connsiteY3" fmla="*/ 52294 h 104587"/>
                <a:gd name="connsiteX4" fmla="*/ 52294 w 104587"/>
                <a:gd name="connsiteY4" fmla="*/ 104588 h 104587"/>
                <a:gd name="connsiteX5" fmla="*/ 52294 w 104587"/>
                <a:gd name="connsiteY5" fmla="*/ 14941 h 104587"/>
                <a:gd name="connsiteX6" fmla="*/ 89647 w 104587"/>
                <a:gd name="connsiteY6" fmla="*/ 52294 h 104587"/>
                <a:gd name="connsiteX7" fmla="*/ 52294 w 104587"/>
                <a:gd name="connsiteY7" fmla="*/ 89647 h 104587"/>
                <a:gd name="connsiteX8" fmla="*/ 14941 w 104587"/>
                <a:gd name="connsiteY8" fmla="*/ 52294 h 104587"/>
                <a:gd name="connsiteX9" fmla="*/ 52294 w 104587"/>
                <a:gd name="connsiteY9" fmla="*/ 14941 h 10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587" h="104587">
                  <a:moveTo>
                    <a:pt x="52294" y="104588"/>
                  </a:moveTo>
                  <a:cubicBezTo>
                    <a:pt x="81175" y="104588"/>
                    <a:pt x="104588" y="81175"/>
                    <a:pt x="104588" y="52294"/>
                  </a:cubicBezTo>
                  <a:cubicBezTo>
                    <a:pt x="104588" y="23413"/>
                    <a:pt x="81175" y="0"/>
                    <a:pt x="52294" y="0"/>
                  </a:cubicBezTo>
                  <a:cubicBezTo>
                    <a:pt x="23413" y="0"/>
                    <a:pt x="0" y="23413"/>
                    <a:pt x="0" y="52294"/>
                  </a:cubicBezTo>
                  <a:cubicBezTo>
                    <a:pt x="0" y="81175"/>
                    <a:pt x="23413" y="104588"/>
                    <a:pt x="52294" y="104588"/>
                  </a:cubicBezTo>
                  <a:close/>
                  <a:moveTo>
                    <a:pt x="52294" y="14941"/>
                  </a:moveTo>
                  <a:cubicBezTo>
                    <a:pt x="72923" y="14941"/>
                    <a:pt x="89647" y="31665"/>
                    <a:pt x="89647" y="52294"/>
                  </a:cubicBezTo>
                  <a:cubicBezTo>
                    <a:pt x="89647" y="72923"/>
                    <a:pt x="72923" y="89647"/>
                    <a:pt x="52294" y="89647"/>
                  </a:cubicBezTo>
                  <a:cubicBezTo>
                    <a:pt x="31665" y="89647"/>
                    <a:pt x="14941" y="72923"/>
                    <a:pt x="14941" y="52294"/>
                  </a:cubicBezTo>
                  <a:cubicBezTo>
                    <a:pt x="14941" y="31665"/>
                    <a:pt x="31665" y="14941"/>
                    <a:pt x="52294" y="14941"/>
                  </a:cubicBezTo>
                  <a:close/>
                </a:path>
              </a:pathLst>
            </a:custGeom>
            <a:grpFill/>
            <a:ln w="14848"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FCFA6EF7-026A-7706-749C-40A54CE97495}"/>
                </a:ext>
              </a:extLst>
            </p:cNvPr>
            <p:cNvSpPr/>
            <p:nvPr/>
          </p:nvSpPr>
          <p:spPr>
            <a:xfrm>
              <a:off x="5842002" y="3361762"/>
              <a:ext cx="507997" cy="149411"/>
            </a:xfrm>
            <a:custGeom>
              <a:avLst/>
              <a:gdLst>
                <a:gd name="connsiteX0" fmla="*/ 455703 w 507997"/>
                <a:gd name="connsiteY0" fmla="*/ 0 h 149411"/>
                <a:gd name="connsiteX1" fmla="*/ 366057 w 507997"/>
                <a:gd name="connsiteY1" fmla="*/ 0 h 149411"/>
                <a:gd name="connsiteX2" fmla="*/ 320188 w 507997"/>
                <a:gd name="connsiteY2" fmla="*/ 27193 h 149411"/>
                <a:gd name="connsiteX3" fmla="*/ 298822 w 507997"/>
                <a:gd name="connsiteY3" fmla="*/ 22412 h 149411"/>
                <a:gd name="connsiteX4" fmla="*/ 209175 w 507997"/>
                <a:gd name="connsiteY4" fmla="*/ 22412 h 149411"/>
                <a:gd name="connsiteX5" fmla="*/ 187809 w 507997"/>
                <a:gd name="connsiteY5" fmla="*/ 27193 h 149411"/>
                <a:gd name="connsiteX6" fmla="*/ 141940 w 507997"/>
                <a:gd name="connsiteY6" fmla="*/ 0 h 149411"/>
                <a:gd name="connsiteX7" fmla="*/ 52294 w 507997"/>
                <a:gd name="connsiteY7" fmla="*/ 0 h 149411"/>
                <a:gd name="connsiteX8" fmla="*/ 0 w 507997"/>
                <a:gd name="connsiteY8" fmla="*/ 52294 h 149411"/>
                <a:gd name="connsiteX9" fmla="*/ 0 w 507997"/>
                <a:gd name="connsiteY9" fmla="*/ 99209 h 149411"/>
                <a:gd name="connsiteX10" fmla="*/ 27790 w 507997"/>
                <a:gd name="connsiteY10" fmla="*/ 126999 h 149411"/>
                <a:gd name="connsiteX11" fmla="*/ 157479 w 507997"/>
                <a:gd name="connsiteY11" fmla="*/ 126999 h 149411"/>
                <a:gd name="connsiteX12" fmla="*/ 184672 w 507997"/>
                <a:gd name="connsiteY12" fmla="*/ 149411 h 149411"/>
                <a:gd name="connsiteX13" fmla="*/ 323325 w 507997"/>
                <a:gd name="connsiteY13" fmla="*/ 149411 h 149411"/>
                <a:gd name="connsiteX14" fmla="*/ 350518 w 507997"/>
                <a:gd name="connsiteY14" fmla="*/ 126999 h 149411"/>
                <a:gd name="connsiteX15" fmla="*/ 480207 w 507997"/>
                <a:gd name="connsiteY15" fmla="*/ 126999 h 149411"/>
                <a:gd name="connsiteX16" fmla="*/ 507997 w 507997"/>
                <a:gd name="connsiteY16" fmla="*/ 99209 h 149411"/>
                <a:gd name="connsiteX17" fmla="*/ 507997 w 507997"/>
                <a:gd name="connsiteY17" fmla="*/ 52294 h 149411"/>
                <a:gd name="connsiteX18" fmla="*/ 455703 w 507997"/>
                <a:gd name="connsiteY18" fmla="*/ 0 h 149411"/>
                <a:gd name="connsiteX19" fmla="*/ 14941 w 507997"/>
                <a:gd name="connsiteY19" fmla="*/ 99209 h 149411"/>
                <a:gd name="connsiteX20" fmla="*/ 14941 w 507997"/>
                <a:gd name="connsiteY20" fmla="*/ 52294 h 149411"/>
                <a:gd name="connsiteX21" fmla="*/ 52294 w 507997"/>
                <a:gd name="connsiteY21" fmla="*/ 14941 h 149411"/>
                <a:gd name="connsiteX22" fmla="*/ 141940 w 507997"/>
                <a:gd name="connsiteY22" fmla="*/ 14941 h 149411"/>
                <a:gd name="connsiteX23" fmla="*/ 175110 w 507997"/>
                <a:gd name="connsiteY23" fmla="*/ 35261 h 149411"/>
                <a:gd name="connsiteX24" fmla="*/ 156881 w 507997"/>
                <a:gd name="connsiteY24" fmla="*/ 74706 h 149411"/>
                <a:gd name="connsiteX25" fmla="*/ 156881 w 507997"/>
                <a:gd name="connsiteY25" fmla="*/ 112058 h 149411"/>
                <a:gd name="connsiteX26" fmla="*/ 27790 w 507997"/>
                <a:gd name="connsiteY26" fmla="*/ 112058 h 149411"/>
                <a:gd name="connsiteX27" fmla="*/ 14941 w 507997"/>
                <a:gd name="connsiteY27" fmla="*/ 99209 h 149411"/>
                <a:gd name="connsiteX28" fmla="*/ 336175 w 507997"/>
                <a:gd name="connsiteY28" fmla="*/ 121621 h 149411"/>
                <a:gd name="connsiteX29" fmla="*/ 323325 w 507997"/>
                <a:gd name="connsiteY29" fmla="*/ 134470 h 149411"/>
                <a:gd name="connsiteX30" fmla="*/ 184672 w 507997"/>
                <a:gd name="connsiteY30" fmla="*/ 134470 h 149411"/>
                <a:gd name="connsiteX31" fmla="*/ 171823 w 507997"/>
                <a:gd name="connsiteY31" fmla="*/ 121621 h 149411"/>
                <a:gd name="connsiteX32" fmla="*/ 171823 w 507997"/>
                <a:gd name="connsiteY32" fmla="*/ 74706 h 149411"/>
                <a:gd name="connsiteX33" fmla="*/ 209175 w 507997"/>
                <a:gd name="connsiteY33" fmla="*/ 37353 h 149411"/>
                <a:gd name="connsiteX34" fmla="*/ 298822 w 507997"/>
                <a:gd name="connsiteY34" fmla="*/ 37353 h 149411"/>
                <a:gd name="connsiteX35" fmla="*/ 336175 w 507997"/>
                <a:gd name="connsiteY35" fmla="*/ 74706 h 149411"/>
                <a:gd name="connsiteX36" fmla="*/ 493056 w 507997"/>
                <a:gd name="connsiteY36" fmla="*/ 99209 h 149411"/>
                <a:gd name="connsiteX37" fmla="*/ 480207 w 507997"/>
                <a:gd name="connsiteY37" fmla="*/ 112058 h 149411"/>
                <a:gd name="connsiteX38" fmla="*/ 351116 w 507997"/>
                <a:gd name="connsiteY38" fmla="*/ 112058 h 149411"/>
                <a:gd name="connsiteX39" fmla="*/ 351116 w 507997"/>
                <a:gd name="connsiteY39" fmla="*/ 74706 h 149411"/>
                <a:gd name="connsiteX40" fmla="*/ 332887 w 507997"/>
                <a:gd name="connsiteY40" fmla="*/ 35261 h 149411"/>
                <a:gd name="connsiteX41" fmla="*/ 366057 w 507997"/>
                <a:gd name="connsiteY41" fmla="*/ 14941 h 149411"/>
                <a:gd name="connsiteX42" fmla="*/ 455703 w 507997"/>
                <a:gd name="connsiteY42" fmla="*/ 14941 h 149411"/>
                <a:gd name="connsiteX43" fmla="*/ 493056 w 507997"/>
                <a:gd name="connsiteY43" fmla="*/ 52294 h 149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07997" h="149411">
                  <a:moveTo>
                    <a:pt x="455703" y="0"/>
                  </a:moveTo>
                  <a:lnTo>
                    <a:pt x="366057" y="0"/>
                  </a:lnTo>
                  <a:cubicBezTo>
                    <a:pt x="346956" y="35"/>
                    <a:pt x="329384" y="10452"/>
                    <a:pt x="320188" y="27193"/>
                  </a:cubicBezTo>
                  <a:cubicBezTo>
                    <a:pt x="313498" y="24065"/>
                    <a:pt x="306207" y="22433"/>
                    <a:pt x="298822" y="22412"/>
                  </a:cubicBezTo>
                  <a:lnTo>
                    <a:pt x="209175" y="22412"/>
                  </a:lnTo>
                  <a:cubicBezTo>
                    <a:pt x="201790" y="22433"/>
                    <a:pt x="194499" y="24065"/>
                    <a:pt x="187809" y="27193"/>
                  </a:cubicBezTo>
                  <a:cubicBezTo>
                    <a:pt x="178613" y="10452"/>
                    <a:pt x="161041" y="35"/>
                    <a:pt x="141940" y="0"/>
                  </a:cubicBezTo>
                  <a:lnTo>
                    <a:pt x="52294" y="0"/>
                  </a:lnTo>
                  <a:cubicBezTo>
                    <a:pt x="23413" y="0"/>
                    <a:pt x="0" y="23413"/>
                    <a:pt x="0" y="52294"/>
                  </a:cubicBezTo>
                  <a:lnTo>
                    <a:pt x="0" y="99209"/>
                  </a:lnTo>
                  <a:cubicBezTo>
                    <a:pt x="0" y="114556"/>
                    <a:pt x="12442" y="126999"/>
                    <a:pt x="27790" y="126999"/>
                  </a:cubicBezTo>
                  <a:lnTo>
                    <a:pt x="157479" y="126999"/>
                  </a:lnTo>
                  <a:cubicBezTo>
                    <a:pt x="160095" y="139965"/>
                    <a:pt x="171446" y="149318"/>
                    <a:pt x="184672" y="149411"/>
                  </a:cubicBezTo>
                  <a:lnTo>
                    <a:pt x="323325" y="149411"/>
                  </a:lnTo>
                  <a:cubicBezTo>
                    <a:pt x="336551" y="149318"/>
                    <a:pt x="347902" y="139965"/>
                    <a:pt x="350518" y="126999"/>
                  </a:cubicBezTo>
                  <a:lnTo>
                    <a:pt x="480207" y="126999"/>
                  </a:lnTo>
                  <a:cubicBezTo>
                    <a:pt x="495521" y="126917"/>
                    <a:pt x="507915" y="114524"/>
                    <a:pt x="507997" y="99209"/>
                  </a:cubicBezTo>
                  <a:lnTo>
                    <a:pt x="507997" y="52294"/>
                  </a:lnTo>
                  <a:cubicBezTo>
                    <a:pt x="507997" y="23413"/>
                    <a:pt x="484584" y="0"/>
                    <a:pt x="455703" y="0"/>
                  </a:cubicBezTo>
                  <a:close/>
                  <a:moveTo>
                    <a:pt x="14941" y="99209"/>
                  </a:moveTo>
                  <a:lnTo>
                    <a:pt x="14941" y="52294"/>
                  </a:lnTo>
                  <a:cubicBezTo>
                    <a:pt x="14941" y="31665"/>
                    <a:pt x="31665" y="14941"/>
                    <a:pt x="52294" y="14941"/>
                  </a:cubicBezTo>
                  <a:lnTo>
                    <a:pt x="141940" y="14941"/>
                  </a:lnTo>
                  <a:cubicBezTo>
                    <a:pt x="155930" y="14969"/>
                    <a:pt x="168731" y="22811"/>
                    <a:pt x="175110" y="35261"/>
                  </a:cubicBezTo>
                  <a:cubicBezTo>
                    <a:pt x="163600" y="45143"/>
                    <a:pt x="156949" y="59536"/>
                    <a:pt x="156881" y="74706"/>
                  </a:cubicBezTo>
                  <a:lnTo>
                    <a:pt x="156881" y="112058"/>
                  </a:lnTo>
                  <a:lnTo>
                    <a:pt x="27790" y="112058"/>
                  </a:lnTo>
                  <a:cubicBezTo>
                    <a:pt x="20728" y="111978"/>
                    <a:pt x="15022" y="106272"/>
                    <a:pt x="14941" y="99209"/>
                  </a:cubicBezTo>
                  <a:close/>
                  <a:moveTo>
                    <a:pt x="336175" y="121621"/>
                  </a:moveTo>
                  <a:cubicBezTo>
                    <a:pt x="336094" y="128683"/>
                    <a:pt x="330388" y="134389"/>
                    <a:pt x="323325" y="134470"/>
                  </a:cubicBezTo>
                  <a:lnTo>
                    <a:pt x="184672" y="134470"/>
                  </a:lnTo>
                  <a:cubicBezTo>
                    <a:pt x="177609" y="134389"/>
                    <a:pt x="171903" y="128683"/>
                    <a:pt x="171823" y="121621"/>
                  </a:cubicBezTo>
                  <a:lnTo>
                    <a:pt x="171823" y="74706"/>
                  </a:lnTo>
                  <a:cubicBezTo>
                    <a:pt x="171823" y="54076"/>
                    <a:pt x="188546" y="37353"/>
                    <a:pt x="209175" y="37353"/>
                  </a:cubicBezTo>
                  <a:lnTo>
                    <a:pt x="298822" y="37353"/>
                  </a:lnTo>
                  <a:cubicBezTo>
                    <a:pt x="319451" y="37353"/>
                    <a:pt x="336175" y="54076"/>
                    <a:pt x="336175" y="74706"/>
                  </a:cubicBezTo>
                  <a:close/>
                  <a:moveTo>
                    <a:pt x="493056" y="99209"/>
                  </a:moveTo>
                  <a:cubicBezTo>
                    <a:pt x="492975" y="106272"/>
                    <a:pt x="487269" y="111978"/>
                    <a:pt x="480207" y="112058"/>
                  </a:cubicBezTo>
                  <a:lnTo>
                    <a:pt x="351116" y="112058"/>
                  </a:lnTo>
                  <a:lnTo>
                    <a:pt x="351116" y="74706"/>
                  </a:lnTo>
                  <a:cubicBezTo>
                    <a:pt x="351048" y="59536"/>
                    <a:pt x="344397" y="45143"/>
                    <a:pt x="332887" y="35261"/>
                  </a:cubicBezTo>
                  <a:cubicBezTo>
                    <a:pt x="339266" y="22811"/>
                    <a:pt x="352067" y="14969"/>
                    <a:pt x="366057" y="14941"/>
                  </a:cubicBezTo>
                  <a:lnTo>
                    <a:pt x="455703" y="14941"/>
                  </a:lnTo>
                  <a:cubicBezTo>
                    <a:pt x="476332" y="14941"/>
                    <a:pt x="493056" y="31665"/>
                    <a:pt x="493056" y="52294"/>
                  </a:cubicBezTo>
                  <a:close/>
                </a:path>
              </a:pathLst>
            </a:custGeom>
            <a:grpFill/>
            <a:ln w="14848"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4233B1C4-627A-F5B2-34E7-956992C124D9}"/>
                </a:ext>
              </a:extLst>
            </p:cNvPr>
            <p:cNvSpPr/>
            <p:nvPr/>
          </p:nvSpPr>
          <p:spPr>
            <a:xfrm>
              <a:off x="6043707" y="3272116"/>
              <a:ext cx="104588" cy="104588"/>
            </a:xfrm>
            <a:custGeom>
              <a:avLst/>
              <a:gdLst>
                <a:gd name="connsiteX0" fmla="*/ 52294 w 104587"/>
                <a:gd name="connsiteY0" fmla="*/ 104588 h 104587"/>
                <a:gd name="connsiteX1" fmla="*/ 104588 w 104587"/>
                <a:gd name="connsiteY1" fmla="*/ 52294 h 104587"/>
                <a:gd name="connsiteX2" fmla="*/ 52294 w 104587"/>
                <a:gd name="connsiteY2" fmla="*/ 0 h 104587"/>
                <a:gd name="connsiteX3" fmla="*/ 0 w 104587"/>
                <a:gd name="connsiteY3" fmla="*/ 52294 h 104587"/>
                <a:gd name="connsiteX4" fmla="*/ 52294 w 104587"/>
                <a:gd name="connsiteY4" fmla="*/ 104588 h 104587"/>
                <a:gd name="connsiteX5" fmla="*/ 52294 w 104587"/>
                <a:gd name="connsiteY5" fmla="*/ 14941 h 104587"/>
                <a:gd name="connsiteX6" fmla="*/ 89647 w 104587"/>
                <a:gd name="connsiteY6" fmla="*/ 52294 h 104587"/>
                <a:gd name="connsiteX7" fmla="*/ 52294 w 104587"/>
                <a:gd name="connsiteY7" fmla="*/ 89647 h 104587"/>
                <a:gd name="connsiteX8" fmla="*/ 14941 w 104587"/>
                <a:gd name="connsiteY8" fmla="*/ 52294 h 104587"/>
                <a:gd name="connsiteX9" fmla="*/ 52294 w 104587"/>
                <a:gd name="connsiteY9" fmla="*/ 14941 h 10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587" h="104587">
                  <a:moveTo>
                    <a:pt x="52294" y="104588"/>
                  </a:moveTo>
                  <a:cubicBezTo>
                    <a:pt x="81175" y="104588"/>
                    <a:pt x="104588" y="81175"/>
                    <a:pt x="104588" y="52294"/>
                  </a:cubicBezTo>
                  <a:cubicBezTo>
                    <a:pt x="104588" y="23413"/>
                    <a:pt x="81175" y="0"/>
                    <a:pt x="52294" y="0"/>
                  </a:cubicBezTo>
                  <a:cubicBezTo>
                    <a:pt x="23413" y="0"/>
                    <a:pt x="0" y="23413"/>
                    <a:pt x="0" y="52294"/>
                  </a:cubicBezTo>
                  <a:cubicBezTo>
                    <a:pt x="0" y="81175"/>
                    <a:pt x="23413" y="104588"/>
                    <a:pt x="52294" y="104588"/>
                  </a:cubicBezTo>
                  <a:close/>
                  <a:moveTo>
                    <a:pt x="52294" y="14941"/>
                  </a:moveTo>
                  <a:cubicBezTo>
                    <a:pt x="72923" y="14941"/>
                    <a:pt x="89647" y="31665"/>
                    <a:pt x="89647" y="52294"/>
                  </a:cubicBezTo>
                  <a:cubicBezTo>
                    <a:pt x="89647" y="72923"/>
                    <a:pt x="72923" y="89647"/>
                    <a:pt x="52294" y="89647"/>
                  </a:cubicBezTo>
                  <a:cubicBezTo>
                    <a:pt x="31665" y="89647"/>
                    <a:pt x="14941" y="72923"/>
                    <a:pt x="14941" y="52294"/>
                  </a:cubicBezTo>
                  <a:cubicBezTo>
                    <a:pt x="14941" y="31665"/>
                    <a:pt x="31665" y="14941"/>
                    <a:pt x="52294" y="14941"/>
                  </a:cubicBezTo>
                  <a:close/>
                </a:path>
              </a:pathLst>
            </a:custGeom>
            <a:grpFill/>
            <a:ln w="14848" cap="flat">
              <a:noFill/>
              <a:prstDash val="solid"/>
              <a:miter/>
            </a:ln>
          </p:spPr>
          <p:txBody>
            <a:bodyPr rtlCol="0" anchor="ctr"/>
            <a:lstStyle/>
            <a:p>
              <a:endParaRPr lang="en-US"/>
            </a:p>
          </p:txBody>
        </p:sp>
      </p:grpSp>
      <p:sp>
        <p:nvSpPr>
          <p:cNvPr id="87" name="TextBox 86">
            <a:extLst>
              <a:ext uri="{FF2B5EF4-FFF2-40B4-BE49-F238E27FC236}">
                <a16:creationId xmlns:a16="http://schemas.microsoft.com/office/drawing/2014/main" id="{2064FC6F-0C21-53BB-440B-38F0ADED68CA}"/>
              </a:ext>
            </a:extLst>
          </p:cNvPr>
          <p:cNvSpPr txBox="1"/>
          <p:nvPr/>
        </p:nvSpPr>
        <p:spPr>
          <a:xfrm>
            <a:off x="3576024" y="12057829"/>
            <a:ext cx="2506379" cy="4033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40000"/>
              </a:lnSpc>
            </a:pPr>
            <a:r>
              <a:rPr lang="de-DE" sz="1600"/>
              <a:t>Software </a:t>
            </a:r>
            <a:r>
              <a:rPr lang="de-DE" sz="1600" err="1"/>
              <a:t>developers</a:t>
            </a:r>
            <a:r>
              <a:rPr lang="de-DE" sz="1600"/>
              <a:t> (3) </a:t>
            </a:r>
          </a:p>
        </p:txBody>
      </p:sp>
      <p:grpSp>
        <p:nvGrpSpPr>
          <p:cNvPr id="28" name="Graphic 2">
            <a:extLst>
              <a:ext uri="{FF2B5EF4-FFF2-40B4-BE49-F238E27FC236}">
                <a16:creationId xmlns:a16="http://schemas.microsoft.com/office/drawing/2014/main" id="{35DA4B98-56AD-E1A9-E283-166C777009C4}"/>
              </a:ext>
            </a:extLst>
          </p:cNvPr>
          <p:cNvGrpSpPr>
            <a:grpSpLocks noChangeAspect="1"/>
          </p:cNvGrpSpPr>
          <p:nvPr/>
        </p:nvGrpSpPr>
        <p:grpSpPr>
          <a:xfrm>
            <a:off x="6630330" y="10326941"/>
            <a:ext cx="524223" cy="540000"/>
            <a:chOff x="5864411" y="3152576"/>
            <a:chExt cx="449645" cy="463177"/>
          </a:xfrm>
          <a:solidFill>
            <a:srgbClr val="0E176D"/>
          </a:solidFill>
        </p:grpSpPr>
        <p:sp>
          <p:nvSpPr>
            <p:cNvPr id="29" name="Freeform: Shape 28">
              <a:extLst>
                <a:ext uri="{FF2B5EF4-FFF2-40B4-BE49-F238E27FC236}">
                  <a16:creationId xmlns:a16="http://schemas.microsoft.com/office/drawing/2014/main" id="{9712E945-39D8-95A1-889D-F79BC4F7D935}"/>
                </a:ext>
              </a:extLst>
            </p:cNvPr>
            <p:cNvSpPr/>
            <p:nvPr/>
          </p:nvSpPr>
          <p:spPr>
            <a:xfrm>
              <a:off x="6109713" y="3393242"/>
              <a:ext cx="204343" cy="217966"/>
            </a:xfrm>
            <a:custGeom>
              <a:avLst/>
              <a:gdLst>
                <a:gd name="connsiteX0" fmla="*/ 217876 w 204342"/>
                <a:gd name="connsiteY0" fmla="*/ 40792 h 217965"/>
                <a:gd name="connsiteX1" fmla="*/ 210656 w 204342"/>
                <a:gd name="connsiteY1" fmla="*/ 23355 h 217965"/>
                <a:gd name="connsiteX2" fmla="*/ 194308 w 204342"/>
                <a:gd name="connsiteY2" fmla="*/ 7144 h 217965"/>
                <a:gd name="connsiteX3" fmla="*/ 159706 w 204342"/>
                <a:gd name="connsiteY3" fmla="*/ 7144 h 217965"/>
                <a:gd name="connsiteX4" fmla="*/ 13533 w 204342"/>
                <a:gd name="connsiteY4" fmla="*/ 154407 h 217965"/>
                <a:gd name="connsiteX5" fmla="*/ 13533 w 204342"/>
                <a:gd name="connsiteY5" fmla="*/ 154407 h 217965"/>
                <a:gd name="connsiteX6" fmla="*/ 12852 w 204342"/>
                <a:gd name="connsiteY6" fmla="*/ 155497 h 217965"/>
                <a:gd name="connsiteX7" fmla="*/ 12171 w 204342"/>
                <a:gd name="connsiteY7" fmla="*/ 156859 h 217965"/>
                <a:gd name="connsiteX8" fmla="*/ 12171 w 204342"/>
                <a:gd name="connsiteY8" fmla="*/ 156859 h 217965"/>
                <a:gd name="connsiteX9" fmla="*/ 182 w 204342"/>
                <a:gd name="connsiteY9" fmla="*/ 210261 h 217965"/>
                <a:gd name="connsiteX10" fmla="*/ 1953 w 204342"/>
                <a:gd name="connsiteY10" fmla="*/ 216527 h 217965"/>
                <a:gd name="connsiteX11" fmla="*/ 6858 w 204342"/>
                <a:gd name="connsiteY11" fmla="*/ 218570 h 217965"/>
                <a:gd name="connsiteX12" fmla="*/ 8356 w 204342"/>
                <a:gd name="connsiteY12" fmla="*/ 218570 h 217965"/>
                <a:gd name="connsiteX13" fmla="*/ 61622 w 204342"/>
                <a:gd name="connsiteY13" fmla="*/ 206582 h 217965"/>
                <a:gd name="connsiteX14" fmla="*/ 61622 w 204342"/>
                <a:gd name="connsiteY14" fmla="*/ 206582 h 217965"/>
                <a:gd name="connsiteX15" fmla="*/ 62848 w 204342"/>
                <a:gd name="connsiteY15" fmla="*/ 205901 h 217965"/>
                <a:gd name="connsiteX16" fmla="*/ 63937 w 204342"/>
                <a:gd name="connsiteY16" fmla="*/ 205901 h 217965"/>
                <a:gd name="connsiteX17" fmla="*/ 63937 w 204342"/>
                <a:gd name="connsiteY17" fmla="*/ 205901 h 217965"/>
                <a:gd name="connsiteX18" fmla="*/ 190630 w 204342"/>
                <a:gd name="connsiteY18" fmla="*/ 79209 h 217965"/>
                <a:gd name="connsiteX19" fmla="*/ 190630 w 204342"/>
                <a:gd name="connsiteY19" fmla="*/ 79209 h 217965"/>
                <a:gd name="connsiteX20" fmla="*/ 190630 w 204342"/>
                <a:gd name="connsiteY20" fmla="*/ 79209 h 217965"/>
                <a:gd name="connsiteX21" fmla="*/ 210519 w 204342"/>
                <a:gd name="connsiteY21" fmla="*/ 59456 h 217965"/>
                <a:gd name="connsiteX22" fmla="*/ 217876 w 204342"/>
                <a:gd name="connsiteY22" fmla="*/ 40792 h 217965"/>
                <a:gd name="connsiteX23" fmla="*/ 144585 w 204342"/>
                <a:gd name="connsiteY23" fmla="*/ 41610 h 217965"/>
                <a:gd name="connsiteX24" fmla="*/ 177007 w 204342"/>
                <a:gd name="connsiteY24" fmla="*/ 73351 h 217965"/>
                <a:gd name="connsiteX25" fmla="*/ 59714 w 204342"/>
                <a:gd name="connsiteY25" fmla="*/ 190644 h 217965"/>
                <a:gd name="connsiteX26" fmla="*/ 27156 w 204342"/>
                <a:gd name="connsiteY26" fmla="*/ 158902 h 217965"/>
                <a:gd name="connsiteX27" fmla="*/ 21979 w 204342"/>
                <a:gd name="connsiteY27" fmla="*/ 172525 h 217965"/>
                <a:gd name="connsiteX28" fmla="*/ 45819 w 204342"/>
                <a:gd name="connsiteY28" fmla="*/ 196365 h 217965"/>
                <a:gd name="connsiteX29" fmla="*/ 15031 w 204342"/>
                <a:gd name="connsiteY29" fmla="*/ 203313 h 217965"/>
                <a:gd name="connsiteX30" fmla="*/ 201392 w 204342"/>
                <a:gd name="connsiteY30" fmla="*/ 48421 h 217965"/>
                <a:gd name="connsiteX31" fmla="*/ 186134 w 204342"/>
                <a:gd name="connsiteY31" fmla="*/ 63679 h 217965"/>
                <a:gd name="connsiteX32" fmla="*/ 154257 w 204342"/>
                <a:gd name="connsiteY32" fmla="*/ 31801 h 217965"/>
                <a:gd name="connsiteX33" fmla="*/ 169378 w 204342"/>
                <a:gd name="connsiteY33" fmla="*/ 16680 h 217965"/>
                <a:gd name="connsiteX34" fmla="*/ 184772 w 204342"/>
                <a:gd name="connsiteY34" fmla="*/ 16680 h 217965"/>
                <a:gd name="connsiteX35" fmla="*/ 201120 w 204342"/>
                <a:gd name="connsiteY35" fmla="*/ 32891 h 217965"/>
                <a:gd name="connsiteX36" fmla="*/ 201120 w 204342"/>
                <a:gd name="connsiteY36" fmla="*/ 48285 h 21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4342" h="217965">
                  <a:moveTo>
                    <a:pt x="217876" y="40792"/>
                  </a:moveTo>
                  <a:cubicBezTo>
                    <a:pt x="217907" y="34246"/>
                    <a:pt x="215305" y="27962"/>
                    <a:pt x="210656" y="23355"/>
                  </a:cubicBezTo>
                  <a:lnTo>
                    <a:pt x="194308" y="7144"/>
                  </a:lnTo>
                  <a:cubicBezTo>
                    <a:pt x="184741" y="-2381"/>
                    <a:pt x="169273" y="-2381"/>
                    <a:pt x="159706" y="7144"/>
                  </a:cubicBezTo>
                  <a:lnTo>
                    <a:pt x="13533" y="154407"/>
                  </a:lnTo>
                  <a:lnTo>
                    <a:pt x="13533" y="154407"/>
                  </a:lnTo>
                  <a:cubicBezTo>
                    <a:pt x="13258" y="154738"/>
                    <a:pt x="13029" y="155104"/>
                    <a:pt x="12852" y="155497"/>
                  </a:cubicBezTo>
                  <a:cubicBezTo>
                    <a:pt x="12544" y="155905"/>
                    <a:pt x="12314" y="156367"/>
                    <a:pt x="12171" y="156859"/>
                  </a:cubicBezTo>
                  <a:lnTo>
                    <a:pt x="12171" y="156859"/>
                  </a:lnTo>
                  <a:lnTo>
                    <a:pt x="182" y="210261"/>
                  </a:lnTo>
                  <a:cubicBezTo>
                    <a:pt x="-356" y="212515"/>
                    <a:pt x="315" y="214887"/>
                    <a:pt x="1953" y="216527"/>
                  </a:cubicBezTo>
                  <a:cubicBezTo>
                    <a:pt x="3253" y="217831"/>
                    <a:pt x="5017" y="218566"/>
                    <a:pt x="6858" y="218570"/>
                  </a:cubicBezTo>
                  <a:lnTo>
                    <a:pt x="8356" y="218570"/>
                  </a:lnTo>
                  <a:lnTo>
                    <a:pt x="61622" y="206582"/>
                  </a:lnTo>
                  <a:lnTo>
                    <a:pt x="61622" y="206582"/>
                  </a:lnTo>
                  <a:lnTo>
                    <a:pt x="62848" y="205901"/>
                  </a:lnTo>
                  <a:lnTo>
                    <a:pt x="63937" y="205901"/>
                  </a:lnTo>
                  <a:lnTo>
                    <a:pt x="63937" y="205901"/>
                  </a:lnTo>
                  <a:lnTo>
                    <a:pt x="190630" y="79209"/>
                  </a:lnTo>
                  <a:lnTo>
                    <a:pt x="190630" y="79209"/>
                  </a:lnTo>
                  <a:cubicBezTo>
                    <a:pt x="190630" y="79209"/>
                    <a:pt x="190630" y="79209"/>
                    <a:pt x="190630" y="79209"/>
                  </a:cubicBezTo>
                  <a:lnTo>
                    <a:pt x="210519" y="59456"/>
                  </a:lnTo>
                  <a:cubicBezTo>
                    <a:pt x="215550" y="54588"/>
                    <a:pt x="218233" y="47784"/>
                    <a:pt x="217876" y="40792"/>
                  </a:cubicBezTo>
                  <a:close/>
                  <a:moveTo>
                    <a:pt x="144585" y="41610"/>
                  </a:moveTo>
                  <a:lnTo>
                    <a:pt x="177007" y="73351"/>
                  </a:lnTo>
                  <a:lnTo>
                    <a:pt x="59714" y="190644"/>
                  </a:lnTo>
                  <a:lnTo>
                    <a:pt x="27156" y="158902"/>
                  </a:lnTo>
                  <a:close/>
                  <a:moveTo>
                    <a:pt x="21979" y="172525"/>
                  </a:moveTo>
                  <a:lnTo>
                    <a:pt x="45819" y="196365"/>
                  </a:lnTo>
                  <a:lnTo>
                    <a:pt x="15031" y="203313"/>
                  </a:lnTo>
                  <a:close/>
                  <a:moveTo>
                    <a:pt x="201392" y="48421"/>
                  </a:moveTo>
                  <a:lnTo>
                    <a:pt x="186134" y="63679"/>
                  </a:lnTo>
                  <a:lnTo>
                    <a:pt x="154257" y="31801"/>
                  </a:lnTo>
                  <a:lnTo>
                    <a:pt x="169378" y="16680"/>
                  </a:lnTo>
                  <a:cubicBezTo>
                    <a:pt x="173633" y="12436"/>
                    <a:pt x="180518" y="12436"/>
                    <a:pt x="184772" y="16680"/>
                  </a:cubicBezTo>
                  <a:lnTo>
                    <a:pt x="201120" y="32891"/>
                  </a:lnTo>
                  <a:cubicBezTo>
                    <a:pt x="205289" y="37175"/>
                    <a:pt x="205289" y="44000"/>
                    <a:pt x="201120" y="48285"/>
                  </a:cubicBezTo>
                  <a:close/>
                </a:path>
              </a:pathLst>
            </a:custGeom>
            <a:grpFill/>
            <a:ln w="13447" cap="flat">
              <a:solidFill>
                <a:srgbClr val="416CF9"/>
              </a:solid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1BE5DB5C-4CEA-3FA6-C949-02A10C521AF7}"/>
                </a:ext>
              </a:extLst>
            </p:cNvPr>
            <p:cNvSpPr/>
            <p:nvPr/>
          </p:nvSpPr>
          <p:spPr>
            <a:xfrm>
              <a:off x="5864411" y="3152576"/>
              <a:ext cx="313326" cy="463177"/>
            </a:xfrm>
            <a:custGeom>
              <a:avLst/>
              <a:gdLst>
                <a:gd name="connsiteX0" fmla="*/ 258835 w 313325"/>
                <a:gd name="connsiteY0" fmla="*/ 233097 h 463177"/>
                <a:gd name="connsiteX1" fmla="*/ 295617 w 313325"/>
                <a:gd name="connsiteY1" fmla="*/ 292356 h 463177"/>
                <a:gd name="connsiteX2" fmla="*/ 298478 w 313325"/>
                <a:gd name="connsiteY2" fmla="*/ 293038 h 463177"/>
                <a:gd name="connsiteX3" fmla="*/ 304608 w 313325"/>
                <a:gd name="connsiteY3" fmla="*/ 288951 h 463177"/>
                <a:gd name="connsiteX4" fmla="*/ 301502 w 313325"/>
                <a:gd name="connsiteY4" fmla="*/ 280036 h 463177"/>
                <a:gd name="connsiteX5" fmla="*/ 301338 w 313325"/>
                <a:gd name="connsiteY5" fmla="*/ 279960 h 463177"/>
                <a:gd name="connsiteX6" fmla="*/ 273275 w 313325"/>
                <a:gd name="connsiteY6" fmla="*/ 223970 h 463177"/>
                <a:gd name="connsiteX7" fmla="*/ 284037 w 313325"/>
                <a:gd name="connsiteY7" fmla="*/ 214161 h 463177"/>
                <a:gd name="connsiteX8" fmla="*/ 314144 w 313325"/>
                <a:gd name="connsiteY8" fmla="*/ 131471 h 463177"/>
                <a:gd name="connsiteX9" fmla="*/ 315506 w 313325"/>
                <a:gd name="connsiteY9" fmla="*/ 123024 h 463177"/>
                <a:gd name="connsiteX10" fmla="*/ 315506 w 313325"/>
                <a:gd name="connsiteY10" fmla="*/ 69350 h 463177"/>
                <a:gd name="connsiteX11" fmla="*/ 215787 w 313325"/>
                <a:gd name="connsiteY11" fmla="*/ 10 h 463177"/>
                <a:gd name="connsiteX12" fmla="*/ 117294 w 313325"/>
                <a:gd name="connsiteY12" fmla="*/ 69350 h 463177"/>
                <a:gd name="connsiteX13" fmla="*/ 117294 w 313325"/>
                <a:gd name="connsiteY13" fmla="*/ 122616 h 463177"/>
                <a:gd name="connsiteX14" fmla="*/ 117975 w 313325"/>
                <a:gd name="connsiteY14" fmla="*/ 126566 h 463177"/>
                <a:gd name="connsiteX15" fmla="*/ 150261 w 313325"/>
                <a:gd name="connsiteY15" fmla="*/ 212799 h 463177"/>
                <a:gd name="connsiteX16" fmla="*/ 158843 w 313325"/>
                <a:gd name="connsiteY16" fmla="*/ 220973 h 463177"/>
                <a:gd name="connsiteX17" fmla="*/ 160206 w 313325"/>
                <a:gd name="connsiteY17" fmla="*/ 232688 h 463177"/>
                <a:gd name="connsiteX18" fmla="*/ 111893 w 313325"/>
                <a:gd name="connsiteY18" fmla="*/ 284314 h 463177"/>
                <a:gd name="connsiteX19" fmla="*/ 111708 w 313325"/>
                <a:gd name="connsiteY19" fmla="*/ 284319 h 463177"/>
                <a:gd name="connsiteX20" fmla="*/ 1 w 313325"/>
                <a:gd name="connsiteY20" fmla="*/ 398478 h 463177"/>
                <a:gd name="connsiteX21" fmla="*/ 1 w 313325"/>
                <a:gd name="connsiteY21" fmla="*/ 456376 h 463177"/>
                <a:gd name="connsiteX22" fmla="*/ 6812 w 313325"/>
                <a:gd name="connsiteY22" fmla="*/ 463187 h 463177"/>
                <a:gd name="connsiteX23" fmla="*/ 13624 w 313325"/>
                <a:gd name="connsiteY23" fmla="*/ 456376 h 463177"/>
                <a:gd name="connsiteX24" fmla="*/ 13624 w 313325"/>
                <a:gd name="connsiteY24" fmla="*/ 398615 h 463177"/>
                <a:gd name="connsiteX25" fmla="*/ 111708 w 313325"/>
                <a:gd name="connsiteY25" fmla="*/ 297942 h 463177"/>
                <a:gd name="connsiteX26" fmla="*/ 173828 w 313325"/>
                <a:gd name="connsiteY26" fmla="*/ 233097 h 463177"/>
                <a:gd name="connsiteX27" fmla="*/ 173828 w 313325"/>
                <a:gd name="connsiteY27" fmla="*/ 230781 h 463177"/>
                <a:gd name="connsiteX28" fmla="*/ 217422 w 313325"/>
                <a:gd name="connsiteY28" fmla="*/ 241135 h 463177"/>
                <a:gd name="connsiteX29" fmla="*/ 217966 w 313325"/>
                <a:gd name="connsiteY29" fmla="*/ 241135 h 463177"/>
                <a:gd name="connsiteX30" fmla="*/ 258835 w 313325"/>
                <a:gd name="connsiteY30" fmla="*/ 232416 h 463177"/>
                <a:gd name="connsiteX31" fmla="*/ 217966 w 313325"/>
                <a:gd name="connsiteY31" fmla="*/ 227512 h 463177"/>
                <a:gd name="connsiteX32" fmla="*/ 217966 w 313325"/>
                <a:gd name="connsiteY32" fmla="*/ 227512 h 463177"/>
                <a:gd name="connsiteX33" fmla="*/ 160614 w 313325"/>
                <a:gd name="connsiteY33" fmla="*/ 204353 h 463177"/>
                <a:gd name="connsiteX34" fmla="*/ 131461 w 313325"/>
                <a:gd name="connsiteY34" fmla="*/ 124932 h 463177"/>
                <a:gd name="connsiteX35" fmla="*/ 130780 w 313325"/>
                <a:gd name="connsiteY35" fmla="*/ 120845 h 463177"/>
                <a:gd name="connsiteX36" fmla="*/ 130780 w 313325"/>
                <a:gd name="connsiteY36" fmla="*/ 72211 h 463177"/>
                <a:gd name="connsiteX37" fmla="*/ 216059 w 313325"/>
                <a:gd name="connsiteY37" fmla="*/ 13769 h 463177"/>
                <a:gd name="connsiteX38" fmla="*/ 302156 w 313325"/>
                <a:gd name="connsiteY38" fmla="*/ 72211 h 463177"/>
                <a:gd name="connsiteX39" fmla="*/ 302156 w 313325"/>
                <a:gd name="connsiteY39" fmla="*/ 120845 h 463177"/>
                <a:gd name="connsiteX40" fmla="*/ 300793 w 313325"/>
                <a:gd name="connsiteY40" fmla="*/ 129563 h 463177"/>
                <a:gd name="connsiteX41" fmla="*/ 273548 w 313325"/>
                <a:gd name="connsiteY41" fmla="*/ 205443 h 463177"/>
                <a:gd name="connsiteX42" fmla="*/ 217966 w 313325"/>
                <a:gd name="connsiteY42" fmla="*/ 227512 h 46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13325" h="463177">
                  <a:moveTo>
                    <a:pt x="258835" y="233097"/>
                  </a:moveTo>
                  <a:cubicBezTo>
                    <a:pt x="258625" y="258295"/>
                    <a:pt x="272943" y="281363"/>
                    <a:pt x="295617" y="292356"/>
                  </a:cubicBezTo>
                  <a:cubicBezTo>
                    <a:pt x="296514" y="292773"/>
                    <a:pt x="297487" y="293005"/>
                    <a:pt x="298478" y="293038"/>
                  </a:cubicBezTo>
                  <a:cubicBezTo>
                    <a:pt x="301156" y="293028"/>
                    <a:pt x="303570" y="291419"/>
                    <a:pt x="304608" y="288951"/>
                  </a:cubicBezTo>
                  <a:cubicBezTo>
                    <a:pt x="306213" y="285631"/>
                    <a:pt x="304822" y="281641"/>
                    <a:pt x="301502" y="280036"/>
                  </a:cubicBezTo>
                  <a:cubicBezTo>
                    <a:pt x="301447" y="280010"/>
                    <a:pt x="301393" y="279984"/>
                    <a:pt x="301338" y="279960"/>
                  </a:cubicBezTo>
                  <a:cubicBezTo>
                    <a:pt x="280611" y="269576"/>
                    <a:pt x="269190" y="246789"/>
                    <a:pt x="273275" y="223970"/>
                  </a:cubicBezTo>
                  <a:cubicBezTo>
                    <a:pt x="277214" y="221106"/>
                    <a:pt x="280822" y="217818"/>
                    <a:pt x="284037" y="214161"/>
                  </a:cubicBezTo>
                  <a:cubicBezTo>
                    <a:pt x="305289" y="189504"/>
                    <a:pt x="310466" y="155992"/>
                    <a:pt x="314144" y="131471"/>
                  </a:cubicBezTo>
                  <a:lnTo>
                    <a:pt x="315506" y="123024"/>
                  </a:lnTo>
                  <a:cubicBezTo>
                    <a:pt x="318562" y="105263"/>
                    <a:pt x="318562" y="87111"/>
                    <a:pt x="315506" y="69350"/>
                  </a:cubicBezTo>
                  <a:cubicBezTo>
                    <a:pt x="299704" y="-2442"/>
                    <a:pt x="216196" y="10"/>
                    <a:pt x="215787" y="10"/>
                  </a:cubicBezTo>
                  <a:cubicBezTo>
                    <a:pt x="215378" y="10"/>
                    <a:pt x="131870" y="-1897"/>
                    <a:pt x="117294" y="69350"/>
                  </a:cubicBezTo>
                  <a:cubicBezTo>
                    <a:pt x="114444" y="86991"/>
                    <a:pt x="114444" y="104975"/>
                    <a:pt x="117294" y="122616"/>
                  </a:cubicBezTo>
                  <a:lnTo>
                    <a:pt x="117975" y="126566"/>
                  </a:lnTo>
                  <a:cubicBezTo>
                    <a:pt x="122062" y="151905"/>
                    <a:pt x="127783" y="186643"/>
                    <a:pt x="150261" y="212799"/>
                  </a:cubicBezTo>
                  <a:cubicBezTo>
                    <a:pt x="152883" y="215763"/>
                    <a:pt x="155755" y="218497"/>
                    <a:pt x="158843" y="220973"/>
                  </a:cubicBezTo>
                  <a:cubicBezTo>
                    <a:pt x="159707" y="224820"/>
                    <a:pt x="160165" y="228746"/>
                    <a:pt x="160206" y="232688"/>
                  </a:cubicBezTo>
                  <a:cubicBezTo>
                    <a:pt x="161121" y="260286"/>
                    <a:pt x="139491" y="283398"/>
                    <a:pt x="111893" y="284314"/>
                  </a:cubicBezTo>
                  <a:cubicBezTo>
                    <a:pt x="111832" y="284315"/>
                    <a:pt x="111770" y="284318"/>
                    <a:pt x="111708" y="284319"/>
                  </a:cubicBezTo>
                  <a:cubicBezTo>
                    <a:pt x="49525" y="285436"/>
                    <a:pt x="-233" y="336286"/>
                    <a:pt x="1" y="398478"/>
                  </a:cubicBezTo>
                  <a:lnTo>
                    <a:pt x="1" y="456376"/>
                  </a:lnTo>
                  <a:cubicBezTo>
                    <a:pt x="1" y="460137"/>
                    <a:pt x="3050" y="463187"/>
                    <a:pt x="6812" y="463187"/>
                  </a:cubicBezTo>
                  <a:cubicBezTo>
                    <a:pt x="10574" y="463187"/>
                    <a:pt x="13624" y="460137"/>
                    <a:pt x="13624" y="456376"/>
                  </a:cubicBezTo>
                  <a:lnTo>
                    <a:pt x="13624" y="398615"/>
                  </a:lnTo>
                  <a:cubicBezTo>
                    <a:pt x="13388" y="343922"/>
                    <a:pt x="57028" y="299130"/>
                    <a:pt x="111708" y="297942"/>
                  </a:cubicBezTo>
                  <a:cubicBezTo>
                    <a:pt x="146739" y="297123"/>
                    <a:pt x="174514" y="268131"/>
                    <a:pt x="173828" y="233097"/>
                  </a:cubicBezTo>
                  <a:cubicBezTo>
                    <a:pt x="173828" y="232416"/>
                    <a:pt x="173828" y="231599"/>
                    <a:pt x="173828" y="230781"/>
                  </a:cubicBezTo>
                  <a:cubicBezTo>
                    <a:pt x="187458" y="237292"/>
                    <a:pt x="202319" y="240821"/>
                    <a:pt x="217422" y="241135"/>
                  </a:cubicBezTo>
                  <a:lnTo>
                    <a:pt x="217966" y="241135"/>
                  </a:lnTo>
                  <a:cubicBezTo>
                    <a:pt x="232040" y="241041"/>
                    <a:pt x="245948" y="238073"/>
                    <a:pt x="258835" y="232416"/>
                  </a:cubicBezTo>
                  <a:close/>
                  <a:moveTo>
                    <a:pt x="217966" y="227512"/>
                  </a:moveTo>
                  <a:lnTo>
                    <a:pt x="217966" y="227512"/>
                  </a:lnTo>
                  <a:cubicBezTo>
                    <a:pt x="196554" y="227603"/>
                    <a:pt x="175960" y="219286"/>
                    <a:pt x="160614" y="204353"/>
                  </a:cubicBezTo>
                  <a:cubicBezTo>
                    <a:pt x="140589" y="181194"/>
                    <a:pt x="135276" y="148635"/>
                    <a:pt x="131461" y="124932"/>
                  </a:cubicBezTo>
                  <a:lnTo>
                    <a:pt x="130780" y="120845"/>
                  </a:lnTo>
                  <a:cubicBezTo>
                    <a:pt x="128132" y="104742"/>
                    <a:pt x="128132" y="88314"/>
                    <a:pt x="130780" y="72211"/>
                  </a:cubicBezTo>
                  <a:cubicBezTo>
                    <a:pt x="143041" y="12271"/>
                    <a:pt x="212517" y="13633"/>
                    <a:pt x="216059" y="13769"/>
                  </a:cubicBezTo>
                  <a:cubicBezTo>
                    <a:pt x="219601" y="13905"/>
                    <a:pt x="289486" y="11862"/>
                    <a:pt x="302156" y="72211"/>
                  </a:cubicBezTo>
                  <a:cubicBezTo>
                    <a:pt x="304756" y="88318"/>
                    <a:pt x="304756" y="104738"/>
                    <a:pt x="302156" y="120845"/>
                  </a:cubicBezTo>
                  <a:lnTo>
                    <a:pt x="300793" y="129563"/>
                  </a:lnTo>
                  <a:cubicBezTo>
                    <a:pt x="296979" y="153676"/>
                    <a:pt x="292347" y="184055"/>
                    <a:pt x="273548" y="205443"/>
                  </a:cubicBezTo>
                  <a:cubicBezTo>
                    <a:pt x="258685" y="219886"/>
                    <a:pt x="238688" y="227825"/>
                    <a:pt x="217966" y="227512"/>
                  </a:cubicBezTo>
                  <a:close/>
                </a:path>
              </a:pathLst>
            </a:custGeom>
            <a:grpFill/>
            <a:ln w="13447" cap="flat">
              <a:solidFill>
                <a:srgbClr val="416CF9"/>
              </a:solidFill>
              <a:prstDash val="solid"/>
              <a:miter/>
            </a:ln>
          </p:spPr>
          <p:txBody>
            <a:bodyPr rtlCol="0" anchor="ctr"/>
            <a:lstStyle/>
            <a:p>
              <a:endParaRPr lang="en-US"/>
            </a:p>
          </p:txBody>
        </p:sp>
      </p:grpSp>
      <p:sp>
        <p:nvSpPr>
          <p:cNvPr id="88" name="TextBox 87">
            <a:extLst>
              <a:ext uri="{FF2B5EF4-FFF2-40B4-BE49-F238E27FC236}">
                <a16:creationId xmlns:a16="http://schemas.microsoft.com/office/drawing/2014/main" id="{AA5E0C33-0C9E-1587-F366-8A0584C51C3A}"/>
              </a:ext>
            </a:extLst>
          </p:cNvPr>
          <p:cNvSpPr txBox="1"/>
          <p:nvPr/>
        </p:nvSpPr>
        <p:spPr>
          <a:xfrm>
            <a:off x="5970688" y="10846772"/>
            <a:ext cx="2026699" cy="4033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40000"/>
              </a:lnSpc>
            </a:pPr>
            <a:r>
              <a:rPr lang="de-DE" sz="1600"/>
              <a:t>UX&amp;UI </a:t>
            </a:r>
            <a:r>
              <a:rPr lang="de-DE" sz="1600" err="1"/>
              <a:t>designer</a:t>
            </a:r>
            <a:r>
              <a:rPr lang="de-DE" sz="1600"/>
              <a:t> (1)</a:t>
            </a:r>
          </a:p>
        </p:txBody>
      </p:sp>
      <p:sp>
        <p:nvSpPr>
          <p:cNvPr id="174" name="Footer Placeholder 3">
            <a:extLst>
              <a:ext uri="{FF2B5EF4-FFF2-40B4-BE49-F238E27FC236}">
                <a16:creationId xmlns:a16="http://schemas.microsoft.com/office/drawing/2014/main" id="{33215F10-50F3-369D-665B-1459AD49996A}"/>
              </a:ext>
            </a:extLst>
          </p:cNvPr>
          <p:cNvSpPr>
            <a:spLocks noGrp="1"/>
          </p:cNvSpPr>
          <p:nvPr>
            <p:ph type="ftr" sz="quarter" idx="11"/>
          </p:nvPr>
        </p:nvSpPr>
        <p:spPr>
          <a:xfrm>
            <a:off x="17403229" y="13025875"/>
            <a:ext cx="5205944" cy="369328"/>
          </a:xfrm>
        </p:spPr>
        <p:txBody>
          <a:bodyPr/>
          <a:lstStyle>
            <a:lvl1pPr>
              <a:defRPr b="0" i="0"/>
            </a:lvl1pPr>
          </a:lstStyle>
          <a:p>
            <a:r>
              <a:rPr lang="en-US"/>
              <a:t>AI Genies | Claire the Car Repair Assessment Agent</a:t>
            </a:r>
            <a:endParaRPr lang="de-DE"/>
          </a:p>
        </p:txBody>
      </p:sp>
      <p:grpSp>
        <p:nvGrpSpPr>
          <p:cNvPr id="100" name="Group 99">
            <a:extLst>
              <a:ext uri="{FF2B5EF4-FFF2-40B4-BE49-F238E27FC236}">
                <a16:creationId xmlns:a16="http://schemas.microsoft.com/office/drawing/2014/main" id="{71664E75-2A9C-5C70-EDFD-5D4B1474A864}"/>
              </a:ext>
            </a:extLst>
          </p:cNvPr>
          <p:cNvGrpSpPr/>
          <p:nvPr/>
        </p:nvGrpSpPr>
        <p:grpSpPr>
          <a:xfrm>
            <a:off x="1332708" y="4051844"/>
            <a:ext cx="21394200" cy="5118143"/>
            <a:chOff x="1332708" y="4051844"/>
            <a:chExt cx="21394200" cy="5118143"/>
          </a:xfrm>
        </p:grpSpPr>
        <p:sp>
          <p:nvSpPr>
            <p:cNvPr id="5" name="Richtungspfeil 11">
              <a:extLst>
                <a:ext uri="{FF2B5EF4-FFF2-40B4-BE49-F238E27FC236}">
                  <a16:creationId xmlns:a16="http://schemas.microsoft.com/office/drawing/2014/main" id="{4BF223D7-CAAB-E263-69E6-0B886B8F4245}"/>
                </a:ext>
              </a:extLst>
            </p:cNvPr>
            <p:cNvSpPr/>
            <p:nvPr>
              <p:custDataLst>
                <p:tags r:id="rId1"/>
              </p:custDataLst>
            </p:nvPr>
          </p:nvSpPr>
          <p:spPr bwMode="auto">
            <a:xfrm>
              <a:off x="1332708" y="4051844"/>
              <a:ext cx="5343320" cy="997196"/>
            </a:xfrm>
            <a:prstGeom prst="homePlate">
              <a:avLst>
                <a:gd name="adj" fmla="val 18199"/>
              </a:avLst>
            </a:prstGeom>
            <a:solidFill>
              <a:srgbClr val="0E176D"/>
            </a:solidFill>
            <a:ln w="9525" cmpd="sng">
              <a:noFill/>
              <a:prstDash val="solid"/>
              <a:miter lim="800000"/>
              <a:headEnd/>
              <a:tailEnd/>
            </a:ln>
            <a:effectLst/>
          </p:spPr>
          <p:txBody>
            <a:bodyPr lIns="216000" tIns="216000" rIns="144000" bIns="108000" anchor="t"/>
            <a:lstStyle/>
            <a:p>
              <a:pPr>
                <a:spcBef>
                  <a:spcPct val="0"/>
                </a:spcBef>
                <a:spcAft>
                  <a:spcPct val="0"/>
                </a:spcAft>
              </a:pPr>
              <a:r>
                <a:rPr kumimoji="0" lang="de-DE" b="1" i="0" u="none" strike="noStrike" cap="none" spc="0" normalizeH="0" baseline="0">
                  <a:ln>
                    <a:noFill/>
                  </a:ln>
                  <a:solidFill>
                    <a:schemeClr val="bg1"/>
                  </a:solidFill>
                  <a:effectLst/>
                  <a:uFill>
                    <a:solidFill>
                      <a:schemeClr val="accent1">
                        <a:lumOff val="-57413"/>
                      </a:schemeClr>
                    </a:solidFill>
                  </a:uFill>
                  <a:latin typeface="+mn-lt"/>
                  <a:ea typeface="+mn-ea"/>
                  <a:cs typeface="+mn-cs"/>
                  <a:sym typeface="BentonSansF Book"/>
                </a:rPr>
                <a:t>1. </a:t>
              </a:r>
              <a:r>
                <a:rPr kumimoji="0" lang="de-DE" b="1" i="0" u="none" strike="noStrike" cap="none" spc="0" normalizeH="0" baseline="0" err="1">
                  <a:ln>
                    <a:noFill/>
                  </a:ln>
                  <a:solidFill>
                    <a:schemeClr val="bg1"/>
                  </a:solidFill>
                  <a:effectLst/>
                  <a:uFill>
                    <a:solidFill>
                      <a:schemeClr val="accent1">
                        <a:lumOff val="-57413"/>
                      </a:schemeClr>
                    </a:solidFill>
                  </a:uFill>
                  <a:latin typeface="+mn-lt"/>
                  <a:ea typeface="+mn-ea"/>
                  <a:cs typeface="+mn-cs"/>
                  <a:sym typeface="BentonSansF Book"/>
                </a:rPr>
                <a:t>Planning</a:t>
              </a:r>
              <a:r>
                <a:rPr kumimoji="0" lang="de-DE" b="1" i="0" u="none" strike="noStrike" cap="none" spc="0" normalizeH="0" baseline="0">
                  <a:ln>
                    <a:noFill/>
                  </a:ln>
                  <a:solidFill>
                    <a:schemeClr val="bg1"/>
                  </a:solidFill>
                  <a:effectLst/>
                  <a:uFill>
                    <a:solidFill>
                      <a:schemeClr val="accent1">
                        <a:lumOff val="-57413"/>
                      </a:schemeClr>
                    </a:solidFill>
                  </a:uFill>
                  <a:latin typeface="+mn-lt"/>
                  <a:ea typeface="+mn-ea"/>
                  <a:cs typeface="+mn-cs"/>
                  <a:sym typeface="BentonSansF Book"/>
                </a:rPr>
                <a:t> &amp; Design</a:t>
              </a:r>
              <a:endParaRPr lang="en-US" b="1">
                <a:solidFill>
                  <a:schemeClr val="bg1"/>
                </a:solidFill>
              </a:endParaRPr>
            </a:p>
          </p:txBody>
        </p:sp>
        <p:sp>
          <p:nvSpPr>
            <p:cNvPr id="8" name="Eingekerbter Richtungspfeil 12">
              <a:extLst>
                <a:ext uri="{FF2B5EF4-FFF2-40B4-BE49-F238E27FC236}">
                  <a16:creationId xmlns:a16="http://schemas.microsoft.com/office/drawing/2014/main" id="{ED6DBC4B-4B04-A7C2-EF56-3247A0BAE216}"/>
                </a:ext>
              </a:extLst>
            </p:cNvPr>
            <p:cNvSpPr/>
            <p:nvPr>
              <p:custDataLst>
                <p:tags r:id="rId2"/>
              </p:custDataLst>
            </p:nvPr>
          </p:nvSpPr>
          <p:spPr bwMode="auto">
            <a:xfrm>
              <a:off x="17349600" y="4051844"/>
              <a:ext cx="5377308" cy="997196"/>
            </a:xfrm>
            <a:prstGeom prst="chevron">
              <a:avLst>
                <a:gd name="adj" fmla="val 18199"/>
              </a:avLst>
            </a:prstGeom>
            <a:solidFill>
              <a:schemeClr val="tx2">
                <a:lumMod val="50000"/>
              </a:schemeClr>
            </a:solidFill>
            <a:ln w="9525" cmpd="sng">
              <a:noFill/>
              <a:prstDash val="solid"/>
              <a:miter lim="800000"/>
              <a:headEnd/>
              <a:tailEnd/>
            </a:ln>
            <a:effectLst/>
          </p:spPr>
          <p:txBody>
            <a:bodyPr lIns="216000" tIns="216000" rIns="144000" bIns="108000" anchor="t"/>
            <a:lstStyle/>
            <a:p>
              <a:pPr>
                <a:spcBef>
                  <a:spcPct val="0"/>
                </a:spcBef>
                <a:spcAft>
                  <a:spcPct val="0"/>
                </a:spcAft>
              </a:pPr>
              <a:r>
                <a:rPr kumimoji="0" lang="en-US" b="1" i="0" u="none" strike="noStrike" cap="none" spc="0" normalizeH="0" baseline="0">
                  <a:ln>
                    <a:noFill/>
                  </a:ln>
                  <a:solidFill>
                    <a:schemeClr val="bg1"/>
                  </a:solidFill>
                  <a:effectLst/>
                  <a:uFill>
                    <a:solidFill>
                      <a:schemeClr val="accent1">
                        <a:lumOff val="-57413"/>
                      </a:schemeClr>
                    </a:solidFill>
                  </a:uFill>
                  <a:latin typeface="+mn-lt"/>
                  <a:ea typeface="+mn-ea"/>
                  <a:cs typeface="+mn-cs"/>
                  <a:sym typeface="BentonSansF Book"/>
                </a:rPr>
                <a:t>3.2 Marketing and Promotion</a:t>
              </a:r>
            </a:p>
          </p:txBody>
        </p:sp>
        <p:sp>
          <p:nvSpPr>
            <p:cNvPr id="13" name="Eingekerbter Richtungspfeil 12">
              <a:extLst>
                <a:ext uri="{FF2B5EF4-FFF2-40B4-BE49-F238E27FC236}">
                  <a16:creationId xmlns:a16="http://schemas.microsoft.com/office/drawing/2014/main" id="{B06481B2-661B-070B-1D19-F1EB0D571869}"/>
                </a:ext>
              </a:extLst>
            </p:cNvPr>
            <p:cNvSpPr/>
            <p:nvPr>
              <p:custDataLst>
                <p:tags r:id="rId3"/>
              </p:custDataLst>
            </p:nvPr>
          </p:nvSpPr>
          <p:spPr bwMode="auto">
            <a:xfrm>
              <a:off x="12010634" y="4051844"/>
              <a:ext cx="5343320" cy="997196"/>
            </a:xfrm>
            <a:prstGeom prst="chevron">
              <a:avLst>
                <a:gd name="adj" fmla="val 18199"/>
              </a:avLst>
            </a:prstGeom>
            <a:solidFill>
              <a:schemeClr val="tx2">
                <a:lumMod val="50000"/>
              </a:schemeClr>
            </a:solidFill>
            <a:ln w="9525" cmpd="sng">
              <a:noFill/>
              <a:prstDash val="solid"/>
              <a:miter lim="800000"/>
              <a:headEnd/>
              <a:tailEnd/>
            </a:ln>
            <a:effectLst/>
          </p:spPr>
          <p:txBody>
            <a:bodyPr lIns="216000" tIns="216000" rIns="144000" bIns="108000" anchor="t"/>
            <a:lstStyle/>
            <a:p>
              <a:r>
                <a:rPr kumimoji="0" lang="en-US" b="1" i="0" u="none" strike="noStrike" cap="none" spc="0" normalizeH="0" baseline="0">
                  <a:ln>
                    <a:noFill/>
                  </a:ln>
                  <a:solidFill>
                    <a:schemeClr val="bg1"/>
                  </a:solidFill>
                  <a:effectLst/>
                  <a:uFill>
                    <a:solidFill>
                      <a:schemeClr val="accent1">
                        <a:lumOff val="-57413"/>
                      </a:schemeClr>
                    </a:solidFill>
                  </a:uFill>
                  <a:latin typeface="+mn-lt"/>
                  <a:ea typeface="+mn-ea"/>
                  <a:cs typeface="+mn-cs"/>
                  <a:sym typeface="BentonSansF Book"/>
                </a:rPr>
                <a:t>3.1 Deployment &amp; Scaling</a:t>
              </a:r>
              <a:endParaRPr lang="en-US" b="0" i="0">
                <a:solidFill>
                  <a:schemeClr val="bg1"/>
                </a:solidFill>
                <a:effectLst/>
              </a:endParaRPr>
            </a:p>
          </p:txBody>
        </p:sp>
        <p:sp>
          <p:nvSpPr>
            <p:cNvPr id="15" name="Eingekerbter Richtungspfeil 12">
              <a:extLst>
                <a:ext uri="{FF2B5EF4-FFF2-40B4-BE49-F238E27FC236}">
                  <a16:creationId xmlns:a16="http://schemas.microsoft.com/office/drawing/2014/main" id="{A6C7BAFB-523F-FF3A-14BA-0217D0CD5C68}"/>
                </a:ext>
              </a:extLst>
            </p:cNvPr>
            <p:cNvSpPr/>
            <p:nvPr>
              <p:custDataLst>
                <p:tags r:id="rId4"/>
              </p:custDataLst>
            </p:nvPr>
          </p:nvSpPr>
          <p:spPr bwMode="auto">
            <a:xfrm>
              <a:off x="6671674" y="4051844"/>
              <a:ext cx="5343314" cy="997196"/>
            </a:xfrm>
            <a:prstGeom prst="chevron">
              <a:avLst>
                <a:gd name="adj" fmla="val 18199"/>
              </a:avLst>
            </a:prstGeom>
            <a:solidFill>
              <a:schemeClr val="tx2">
                <a:lumMod val="50000"/>
              </a:schemeClr>
            </a:solidFill>
            <a:ln w="9525" cmpd="sng">
              <a:noFill/>
              <a:prstDash val="solid"/>
              <a:miter lim="800000"/>
              <a:headEnd/>
              <a:tailEnd/>
            </a:ln>
            <a:effectLst/>
          </p:spPr>
          <p:txBody>
            <a:bodyPr lIns="216000" tIns="108000" rIns="144000" bIns="108000" anchor="t"/>
            <a:lstStyle/>
            <a:p>
              <a:pPr>
                <a:lnSpc>
                  <a:spcPct val="100000"/>
                </a:lnSpc>
              </a:pPr>
              <a:r>
                <a:rPr kumimoji="0" lang="de-DE" b="1" i="0" u="none" strike="noStrike" cap="none" spc="0" normalizeH="0" baseline="0">
                  <a:ln>
                    <a:noFill/>
                  </a:ln>
                  <a:solidFill>
                    <a:schemeClr val="bg1"/>
                  </a:solidFill>
                  <a:effectLst/>
                  <a:uFill>
                    <a:solidFill>
                      <a:schemeClr val="accent1">
                        <a:lumOff val="-57413"/>
                      </a:schemeClr>
                    </a:solidFill>
                  </a:uFill>
                  <a:latin typeface="+mn-lt"/>
                  <a:ea typeface="+mn-ea"/>
                  <a:cs typeface="+mn-cs"/>
                  <a:sym typeface="BentonSansF Book"/>
                </a:rPr>
                <a:t>2. Development </a:t>
              </a:r>
              <a:r>
                <a:rPr kumimoji="0" lang="de-DE" b="1" i="0" u="none" strike="noStrike" cap="none" spc="0" normalizeH="0" baseline="0" err="1">
                  <a:ln>
                    <a:noFill/>
                  </a:ln>
                  <a:solidFill>
                    <a:schemeClr val="bg1"/>
                  </a:solidFill>
                  <a:effectLst/>
                  <a:uFill>
                    <a:solidFill>
                      <a:schemeClr val="accent1">
                        <a:lumOff val="-57413"/>
                      </a:schemeClr>
                    </a:solidFill>
                  </a:uFill>
                  <a:latin typeface="+mn-lt"/>
                  <a:ea typeface="+mn-ea"/>
                  <a:cs typeface="+mn-cs"/>
                  <a:sym typeface="BentonSansF Book"/>
                </a:rPr>
                <a:t>of</a:t>
              </a:r>
              <a:r>
                <a:rPr kumimoji="0" lang="de-DE" b="1" i="0" u="none" strike="noStrike" cap="none" spc="0" normalizeH="0" baseline="0">
                  <a:ln>
                    <a:noFill/>
                  </a:ln>
                  <a:solidFill>
                    <a:schemeClr val="bg1"/>
                  </a:solidFill>
                  <a:effectLst/>
                  <a:uFill>
                    <a:solidFill>
                      <a:schemeClr val="accent1">
                        <a:lumOff val="-57413"/>
                      </a:schemeClr>
                    </a:solidFill>
                  </a:uFill>
                  <a:latin typeface="+mn-lt"/>
                  <a:ea typeface="+mn-ea"/>
                  <a:cs typeface="+mn-cs"/>
                  <a:sym typeface="BentonSansF Book"/>
                </a:rPr>
                <a:t> Web-</a:t>
              </a:r>
              <a:r>
                <a:rPr kumimoji="0" lang="de-DE" b="1" i="0" u="none" strike="noStrike" cap="none" spc="0" normalizeH="0" baseline="0" err="1">
                  <a:ln>
                    <a:noFill/>
                  </a:ln>
                  <a:solidFill>
                    <a:schemeClr val="bg1"/>
                  </a:solidFill>
                  <a:effectLst/>
                  <a:uFill>
                    <a:solidFill>
                      <a:schemeClr val="accent1">
                        <a:lumOff val="-57413"/>
                      </a:schemeClr>
                    </a:solidFill>
                  </a:uFill>
                  <a:latin typeface="+mn-lt"/>
                  <a:ea typeface="+mn-ea"/>
                  <a:cs typeface="+mn-cs"/>
                  <a:sym typeface="BentonSansF Book"/>
                </a:rPr>
                <a:t>Based</a:t>
              </a:r>
              <a:r>
                <a:rPr kumimoji="0" lang="de-DE" b="1" i="0" u="none" strike="noStrike" cap="none" spc="0" normalizeH="0" baseline="0">
                  <a:ln>
                    <a:noFill/>
                  </a:ln>
                  <a:solidFill>
                    <a:schemeClr val="bg1"/>
                  </a:solidFill>
                  <a:effectLst/>
                  <a:uFill>
                    <a:solidFill>
                      <a:schemeClr val="accent1">
                        <a:lumOff val="-57413"/>
                      </a:schemeClr>
                    </a:solidFill>
                  </a:uFill>
                  <a:latin typeface="+mn-lt"/>
                  <a:ea typeface="+mn-ea"/>
                  <a:cs typeface="+mn-cs"/>
                  <a:sym typeface="BentonSansF Book"/>
                </a:rPr>
                <a:t> </a:t>
              </a:r>
              <a:r>
                <a:rPr kumimoji="0" lang="de-DE" b="1" i="0" u="none" strike="noStrike" cap="none" spc="0" normalizeH="0" baseline="0" err="1">
                  <a:ln>
                    <a:noFill/>
                  </a:ln>
                  <a:solidFill>
                    <a:schemeClr val="bg1"/>
                  </a:solidFill>
                  <a:effectLst/>
                  <a:uFill>
                    <a:solidFill>
                      <a:schemeClr val="accent1">
                        <a:lumOff val="-57413"/>
                      </a:schemeClr>
                    </a:solidFill>
                  </a:uFill>
                  <a:latin typeface="+mn-lt"/>
                  <a:ea typeface="+mn-ea"/>
                  <a:cs typeface="+mn-cs"/>
                  <a:sym typeface="BentonSansF Book"/>
                </a:rPr>
                <a:t>Application</a:t>
              </a:r>
              <a:endParaRPr lang="en-US" b="0" i="0">
                <a:solidFill>
                  <a:schemeClr val="bg1"/>
                </a:solidFill>
                <a:effectLst/>
              </a:endParaRPr>
            </a:p>
          </p:txBody>
        </p:sp>
        <p:sp>
          <p:nvSpPr>
            <p:cNvPr id="20" name="Rectangle 15">
              <a:extLst>
                <a:ext uri="{FF2B5EF4-FFF2-40B4-BE49-F238E27FC236}">
                  <a16:creationId xmlns:a16="http://schemas.microsoft.com/office/drawing/2014/main" id="{48E59653-AB35-7CA8-F837-B339080247B4}"/>
                </a:ext>
              </a:extLst>
            </p:cNvPr>
            <p:cNvSpPr txBox="1">
              <a:spLocks/>
            </p:cNvSpPr>
            <p:nvPr>
              <p:custDataLst>
                <p:tags r:id="rId5"/>
              </p:custDataLst>
            </p:nvPr>
          </p:nvSpPr>
          <p:spPr bwMode="auto">
            <a:xfrm>
              <a:off x="1345894" y="5047399"/>
              <a:ext cx="5178238" cy="3214427"/>
            </a:xfrm>
            <a:prstGeom prst="rect">
              <a:avLst/>
            </a:prstGeom>
            <a:solidFill>
              <a:srgbClr val="EFF2FF"/>
            </a:solidFill>
            <a:ln/>
          </p:spPr>
          <p:txBody>
            <a:bodyPr vert="horz" wrap="square" lIns="144000" tIns="144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lnSpc>
                  <a:spcPct val="110000"/>
                </a:lnSpc>
                <a:spcBef>
                  <a:spcPts val="800"/>
                </a:spcBef>
                <a:buFont typeface="Arial" panose="020B0604020202020204" pitchFamily="34" charset="0"/>
                <a:buChar char="•"/>
              </a:pPr>
              <a:r>
                <a:rPr lang="en-US" sz="2000" b="1" i="0">
                  <a:solidFill>
                    <a:srgbClr val="0E176D"/>
                  </a:solidFill>
                  <a:effectLst/>
                </a:rPr>
                <a:t>Requirements Analysis</a:t>
              </a:r>
              <a:br>
                <a:rPr lang="en-US" sz="2000" b="1" i="0">
                  <a:solidFill>
                    <a:srgbClr val="0E176D"/>
                  </a:solidFill>
                  <a:effectLst/>
                </a:rPr>
              </a:br>
              <a:r>
                <a:rPr lang="en-US" sz="2000" i="0">
                  <a:effectLst/>
                </a:rPr>
                <a:t>Conducting Interviews and Market Analysis</a:t>
              </a:r>
            </a:p>
            <a:p>
              <a:pPr marL="285750" indent="-285750" algn="l">
                <a:lnSpc>
                  <a:spcPct val="110000"/>
                </a:lnSpc>
                <a:spcBef>
                  <a:spcPts val="800"/>
                </a:spcBef>
                <a:buFont typeface="Arial" panose="020B0604020202020204" pitchFamily="34" charset="0"/>
                <a:buChar char="•"/>
              </a:pPr>
              <a:r>
                <a:rPr lang="en-US" sz="2000" b="1" i="0">
                  <a:solidFill>
                    <a:srgbClr val="0E176D"/>
                  </a:solidFill>
                  <a:effectLst/>
                </a:rPr>
                <a:t>App Architecture</a:t>
              </a:r>
              <a:br>
                <a:rPr lang="en-US" sz="2000" b="1" i="0">
                  <a:solidFill>
                    <a:srgbClr val="0E176D"/>
                  </a:solidFill>
                  <a:effectLst/>
                </a:rPr>
              </a:br>
              <a:r>
                <a:rPr lang="en-US" sz="2000"/>
                <a:t>Designing for scalability and reliability</a:t>
              </a:r>
            </a:p>
            <a:p>
              <a:pPr marL="285750" indent="-285750" algn="l">
                <a:lnSpc>
                  <a:spcPct val="110000"/>
                </a:lnSpc>
                <a:spcBef>
                  <a:spcPts val="800"/>
                </a:spcBef>
                <a:buFont typeface="Arial" panose="020B0604020202020204" pitchFamily="34" charset="0"/>
                <a:buChar char="•"/>
              </a:pPr>
              <a:r>
                <a:rPr lang="en-US" sz="2000" b="1" i="0">
                  <a:solidFill>
                    <a:srgbClr val="0E176D"/>
                  </a:solidFill>
                  <a:effectLst/>
                </a:rPr>
                <a:t>UX&amp;UI Design Concept</a:t>
              </a:r>
              <a:br>
                <a:rPr lang="en-US" sz="2000" b="1" i="0">
                  <a:solidFill>
                    <a:srgbClr val="0E176D"/>
                  </a:solidFill>
                  <a:effectLst/>
                </a:rPr>
              </a:br>
              <a:r>
                <a:rPr lang="en-US" sz="2000"/>
                <a:t>User-friendly interface designs</a:t>
              </a:r>
            </a:p>
            <a:p>
              <a:pPr marL="285750" indent="-285750" algn="l">
                <a:buFont typeface="Arial" panose="020B0604020202020204" pitchFamily="34" charset="0"/>
                <a:buChar char="•"/>
              </a:pPr>
              <a:endParaRPr lang="en-US" sz="2000" b="1" i="0">
                <a:solidFill>
                  <a:srgbClr val="0E176D"/>
                </a:solidFill>
                <a:effectLst/>
              </a:endParaRPr>
            </a:p>
            <a:p>
              <a:pPr algn="l"/>
              <a:endParaRPr lang="en-US" sz="2000"/>
            </a:p>
          </p:txBody>
        </p:sp>
        <p:sp>
          <p:nvSpPr>
            <p:cNvPr id="27" name="Rectangle 15">
              <a:extLst>
                <a:ext uri="{FF2B5EF4-FFF2-40B4-BE49-F238E27FC236}">
                  <a16:creationId xmlns:a16="http://schemas.microsoft.com/office/drawing/2014/main" id="{F6715195-56BE-D4E2-80E0-1A911D828E81}"/>
                </a:ext>
              </a:extLst>
            </p:cNvPr>
            <p:cNvSpPr txBox="1">
              <a:spLocks/>
            </p:cNvSpPr>
            <p:nvPr>
              <p:custDataLst>
                <p:tags r:id="rId6"/>
              </p:custDataLst>
            </p:nvPr>
          </p:nvSpPr>
          <p:spPr bwMode="auto">
            <a:xfrm>
              <a:off x="6696522" y="5044490"/>
              <a:ext cx="5178238" cy="3217337"/>
            </a:xfrm>
            <a:prstGeom prst="rect">
              <a:avLst/>
            </a:prstGeom>
            <a:solidFill>
              <a:srgbClr val="EFF2FF"/>
            </a:solidFill>
            <a:ln/>
          </p:spPr>
          <p:txBody>
            <a:bodyPr vert="horz" wrap="square" lIns="144000" tIns="144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lnSpc>
                  <a:spcPct val="110000"/>
                </a:lnSpc>
                <a:spcBef>
                  <a:spcPts val="800"/>
                </a:spcBef>
                <a:buFont typeface="Arial" panose="020B0604020202020204" pitchFamily="34" charset="0"/>
                <a:buChar char="•"/>
              </a:pPr>
              <a:r>
                <a:rPr lang="en-US" sz="2000" b="1" i="0">
                  <a:solidFill>
                    <a:srgbClr val="0E176D"/>
                  </a:solidFill>
                  <a:effectLst/>
                </a:rPr>
                <a:t>Frontend Development</a:t>
              </a:r>
              <a:br>
                <a:rPr lang="en-US" sz="2000" b="1" i="0">
                  <a:solidFill>
                    <a:srgbClr val="0E176D"/>
                  </a:solidFill>
                  <a:effectLst/>
                </a:rPr>
              </a:br>
              <a:r>
                <a:rPr lang="en-US" sz="2000" i="0">
                  <a:effectLst/>
                </a:rPr>
                <a:t>UI &amp; UX Implementation</a:t>
              </a:r>
            </a:p>
            <a:p>
              <a:pPr marL="285750" indent="-285750">
                <a:lnSpc>
                  <a:spcPct val="110000"/>
                </a:lnSpc>
                <a:spcBef>
                  <a:spcPts val="800"/>
                </a:spcBef>
                <a:buFont typeface="Arial" panose="020B0604020202020204" pitchFamily="34" charset="0"/>
                <a:buChar char="•"/>
              </a:pPr>
              <a:r>
                <a:rPr lang="en-US" sz="2000" b="1">
                  <a:solidFill>
                    <a:srgbClr val="0E176D"/>
                  </a:solidFill>
                </a:rPr>
                <a:t>Backend Development</a:t>
              </a:r>
              <a:br>
                <a:rPr lang="en-US" sz="2000" b="1">
                  <a:solidFill>
                    <a:srgbClr val="0E176D"/>
                  </a:solidFill>
                </a:rPr>
              </a:br>
              <a:r>
                <a:rPr lang="en-US" sz="2000" b="1">
                  <a:solidFill>
                    <a:srgbClr val="0E176D"/>
                  </a:solidFill>
                </a:rPr>
                <a:t>- </a:t>
              </a:r>
              <a:r>
                <a:rPr lang="en-US" sz="2000" i="0">
                  <a:effectLst/>
                </a:rPr>
                <a:t>Data In</a:t>
              </a:r>
              <a:r>
                <a:rPr lang="en-US" sz="2000"/>
                <a:t>frastructure Design</a:t>
              </a:r>
              <a:br>
                <a:rPr lang="en-US" sz="2000"/>
              </a:br>
              <a:r>
                <a:rPr lang="en-US" sz="2000"/>
                <a:t>- </a:t>
              </a:r>
              <a:r>
                <a:rPr lang="en-US" sz="2000" i="0">
                  <a:effectLst/>
                </a:rPr>
                <a:t>Prompt Engineering</a:t>
              </a:r>
              <a:br>
                <a:rPr lang="en-US" sz="2000" i="0">
                  <a:effectLst/>
                </a:rPr>
              </a:br>
              <a:r>
                <a:rPr lang="en-US" sz="2000" i="0">
                  <a:effectLst/>
                </a:rPr>
                <a:t>- </a:t>
              </a:r>
              <a:r>
                <a:rPr lang="en-US" sz="2000"/>
                <a:t>Voice Integration</a:t>
              </a:r>
              <a:endParaRPr lang="en-US" sz="2000" i="0">
                <a:effectLst/>
              </a:endParaRPr>
            </a:p>
          </p:txBody>
        </p:sp>
        <p:sp>
          <p:nvSpPr>
            <p:cNvPr id="30" name="Rectangle 15">
              <a:extLst>
                <a:ext uri="{FF2B5EF4-FFF2-40B4-BE49-F238E27FC236}">
                  <a16:creationId xmlns:a16="http://schemas.microsoft.com/office/drawing/2014/main" id="{339777E4-6279-80FB-122D-9B14AA694ECD}"/>
                </a:ext>
              </a:extLst>
            </p:cNvPr>
            <p:cNvSpPr txBox="1">
              <a:spLocks/>
            </p:cNvSpPr>
            <p:nvPr>
              <p:custDataLst>
                <p:tags r:id="rId7"/>
              </p:custDataLst>
            </p:nvPr>
          </p:nvSpPr>
          <p:spPr bwMode="auto">
            <a:xfrm>
              <a:off x="12047150" y="5051157"/>
              <a:ext cx="5126153" cy="3210671"/>
            </a:xfrm>
            <a:prstGeom prst="rect">
              <a:avLst/>
            </a:prstGeom>
            <a:solidFill>
              <a:srgbClr val="EFF2FF"/>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lnSpc>
                  <a:spcPct val="110000"/>
                </a:lnSpc>
                <a:spcBef>
                  <a:spcPts val="800"/>
                </a:spcBef>
                <a:buFont typeface="Arial" panose="020B0604020202020204" pitchFamily="34" charset="0"/>
                <a:buChar char="•"/>
              </a:pPr>
              <a:r>
                <a:rPr lang="en-US" sz="2000" b="1" i="0" err="1">
                  <a:solidFill>
                    <a:srgbClr val="0E176D"/>
                  </a:solidFill>
                  <a:effectLst/>
                </a:rPr>
                <a:t>Dockerization</a:t>
              </a:r>
              <a:br>
                <a:rPr lang="en-US" sz="2000" b="1" i="0">
                  <a:solidFill>
                    <a:srgbClr val="0E176D"/>
                  </a:solidFill>
                  <a:effectLst/>
                </a:rPr>
              </a:br>
              <a:r>
                <a:rPr lang="en-US" sz="2000"/>
                <a:t>Easy deployment and management</a:t>
              </a:r>
            </a:p>
            <a:p>
              <a:pPr marL="285750" indent="-285750" algn="l">
                <a:lnSpc>
                  <a:spcPct val="110000"/>
                </a:lnSpc>
                <a:spcBef>
                  <a:spcPts val="800"/>
                </a:spcBef>
                <a:buFont typeface="Arial" panose="020B0604020202020204" pitchFamily="34" charset="0"/>
                <a:buChar char="•"/>
              </a:pPr>
              <a:r>
                <a:rPr lang="en-US" sz="2000" b="1" i="0">
                  <a:solidFill>
                    <a:srgbClr val="0E176D"/>
                  </a:solidFill>
                  <a:effectLst/>
                </a:rPr>
                <a:t>Deployment on GCP</a:t>
              </a:r>
              <a:br>
                <a:rPr lang="en-US" sz="2000" b="1" i="0">
                  <a:solidFill>
                    <a:srgbClr val="0E176D"/>
                  </a:solidFill>
                  <a:effectLst/>
                </a:rPr>
              </a:br>
              <a:r>
                <a:rPr lang="en-US" sz="2000"/>
                <a:t>Deploying on Google Cloud Platform </a:t>
              </a:r>
            </a:p>
            <a:p>
              <a:pPr marL="285750" indent="-285750" algn="l">
                <a:lnSpc>
                  <a:spcPct val="110000"/>
                </a:lnSpc>
                <a:spcBef>
                  <a:spcPts val="800"/>
                </a:spcBef>
                <a:buFont typeface="Arial" panose="020B0604020202020204" pitchFamily="34" charset="0"/>
                <a:buChar char="•"/>
              </a:pPr>
              <a:r>
                <a:rPr lang="en-US" sz="2000" b="1" i="0">
                  <a:solidFill>
                    <a:srgbClr val="0E176D"/>
                  </a:solidFill>
                  <a:effectLst/>
                </a:rPr>
                <a:t>Scalability Testing and Improvements</a:t>
              </a:r>
              <a:br>
                <a:rPr lang="en-US" sz="2000" b="1" i="0">
                  <a:solidFill>
                    <a:srgbClr val="0E176D"/>
                  </a:solidFill>
                  <a:effectLst/>
                </a:rPr>
              </a:br>
              <a:r>
                <a:rPr lang="en-US" sz="2000"/>
                <a:t>Handle increased loads and traffic efficiently</a:t>
              </a:r>
            </a:p>
          </p:txBody>
        </p:sp>
        <p:sp>
          <p:nvSpPr>
            <p:cNvPr id="33" name="Rectangle 15">
              <a:extLst>
                <a:ext uri="{FF2B5EF4-FFF2-40B4-BE49-F238E27FC236}">
                  <a16:creationId xmlns:a16="http://schemas.microsoft.com/office/drawing/2014/main" id="{EFDA1B60-8E16-2031-961E-D7BB0E9B318B}"/>
                </a:ext>
              </a:extLst>
            </p:cNvPr>
            <p:cNvSpPr txBox="1">
              <a:spLocks/>
            </p:cNvSpPr>
            <p:nvPr>
              <p:custDataLst>
                <p:tags r:id="rId8"/>
              </p:custDataLst>
            </p:nvPr>
          </p:nvSpPr>
          <p:spPr bwMode="auto">
            <a:xfrm>
              <a:off x="17397779" y="5051157"/>
              <a:ext cx="5110136" cy="3049175"/>
            </a:xfrm>
            <a:prstGeom prst="rect">
              <a:avLst/>
            </a:prstGeom>
            <a:solidFill>
              <a:srgbClr val="EFF2FF"/>
            </a:solidFill>
            <a:ln/>
          </p:spPr>
          <p:txBody>
            <a:bodyPr vert="horz" wrap="square" lIns="144000" tIns="108000" rIns="144000" bIns="10800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10000"/>
                </a:lnSpc>
                <a:spcBef>
                  <a:spcPts val="800"/>
                </a:spcBef>
              </a:pPr>
              <a:r>
                <a:rPr lang="de-DE" sz="2000" i="1" err="1">
                  <a:solidFill>
                    <a:schemeClr val="bg1">
                      <a:lumMod val="50000"/>
                    </a:schemeClr>
                  </a:solidFill>
                </a:rPr>
                <a:t>Parrallel</a:t>
              </a:r>
              <a:r>
                <a:rPr lang="de-DE" sz="2000" i="1">
                  <a:solidFill>
                    <a:schemeClr val="bg1">
                      <a:lumMod val="50000"/>
                    </a:schemeClr>
                  </a:solidFill>
                </a:rPr>
                <a:t> </a:t>
              </a:r>
              <a:r>
                <a:rPr lang="de-DE" sz="2000" i="1" err="1">
                  <a:solidFill>
                    <a:schemeClr val="bg1">
                      <a:lumMod val="50000"/>
                    </a:schemeClr>
                  </a:solidFill>
                </a:rPr>
                <a:t>Activity</a:t>
              </a:r>
              <a:r>
                <a:rPr lang="de-DE" sz="2000" i="1">
                  <a:solidFill>
                    <a:schemeClr val="bg1">
                      <a:lumMod val="50000"/>
                    </a:schemeClr>
                  </a:solidFill>
                </a:rPr>
                <a:t> </a:t>
              </a:r>
              <a:r>
                <a:rPr lang="de-DE" sz="2000" i="1" err="1">
                  <a:solidFill>
                    <a:schemeClr val="bg1">
                      <a:lumMod val="50000"/>
                    </a:schemeClr>
                  </a:solidFill>
                </a:rPr>
                <a:t>to</a:t>
              </a:r>
              <a:r>
                <a:rPr lang="de-DE" sz="2000" i="1">
                  <a:solidFill>
                    <a:schemeClr val="bg1">
                      <a:lumMod val="50000"/>
                    </a:schemeClr>
                  </a:solidFill>
                </a:rPr>
                <a:t> </a:t>
              </a:r>
              <a:r>
                <a:rPr lang="de-DE" sz="2000" i="1" err="1">
                  <a:solidFill>
                    <a:schemeClr val="bg1">
                      <a:lumMod val="50000"/>
                    </a:schemeClr>
                  </a:solidFill>
                </a:rPr>
                <a:t>Deployment</a:t>
              </a:r>
              <a:r>
                <a:rPr lang="de-DE" sz="2000" i="1">
                  <a:solidFill>
                    <a:schemeClr val="bg1">
                      <a:lumMod val="50000"/>
                    </a:schemeClr>
                  </a:solidFill>
                </a:rPr>
                <a:t> &amp; </a:t>
              </a:r>
              <a:r>
                <a:rPr lang="de-DE" sz="2000" i="1" err="1">
                  <a:solidFill>
                    <a:schemeClr val="bg1">
                      <a:lumMod val="50000"/>
                    </a:schemeClr>
                  </a:solidFill>
                </a:rPr>
                <a:t>Scaling</a:t>
              </a:r>
              <a:endParaRPr lang="de-DE" sz="2000" i="1">
                <a:solidFill>
                  <a:schemeClr val="bg1">
                    <a:lumMod val="50000"/>
                  </a:schemeClr>
                </a:solidFill>
              </a:endParaRPr>
            </a:p>
            <a:p>
              <a:pPr marL="285750" indent="-285750" algn="l">
                <a:lnSpc>
                  <a:spcPct val="110000"/>
                </a:lnSpc>
                <a:spcBef>
                  <a:spcPts val="800"/>
                </a:spcBef>
                <a:buFont typeface="Arial" panose="020B0604020202020204" pitchFamily="34" charset="0"/>
                <a:buChar char="•"/>
              </a:pPr>
              <a:r>
                <a:rPr lang="en-US" sz="2000" b="1">
                  <a:solidFill>
                    <a:srgbClr val="0E176D"/>
                  </a:solidFill>
                </a:rPr>
                <a:t>Reaching out to Car Workshops</a:t>
              </a:r>
              <a:br>
                <a:rPr lang="en-US" sz="2000" b="1">
                  <a:solidFill>
                    <a:srgbClr val="0E176D"/>
                  </a:solidFill>
                </a:rPr>
              </a:br>
              <a:r>
                <a:rPr lang="en-US" sz="2000"/>
                <a:t>Establishing partnerships with automotive repair shops</a:t>
              </a:r>
            </a:p>
            <a:p>
              <a:pPr marL="285750" indent="-285750" algn="l">
                <a:lnSpc>
                  <a:spcPct val="110000"/>
                </a:lnSpc>
                <a:spcBef>
                  <a:spcPts val="800"/>
                </a:spcBef>
                <a:buFont typeface="Arial" panose="020B0604020202020204" pitchFamily="34" charset="0"/>
                <a:buChar char="•"/>
              </a:pPr>
              <a:r>
                <a:rPr lang="en-US" sz="2000" b="1">
                  <a:solidFill>
                    <a:srgbClr val="0E176D"/>
                  </a:solidFill>
                </a:rPr>
                <a:t>Creating a Promotion Content</a:t>
              </a:r>
              <a:br>
                <a:rPr lang="en-US" sz="2000" b="1">
                  <a:solidFill>
                    <a:srgbClr val="0E176D"/>
                  </a:solidFill>
                </a:rPr>
              </a:br>
              <a:r>
                <a:rPr lang="en-US" sz="2000"/>
                <a:t>Marketing materials to </a:t>
              </a:r>
              <a:br>
                <a:rPr lang="en-US" sz="2000"/>
              </a:br>
              <a:r>
                <a:rPr lang="en-US" sz="2000"/>
                <a:t>promote Claire</a:t>
              </a:r>
            </a:p>
          </p:txBody>
        </p:sp>
        <p:grpSp>
          <p:nvGrpSpPr>
            <p:cNvPr id="37" name="Group 36">
              <a:extLst>
                <a:ext uri="{FF2B5EF4-FFF2-40B4-BE49-F238E27FC236}">
                  <a16:creationId xmlns:a16="http://schemas.microsoft.com/office/drawing/2014/main" id="{887AD7EF-8972-17C9-2130-9A8E56B445C3}"/>
                </a:ext>
              </a:extLst>
            </p:cNvPr>
            <p:cNvGrpSpPr/>
            <p:nvPr/>
          </p:nvGrpSpPr>
          <p:grpSpPr>
            <a:xfrm>
              <a:off x="1353202" y="8111513"/>
              <a:ext cx="5343320" cy="1036173"/>
              <a:chOff x="1353202" y="7653230"/>
              <a:chExt cx="5343320" cy="1036173"/>
            </a:xfrm>
          </p:grpSpPr>
          <p:sp>
            <p:nvSpPr>
              <p:cNvPr id="164" name="Richtungspfeil 11">
                <a:extLst>
                  <a:ext uri="{FF2B5EF4-FFF2-40B4-BE49-F238E27FC236}">
                    <a16:creationId xmlns:a16="http://schemas.microsoft.com/office/drawing/2014/main" id="{8422E6E3-4C7B-1751-7E2E-62C8B8B1BDAA}"/>
                  </a:ext>
                </a:extLst>
              </p:cNvPr>
              <p:cNvSpPr/>
              <p:nvPr>
                <p:custDataLst>
                  <p:tags r:id="rId12"/>
                </p:custDataLst>
              </p:nvPr>
            </p:nvSpPr>
            <p:spPr bwMode="auto">
              <a:xfrm>
                <a:off x="1353202" y="7653230"/>
                <a:ext cx="5343320" cy="1036173"/>
              </a:xfrm>
              <a:prstGeom prst="homePlate">
                <a:avLst>
                  <a:gd name="adj" fmla="val 18199"/>
                </a:avLst>
              </a:prstGeom>
              <a:solidFill>
                <a:srgbClr val="C7D4FD"/>
              </a:solidFill>
              <a:ln w="38100" cmpd="sng">
                <a:noFill/>
                <a:prstDash val="solid"/>
                <a:miter lim="800000"/>
                <a:headEnd/>
                <a:tailEnd/>
              </a:ln>
              <a:effectLst/>
            </p:spPr>
            <p:txBody>
              <a:bodyPr lIns="144000" tIns="108000" rIns="144000" bIns="108000" anchor="t"/>
              <a:lstStyle/>
              <a:p>
                <a:pPr>
                  <a:spcBef>
                    <a:spcPct val="0"/>
                  </a:spcBef>
                  <a:spcAft>
                    <a:spcPct val="0"/>
                  </a:spcAft>
                </a:pPr>
                <a:endParaRPr lang="en-US" sz="3600" b="1">
                  <a:solidFill>
                    <a:schemeClr val="bg1"/>
                  </a:solidFill>
                </a:endParaRPr>
              </a:p>
            </p:txBody>
          </p:sp>
          <p:sp>
            <p:nvSpPr>
              <p:cNvPr id="46" name="Graphic 2">
                <a:extLst>
                  <a:ext uri="{FF2B5EF4-FFF2-40B4-BE49-F238E27FC236}">
                    <a16:creationId xmlns:a16="http://schemas.microsoft.com/office/drawing/2014/main" id="{7CD7AC45-1E72-CAFF-B3A7-411FF0121792}"/>
                  </a:ext>
                </a:extLst>
              </p:cNvPr>
              <p:cNvSpPr>
                <a:spLocks noChangeAspect="1"/>
              </p:cNvSpPr>
              <p:nvPr/>
            </p:nvSpPr>
            <p:spPr>
              <a:xfrm>
                <a:off x="5952329" y="7885095"/>
                <a:ext cx="431755" cy="506842"/>
              </a:xfrm>
              <a:custGeom>
                <a:avLst/>
                <a:gdLst>
                  <a:gd name="connsiteX0" fmla="*/ 376992 w 380466"/>
                  <a:gd name="connsiteY0" fmla="*/ 134825 h 446634"/>
                  <a:gd name="connsiteX1" fmla="*/ 11083 w 380466"/>
                  <a:gd name="connsiteY1" fmla="*/ 339 h 446634"/>
                  <a:gd name="connsiteX2" fmla="*/ 3474 w 380466"/>
                  <a:gd name="connsiteY2" fmla="*/ 1827 h 446634"/>
                  <a:gd name="connsiteX3" fmla="*/ 0 w 380466"/>
                  <a:gd name="connsiteY3" fmla="*/ 8610 h 446634"/>
                  <a:gd name="connsiteX4" fmla="*/ 0 w 380466"/>
                  <a:gd name="connsiteY4" fmla="*/ 453755 h 446634"/>
                  <a:gd name="connsiteX5" fmla="*/ 8271 w 380466"/>
                  <a:gd name="connsiteY5" fmla="*/ 462026 h 446634"/>
                  <a:gd name="connsiteX6" fmla="*/ 16542 w 380466"/>
                  <a:gd name="connsiteY6" fmla="*/ 453755 h 446634"/>
                  <a:gd name="connsiteX7" fmla="*/ 16542 w 380466"/>
                  <a:gd name="connsiteY7" fmla="*/ 282380 h 446634"/>
                  <a:gd name="connsiteX8" fmla="*/ 376992 w 380466"/>
                  <a:gd name="connsiteY8" fmla="*/ 150044 h 446634"/>
                  <a:gd name="connsiteX9" fmla="*/ 381492 w 380466"/>
                  <a:gd name="connsiteY9" fmla="*/ 138994 h 446634"/>
                  <a:gd name="connsiteX10" fmla="*/ 376992 w 380466"/>
                  <a:gd name="connsiteY10" fmla="*/ 134494 h 446634"/>
                  <a:gd name="connsiteX11" fmla="*/ 16542 w 380466"/>
                  <a:gd name="connsiteY11" fmla="*/ 265011 h 446634"/>
                  <a:gd name="connsiteX12" fmla="*/ 16542 w 380466"/>
                  <a:gd name="connsiteY12" fmla="*/ 20520 h 446634"/>
                  <a:gd name="connsiteX13" fmla="*/ 350029 w 380466"/>
                  <a:gd name="connsiteY13" fmla="*/ 142600 h 446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0466" h="446634">
                    <a:moveTo>
                      <a:pt x="376992" y="134825"/>
                    </a:moveTo>
                    <a:lnTo>
                      <a:pt x="11083" y="339"/>
                    </a:lnTo>
                    <a:cubicBezTo>
                      <a:pt x="8455" y="-429"/>
                      <a:pt x="5618" y="126"/>
                      <a:pt x="3474" y="1827"/>
                    </a:cubicBezTo>
                    <a:cubicBezTo>
                      <a:pt x="1303" y="3407"/>
                      <a:pt x="13" y="5925"/>
                      <a:pt x="0" y="8610"/>
                    </a:cubicBezTo>
                    <a:lnTo>
                      <a:pt x="0" y="453755"/>
                    </a:lnTo>
                    <a:cubicBezTo>
                      <a:pt x="0" y="458322"/>
                      <a:pt x="3703" y="462026"/>
                      <a:pt x="8271" y="462026"/>
                    </a:cubicBezTo>
                    <a:cubicBezTo>
                      <a:pt x="12839" y="462026"/>
                      <a:pt x="16542" y="458322"/>
                      <a:pt x="16542" y="453755"/>
                    </a:cubicBezTo>
                    <a:lnTo>
                      <a:pt x="16542" y="282380"/>
                    </a:lnTo>
                    <a:lnTo>
                      <a:pt x="376992" y="150044"/>
                    </a:lnTo>
                    <a:cubicBezTo>
                      <a:pt x="381287" y="148235"/>
                      <a:pt x="383301" y="143288"/>
                      <a:pt x="381492" y="138994"/>
                    </a:cubicBezTo>
                    <a:cubicBezTo>
                      <a:pt x="380636" y="136964"/>
                      <a:pt x="379022" y="135349"/>
                      <a:pt x="376992" y="134494"/>
                    </a:cubicBezTo>
                    <a:close/>
                    <a:moveTo>
                      <a:pt x="16542" y="265011"/>
                    </a:moveTo>
                    <a:lnTo>
                      <a:pt x="16542" y="20520"/>
                    </a:lnTo>
                    <a:lnTo>
                      <a:pt x="350029" y="142600"/>
                    </a:lnTo>
                    <a:close/>
                  </a:path>
                </a:pathLst>
              </a:custGeom>
              <a:solidFill>
                <a:srgbClr val="416CF9"/>
              </a:solidFill>
              <a:ln w="16151" cap="flat">
                <a:solidFill>
                  <a:srgbClr val="416CF9"/>
                </a:solidFill>
                <a:prstDash val="solid"/>
                <a:miter/>
              </a:ln>
            </p:spPr>
            <p:txBody>
              <a:bodyPr rtlCol="0" anchor="ctr"/>
              <a:lstStyle/>
              <a:p>
                <a:endParaRPr lang="en-US">
                  <a:solidFill>
                    <a:schemeClr val="bg1"/>
                  </a:solidFill>
                </a:endParaRPr>
              </a:p>
            </p:txBody>
          </p:sp>
          <p:sp>
            <p:nvSpPr>
              <p:cNvPr id="47" name="TextBox 46">
                <a:extLst>
                  <a:ext uri="{FF2B5EF4-FFF2-40B4-BE49-F238E27FC236}">
                    <a16:creationId xmlns:a16="http://schemas.microsoft.com/office/drawing/2014/main" id="{327BA9B6-3360-51B4-174A-1B36B3127060}"/>
                  </a:ext>
                </a:extLst>
              </p:cNvPr>
              <p:cNvSpPr txBox="1"/>
              <p:nvPr/>
            </p:nvSpPr>
            <p:spPr>
              <a:xfrm>
                <a:off x="1657092" y="7723839"/>
                <a:ext cx="4112365" cy="923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a:lnSpc>
                    <a:spcPct val="100000"/>
                  </a:lnSpc>
                </a:pPr>
                <a:r>
                  <a:rPr kumimoji="0" lang="de-DE" sz="1800" i="0" u="none" strike="noStrike" cap="none" spc="0" normalizeH="0" baseline="0" dirty="0">
                    <a:ln>
                      <a:noFill/>
                    </a:ln>
                    <a:solidFill>
                      <a:srgbClr val="416CF9"/>
                    </a:solidFill>
                    <a:effectLst/>
                    <a:uFill>
                      <a:solidFill>
                        <a:schemeClr val="accent1">
                          <a:lumOff val="-57413"/>
                        </a:schemeClr>
                      </a:solidFill>
                    </a:uFill>
                    <a:latin typeface="+mn-lt"/>
                    <a:ea typeface="+mn-ea"/>
                    <a:cs typeface="+mn-cs"/>
                    <a:sym typeface="BentonSansF Book"/>
                  </a:rPr>
                  <a:t>Requirement specified</a:t>
                </a:r>
              </a:p>
              <a:p>
                <a:pPr algn="r">
                  <a:lnSpc>
                    <a:spcPct val="100000"/>
                  </a:lnSpc>
                </a:pPr>
                <a:r>
                  <a:rPr lang="en-US" sz="1800" dirty="0">
                    <a:solidFill>
                      <a:srgbClr val="416CF9"/>
                    </a:solidFill>
                  </a:rPr>
                  <a:t>Software architecture ready</a:t>
                </a:r>
              </a:p>
              <a:p>
                <a:pPr algn="r">
                  <a:lnSpc>
                    <a:spcPct val="100000"/>
                  </a:lnSpc>
                </a:pPr>
                <a:r>
                  <a:rPr lang="en-US" sz="1800" dirty="0">
                    <a:solidFill>
                      <a:srgbClr val="416CF9"/>
                    </a:solidFill>
                  </a:rPr>
                  <a:t>UX&amp;UI concept prepared</a:t>
                </a:r>
              </a:p>
            </p:txBody>
          </p:sp>
        </p:grpSp>
        <p:grpSp>
          <p:nvGrpSpPr>
            <p:cNvPr id="65" name="Graphic 2">
              <a:extLst>
                <a:ext uri="{FF2B5EF4-FFF2-40B4-BE49-F238E27FC236}">
                  <a16:creationId xmlns:a16="http://schemas.microsoft.com/office/drawing/2014/main" id="{24FF46A9-50A3-88EC-C5D8-7E9FCAF9F935}"/>
                </a:ext>
              </a:extLst>
            </p:cNvPr>
            <p:cNvGrpSpPr>
              <a:grpSpLocks noChangeAspect="1"/>
            </p:cNvGrpSpPr>
            <p:nvPr/>
          </p:nvGrpSpPr>
          <p:grpSpPr>
            <a:xfrm>
              <a:off x="21593069" y="7173764"/>
              <a:ext cx="532413" cy="532413"/>
              <a:chOff x="5864463" y="3152380"/>
              <a:chExt cx="449554" cy="449554"/>
            </a:xfrm>
            <a:solidFill>
              <a:srgbClr val="0E176D"/>
            </a:solidFill>
          </p:grpSpPr>
          <p:sp>
            <p:nvSpPr>
              <p:cNvPr id="66" name="Freeform: Shape 65">
                <a:extLst>
                  <a:ext uri="{FF2B5EF4-FFF2-40B4-BE49-F238E27FC236}">
                    <a16:creationId xmlns:a16="http://schemas.microsoft.com/office/drawing/2014/main" id="{CA612F7F-33E0-4EFE-AF18-B41962547731}"/>
                  </a:ext>
                </a:extLst>
              </p:cNvPr>
              <p:cNvSpPr/>
              <p:nvPr/>
            </p:nvSpPr>
            <p:spPr>
              <a:xfrm>
                <a:off x="5864463" y="3152380"/>
                <a:ext cx="449554" cy="449554"/>
              </a:xfrm>
              <a:custGeom>
                <a:avLst/>
                <a:gdLst>
                  <a:gd name="connsiteX0" fmla="*/ 458903 w 449554"/>
                  <a:gd name="connsiteY0" fmla="*/ 2250 h 449554"/>
                  <a:gd name="connsiteX1" fmla="*/ 452501 w 449554"/>
                  <a:gd name="connsiteY1" fmla="*/ 206 h 449554"/>
                  <a:gd name="connsiteX2" fmla="*/ 369810 w 449554"/>
                  <a:gd name="connsiteY2" fmla="*/ 21049 h 449554"/>
                  <a:gd name="connsiteX3" fmla="*/ 218869 w 449554"/>
                  <a:gd name="connsiteY3" fmla="*/ 108372 h 449554"/>
                  <a:gd name="connsiteX4" fmla="*/ 187127 w 449554"/>
                  <a:gd name="connsiteY4" fmla="*/ 142837 h 449554"/>
                  <a:gd name="connsiteX5" fmla="*/ 183313 w 449554"/>
                  <a:gd name="connsiteY5" fmla="*/ 141475 h 449554"/>
                  <a:gd name="connsiteX6" fmla="*/ 108932 w 449554"/>
                  <a:gd name="connsiteY6" fmla="*/ 141475 h 449554"/>
                  <a:gd name="connsiteX7" fmla="*/ 104164 w 449554"/>
                  <a:gd name="connsiteY7" fmla="*/ 143519 h 449554"/>
                  <a:gd name="connsiteX8" fmla="*/ 1993 w 449554"/>
                  <a:gd name="connsiteY8" fmla="*/ 245418 h 449554"/>
                  <a:gd name="connsiteX9" fmla="*/ 1997 w 449554"/>
                  <a:gd name="connsiteY9" fmla="*/ 255050 h 449554"/>
                  <a:gd name="connsiteX10" fmla="*/ 4036 w 449554"/>
                  <a:gd name="connsiteY10" fmla="*/ 256452 h 449554"/>
                  <a:gd name="connsiteX11" fmla="*/ 66429 w 449554"/>
                  <a:gd name="connsiteY11" fmla="*/ 283698 h 449554"/>
                  <a:gd name="connsiteX12" fmla="*/ 66429 w 449554"/>
                  <a:gd name="connsiteY12" fmla="*/ 283698 h 449554"/>
                  <a:gd name="connsiteX13" fmla="*/ 80052 w 449554"/>
                  <a:gd name="connsiteY13" fmla="*/ 297321 h 449554"/>
                  <a:gd name="connsiteX14" fmla="*/ 57438 w 449554"/>
                  <a:gd name="connsiteY14" fmla="*/ 320071 h 449554"/>
                  <a:gd name="connsiteX15" fmla="*/ 57438 w 449554"/>
                  <a:gd name="connsiteY15" fmla="*/ 329743 h 449554"/>
                  <a:gd name="connsiteX16" fmla="*/ 131410 w 449554"/>
                  <a:gd name="connsiteY16" fmla="*/ 403715 h 449554"/>
                  <a:gd name="connsiteX17" fmla="*/ 136314 w 449554"/>
                  <a:gd name="connsiteY17" fmla="*/ 405622 h 449554"/>
                  <a:gd name="connsiteX18" fmla="*/ 141082 w 449554"/>
                  <a:gd name="connsiteY18" fmla="*/ 403715 h 449554"/>
                  <a:gd name="connsiteX19" fmla="*/ 164105 w 449554"/>
                  <a:gd name="connsiteY19" fmla="*/ 380692 h 449554"/>
                  <a:gd name="connsiteX20" fmla="*/ 177728 w 449554"/>
                  <a:gd name="connsiteY20" fmla="*/ 394315 h 449554"/>
                  <a:gd name="connsiteX21" fmla="*/ 177728 w 449554"/>
                  <a:gd name="connsiteY21" fmla="*/ 394315 h 449554"/>
                  <a:gd name="connsiteX22" fmla="*/ 204973 w 449554"/>
                  <a:gd name="connsiteY22" fmla="*/ 456708 h 449554"/>
                  <a:gd name="connsiteX23" fmla="*/ 209877 w 449554"/>
                  <a:gd name="connsiteY23" fmla="*/ 460659 h 449554"/>
                  <a:gd name="connsiteX24" fmla="*/ 211240 w 449554"/>
                  <a:gd name="connsiteY24" fmla="*/ 460659 h 449554"/>
                  <a:gd name="connsiteX25" fmla="*/ 216008 w 449554"/>
                  <a:gd name="connsiteY25" fmla="*/ 458615 h 449554"/>
                  <a:gd name="connsiteX26" fmla="*/ 317770 w 449554"/>
                  <a:gd name="connsiteY26" fmla="*/ 356852 h 449554"/>
                  <a:gd name="connsiteX27" fmla="*/ 319814 w 449554"/>
                  <a:gd name="connsiteY27" fmla="*/ 352084 h 449554"/>
                  <a:gd name="connsiteX28" fmla="*/ 319814 w 449554"/>
                  <a:gd name="connsiteY28" fmla="*/ 277840 h 449554"/>
                  <a:gd name="connsiteX29" fmla="*/ 318452 w 449554"/>
                  <a:gd name="connsiteY29" fmla="*/ 273889 h 449554"/>
                  <a:gd name="connsiteX30" fmla="*/ 352917 w 449554"/>
                  <a:gd name="connsiteY30" fmla="*/ 242284 h 449554"/>
                  <a:gd name="connsiteX31" fmla="*/ 440104 w 449554"/>
                  <a:gd name="connsiteY31" fmla="*/ 91479 h 449554"/>
                  <a:gd name="connsiteX32" fmla="*/ 460674 w 449554"/>
                  <a:gd name="connsiteY32" fmla="*/ 8652 h 449554"/>
                  <a:gd name="connsiteX33" fmla="*/ 458903 w 449554"/>
                  <a:gd name="connsiteY33" fmla="*/ 2250 h 449554"/>
                  <a:gd name="connsiteX34" fmla="*/ 111384 w 449554"/>
                  <a:gd name="connsiteY34" fmla="*/ 155098 h 449554"/>
                  <a:gd name="connsiteX35" fmla="*/ 175820 w 449554"/>
                  <a:gd name="connsiteY35" fmla="*/ 155098 h 449554"/>
                  <a:gd name="connsiteX36" fmla="*/ 70243 w 449554"/>
                  <a:gd name="connsiteY36" fmla="*/ 269939 h 449554"/>
                  <a:gd name="connsiteX37" fmla="*/ 18749 w 449554"/>
                  <a:gd name="connsiteY37" fmla="*/ 247733 h 449554"/>
                  <a:gd name="connsiteX38" fmla="*/ 182768 w 449554"/>
                  <a:gd name="connsiteY38" fmla="*/ 380148 h 449554"/>
                  <a:gd name="connsiteX39" fmla="*/ 163424 w 449554"/>
                  <a:gd name="connsiteY39" fmla="*/ 360394 h 449554"/>
                  <a:gd name="connsiteX40" fmla="*/ 95309 w 449554"/>
                  <a:gd name="connsiteY40" fmla="*/ 292280 h 449554"/>
                  <a:gd name="connsiteX41" fmla="*/ 95309 w 449554"/>
                  <a:gd name="connsiteY41" fmla="*/ 292280 h 449554"/>
                  <a:gd name="connsiteX42" fmla="*/ 81686 w 449554"/>
                  <a:gd name="connsiteY42" fmla="*/ 278657 h 449554"/>
                  <a:gd name="connsiteX43" fmla="*/ 107842 w 449554"/>
                  <a:gd name="connsiteY43" fmla="*/ 250186 h 449554"/>
                  <a:gd name="connsiteX44" fmla="*/ 211240 w 449554"/>
                  <a:gd name="connsiteY44" fmla="*/ 354400 h 449554"/>
                  <a:gd name="connsiteX45" fmla="*/ 154432 w 449554"/>
                  <a:gd name="connsiteY45" fmla="*/ 371156 h 449554"/>
                  <a:gd name="connsiteX46" fmla="*/ 136178 w 449554"/>
                  <a:gd name="connsiteY46" fmla="*/ 389275 h 449554"/>
                  <a:gd name="connsiteX47" fmla="*/ 71878 w 449554"/>
                  <a:gd name="connsiteY47" fmla="*/ 324839 h 449554"/>
                  <a:gd name="connsiteX48" fmla="*/ 89996 w 449554"/>
                  <a:gd name="connsiteY48" fmla="*/ 306720 h 449554"/>
                  <a:gd name="connsiteX49" fmla="*/ 139720 w 449554"/>
                  <a:gd name="connsiteY49" fmla="*/ 356444 h 449554"/>
                  <a:gd name="connsiteX50" fmla="*/ 306055 w 449554"/>
                  <a:gd name="connsiteY50" fmla="*/ 349769 h 449554"/>
                  <a:gd name="connsiteX51" fmla="*/ 213419 w 449554"/>
                  <a:gd name="connsiteY51" fmla="*/ 442404 h 449554"/>
                  <a:gd name="connsiteX52" fmla="*/ 190669 w 449554"/>
                  <a:gd name="connsiteY52" fmla="*/ 390910 h 449554"/>
                  <a:gd name="connsiteX53" fmla="*/ 305510 w 449554"/>
                  <a:gd name="connsiteY53" fmla="*/ 285196 h 449554"/>
                  <a:gd name="connsiteX54" fmla="*/ 343654 w 449554"/>
                  <a:gd name="connsiteY54" fmla="*/ 231795 h 449554"/>
                  <a:gd name="connsiteX55" fmla="*/ 221048 w 449554"/>
                  <a:gd name="connsiteY55" fmla="*/ 344319 h 449554"/>
                  <a:gd name="connsiteX56" fmla="*/ 116152 w 449554"/>
                  <a:gd name="connsiteY56" fmla="*/ 239423 h 449554"/>
                  <a:gd name="connsiteX57" fmla="*/ 228677 w 449554"/>
                  <a:gd name="connsiteY57" fmla="*/ 116818 h 449554"/>
                  <a:gd name="connsiteX58" fmla="*/ 349648 w 449554"/>
                  <a:gd name="connsiteY58" fmla="*/ 41075 h 449554"/>
                  <a:gd name="connsiteX59" fmla="*/ 420487 w 449554"/>
                  <a:gd name="connsiteY59" fmla="*/ 111914 h 449554"/>
                  <a:gd name="connsiteX60" fmla="*/ 343654 w 449554"/>
                  <a:gd name="connsiteY60" fmla="*/ 231795 h 449554"/>
                  <a:gd name="connsiteX61" fmla="*/ 426890 w 449554"/>
                  <a:gd name="connsiteY61" fmla="*/ 88346 h 449554"/>
                  <a:gd name="connsiteX62" fmla="*/ 424710 w 449554"/>
                  <a:gd name="connsiteY62" fmla="*/ 96383 h 449554"/>
                  <a:gd name="connsiteX63" fmla="*/ 364769 w 449554"/>
                  <a:gd name="connsiteY63" fmla="*/ 36443 h 449554"/>
                  <a:gd name="connsiteX64" fmla="*/ 372943 w 449554"/>
                  <a:gd name="connsiteY64" fmla="*/ 34263 h 449554"/>
                  <a:gd name="connsiteX65" fmla="*/ 444735 w 449554"/>
                  <a:gd name="connsiteY65" fmla="*/ 16417 h 44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49554" h="449554">
                    <a:moveTo>
                      <a:pt x="458903" y="2250"/>
                    </a:moveTo>
                    <a:cubicBezTo>
                      <a:pt x="457346" y="385"/>
                      <a:pt x="454850" y="-412"/>
                      <a:pt x="452501" y="206"/>
                    </a:cubicBezTo>
                    <a:lnTo>
                      <a:pt x="369810" y="21049"/>
                    </a:lnTo>
                    <a:cubicBezTo>
                      <a:pt x="311742" y="34017"/>
                      <a:pt x="259056" y="64497"/>
                      <a:pt x="218869" y="108372"/>
                    </a:cubicBezTo>
                    <a:lnTo>
                      <a:pt x="187127" y="142837"/>
                    </a:lnTo>
                    <a:cubicBezTo>
                      <a:pt x="186047" y="141964"/>
                      <a:pt x="184702" y="141483"/>
                      <a:pt x="183313" y="141475"/>
                    </a:cubicBezTo>
                    <a:lnTo>
                      <a:pt x="108932" y="141475"/>
                    </a:lnTo>
                    <a:cubicBezTo>
                      <a:pt x="107126" y="141453"/>
                      <a:pt x="105394" y="142196"/>
                      <a:pt x="104164" y="143519"/>
                    </a:cubicBezTo>
                    <a:lnTo>
                      <a:pt x="1993" y="245418"/>
                    </a:lnTo>
                    <a:cubicBezTo>
                      <a:pt x="-666" y="248079"/>
                      <a:pt x="-664" y="252391"/>
                      <a:pt x="1997" y="255050"/>
                    </a:cubicBezTo>
                    <a:cubicBezTo>
                      <a:pt x="2586" y="255639"/>
                      <a:pt x="3277" y="256113"/>
                      <a:pt x="4036" y="256452"/>
                    </a:cubicBezTo>
                    <a:lnTo>
                      <a:pt x="66429" y="283698"/>
                    </a:lnTo>
                    <a:lnTo>
                      <a:pt x="66429" y="283698"/>
                    </a:lnTo>
                    <a:lnTo>
                      <a:pt x="80052" y="297321"/>
                    </a:lnTo>
                    <a:lnTo>
                      <a:pt x="57438" y="320071"/>
                    </a:lnTo>
                    <a:cubicBezTo>
                      <a:pt x="54825" y="322765"/>
                      <a:pt x="54825" y="327048"/>
                      <a:pt x="57438" y="329743"/>
                    </a:cubicBezTo>
                    <a:lnTo>
                      <a:pt x="131410" y="403715"/>
                    </a:lnTo>
                    <a:cubicBezTo>
                      <a:pt x="132723" y="404982"/>
                      <a:pt x="134490" y="405669"/>
                      <a:pt x="136314" y="405622"/>
                    </a:cubicBezTo>
                    <a:cubicBezTo>
                      <a:pt x="138100" y="405679"/>
                      <a:pt x="139829" y="404989"/>
                      <a:pt x="141082" y="403715"/>
                    </a:cubicBezTo>
                    <a:lnTo>
                      <a:pt x="164105" y="380692"/>
                    </a:lnTo>
                    <a:lnTo>
                      <a:pt x="177728" y="394315"/>
                    </a:lnTo>
                    <a:lnTo>
                      <a:pt x="177728" y="394315"/>
                    </a:lnTo>
                    <a:lnTo>
                      <a:pt x="204973" y="456708"/>
                    </a:lnTo>
                    <a:cubicBezTo>
                      <a:pt x="205845" y="458762"/>
                      <a:pt x="207686" y="460244"/>
                      <a:pt x="209877" y="460659"/>
                    </a:cubicBezTo>
                    <a:lnTo>
                      <a:pt x="211240" y="460659"/>
                    </a:lnTo>
                    <a:cubicBezTo>
                      <a:pt x="213046" y="460680"/>
                      <a:pt x="214778" y="459938"/>
                      <a:pt x="216008" y="458615"/>
                    </a:cubicBezTo>
                    <a:lnTo>
                      <a:pt x="317770" y="356852"/>
                    </a:lnTo>
                    <a:cubicBezTo>
                      <a:pt x="319093" y="355622"/>
                      <a:pt x="319836" y="353891"/>
                      <a:pt x="319814" y="352084"/>
                    </a:cubicBezTo>
                    <a:lnTo>
                      <a:pt x="319814" y="277840"/>
                    </a:lnTo>
                    <a:cubicBezTo>
                      <a:pt x="319776" y="276415"/>
                      <a:pt x="319300" y="275035"/>
                      <a:pt x="318452" y="273889"/>
                    </a:cubicBezTo>
                    <a:lnTo>
                      <a:pt x="352917" y="242284"/>
                    </a:lnTo>
                    <a:cubicBezTo>
                      <a:pt x="396711" y="202109"/>
                      <a:pt x="427139" y="149477"/>
                      <a:pt x="440104" y="91479"/>
                    </a:cubicBezTo>
                    <a:lnTo>
                      <a:pt x="460674" y="8652"/>
                    </a:lnTo>
                    <a:cubicBezTo>
                      <a:pt x="461357" y="6355"/>
                      <a:pt x="460669" y="3870"/>
                      <a:pt x="458903" y="2250"/>
                    </a:cubicBezTo>
                    <a:close/>
                    <a:moveTo>
                      <a:pt x="111384" y="155098"/>
                    </a:moveTo>
                    <a:lnTo>
                      <a:pt x="175820" y="155098"/>
                    </a:lnTo>
                    <a:lnTo>
                      <a:pt x="70243" y="269939"/>
                    </a:lnTo>
                    <a:lnTo>
                      <a:pt x="18749" y="247733"/>
                    </a:lnTo>
                    <a:close/>
                    <a:moveTo>
                      <a:pt x="182768" y="380148"/>
                    </a:moveTo>
                    <a:lnTo>
                      <a:pt x="163424" y="360394"/>
                    </a:lnTo>
                    <a:lnTo>
                      <a:pt x="95309" y="292280"/>
                    </a:lnTo>
                    <a:lnTo>
                      <a:pt x="95309" y="292280"/>
                    </a:lnTo>
                    <a:lnTo>
                      <a:pt x="81686" y="278657"/>
                    </a:lnTo>
                    <a:lnTo>
                      <a:pt x="107842" y="250186"/>
                    </a:lnTo>
                    <a:lnTo>
                      <a:pt x="211240" y="354400"/>
                    </a:lnTo>
                    <a:close/>
                    <a:moveTo>
                      <a:pt x="154432" y="371156"/>
                    </a:moveTo>
                    <a:lnTo>
                      <a:pt x="136178" y="389275"/>
                    </a:lnTo>
                    <a:lnTo>
                      <a:pt x="71878" y="324839"/>
                    </a:lnTo>
                    <a:lnTo>
                      <a:pt x="89996" y="306720"/>
                    </a:lnTo>
                    <a:lnTo>
                      <a:pt x="139720" y="356444"/>
                    </a:lnTo>
                    <a:close/>
                    <a:moveTo>
                      <a:pt x="306055" y="349769"/>
                    </a:moveTo>
                    <a:lnTo>
                      <a:pt x="213419" y="442404"/>
                    </a:lnTo>
                    <a:lnTo>
                      <a:pt x="190669" y="390910"/>
                    </a:lnTo>
                    <a:lnTo>
                      <a:pt x="305510" y="285196"/>
                    </a:lnTo>
                    <a:close/>
                    <a:moveTo>
                      <a:pt x="343654" y="231795"/>
                    </a:moveTo>
                    <a:lnTo>
                      <a:pt x="221048" y="344319"/>
                    </a:lnTo>
                    <a:lnTo>
                      <a:pt x="116152" y="239423"/>
                    </a:lnTo>
                    <a:lnTo>
                      <a:pt x="228677" y="116818"/>
                    </a:lnTo>
                    <a:cubicBezTo>
                      <a:pt x="261727" y="81479"/>
                      <a:pt x="303423" y="55372"/>
                      <a:pt x="349648" y="41075"/>
                    </a:cubicBezTo>
                    <a:lnTo>
                      <a:pt x="420487" y="111914"/>
                    </a:lnTo>
                    <a:cubicBezTo>
                      <a:pt x="405710" y="157863"/>
                      <a:pt x="379231" y="199176"/>
                      <a:pt x="343654" y="231795"/>
                    </a:cubicBezTo>
                    <a:close/>
                    <a:moveTo>
                      <a:pt x="426890" y="88346"/>
                    </a:moveTo>
                    <a:cubicBezTo>
                      <a:pt x="426208" y="91071"/>
                      <a:pt x="425391" y="93659"/>
                      <a:pt x="424710" y="96383"/>
                    </a:cubicBezTo>
                    <a:lnTo>
                      <a:pt x="364769" y="36443"/>
                    </a:lnTo>
                    <a:lnTo>
                      <a:pt x="372943" y="34263"/>
                    </a:lnTo>
                    <a:lnTo>
                      <a:pt x="444735" y="16417"/>
                    </a:lnTo>
                    <a:close/>
                  </a:path>
                </a:pathLst>
              </a:custGeom>
              <a:grpFill/>
              <a:ln w="12700" cap="flat">
                <a:solidFill>
                  <a:srgbClr val="0E176D"/>
                </a:solid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11E60EA3-DE4A-D03C-73A6-5F806F278154}"/>
                  </a:ext>
                </a:extLst>
              </p:cNvPr>
              <p:cNvSpPr/>
              <p:nvPr/>
            </p:nvSpPr>
            <p:spPr>
              <a:xfrm>
                <a:off x="6088024" y="3294237"/>
                <a:ext cx="95360" cy="95360"/>
              </a:xfrm>
              <a:custGeom>
                <a:avLst/>
                <a:gdLst>
                  <a:gd name="connsiteX0" fmla="*/ 14107 w 95359"/>
                  <a:gd name="connsiteY0" fmla="*/ 13649 h 95359"/>
                  <a:gd name="connsiteX1" fmla="*/ 14107 w 95359"/>
                  <a:gd name="connsiteY1" fmla="*/ 81763 h 95359"/>
                  <a:gd name="connsiteX2" fmla="*/ 82221 w 95359"/>
                  <a:gd name="connsiteY2" fmla="*/ 81763 h 95359"/>
                  <a:gd name="connsiteX3" fmla="*/ 82221 w 95359"/>
                  <a:gd name="connsiteY3" fmla="*/ 81763 h 95359"/>
                  <a:gd name="connsiteX4" fmla="*/ 82221 w 95359"/>
                  <a:gd name="connsiteY4" fmla="*/ 13649 h 95359"/>
                  <a:gd name="connsiteX5" fmla="*/ 14107 w 95359"/>
                  <a:gd name="connsiteY5" fmla="*/ 13649 h 95359"/>
                  <a:gd name="connsiteX6" fmla="*/ 72413 w 95359"/>
                  <a:gd name="connsiteY6" fmla="*/ 71955 h 95359"/>
                  <a:gd name="connsiteX7" fmla="*/ 23864 w 95359"/>
                  <a:gd name="connsiteY7" fmla="*/ 71903 h 95359"/>
                  <a:gd name="connsiteX8" fmla="*/ 23915 w 95359"/>
                  <a:gd name="connsiteY8" fmla="*/ 23354 h 95359"/>
                  <a:gd name="connsiteX9" fmla="*/ 72464 w 95359"/>
                  <a:gd name="connsiteY9" fmla="*/ 23406 h 95359"/>
                  <a:gd name="connsiteX10" fmla="*/ 82494 w 95359"/>
                  <a:gd name="connsiteY10" fmla="*/ 47706 h 95359"/>
                  <a:gd name="connsiteX11" fmla="*/ 72413 w 95359"/>
                  <a:gd name="connsiteY11" fmla="*/ 71955 h 95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359" h="95359">
                    <a:moveTo>
                      <a:pt x="14107" y="13649"/>
                    </a:moveTo>
                    <a:cubicBezTo>
                      <a:pt x="-4702" y="32458"/>
                      <a:pt x="-4702" y="62954"/>
                      <a:pt x="14107" y="81763"/>
                    </a:cubicBezTo>
                    <a:cubicBezTo>
                      <a:pt x="32916" y="100572"/>
                      <a:pt x="63412" y="100572"/>
                      <a:pt x="82221" y="81763"/>
                    </a:cubicBezTo>
                    <a:lnTo>
                      <a:pt x="82221" y="81763"/>
                    </a:lnTo>
                    <a:cubicBezTo>
                      <a:pt x="100997" y="62941"/>
                      <a:pt x="100997" y="32472"/>
                      <a:pt x="82221" y="13649"/>
                    </a:cubicBezTo>
                    <a:cubicBezTo>
                      <a:pt x="63163" y="-4550"/>
                      <a:pt x="33165" y="-4550"/>
                      <a:pt x="14107" y="13649"/>
                    </a:cubicBezTo>
                    <a:close/>
                    <a:moveTo>
                      <a:pt x="72413" y="71955"/>
                    </a:moveTo>
                    <a:cubicBezTo>
                      <a:pt x="58991" y="85348"/>
                      <a:pt x="37255" y="85324"/>
                      <a:pt x="23864" y="71903"/>
                    </a:cubicBezTo>
                    <a:cubicBezTo>
                      <a:pt x="10471" y="58482"/>
                      <a:pt x="10494" y="36745"/>
                      <a:pt x="23915" y="23354"/>
                    </a:cubicBezTo>
                    <a:cubicBezTo>
                      <a:pt x="37336" y="9961"/>
                      <a:pt x="59073" y="9985"/>
                      <a:pt x="72464" y="23406"/>
                    </a:cubicBezTo>
                    <a:cubicBezTo>
                      <a:pt x="78900" y="29855"/>
                      <a:pt x="82507" y="38597"/>
                      <a:pt x="82494" y="47706"/>
                    </a:cubicBezTo>
                    <a:cubicBezTo>
                      <a:pt x="82480" y="56806"/>
                      <a:pt x="78854" y="65528"/>
                      <a:pt x="72413" y="71955"/>
                    </a:cubicBezTo>
                    <a:close/>
                  </a:path>
                </a:pathLst>
              </a:custGeom>
              <a:grpFill/>
              <a:ln w="12700" cap="flat">
                <a:solidFill>
                  <a:srgbClr val="0E176D"/>
                </a:solidFill>
                <a:prstDash val="solid"/>
                <a:miter/>
              </a:ln>
            </p:spPr>
            <p:txBody>
              <a:bodyPr rtlCol="0" anchor="ctr"/>
              <a:lstStyle/>
              <a:p>
                <a:endParaRPr lang="en-US"/>
              </a:p>
            </p:txBody>
          </p:sp>
        </p:grpSp>
        <p:grpSp>
          <p:nvGrpSpPr>
            <p:cNvPr id="68" name="Graphic 2">
              <a:extLst>
                <a:ext uri="{FF2B5EF4-FFF2-40B4-BE49-F238E27FC236}">
                  <a16:creationId xmlns:a16="http://schemas.microsoft.com/office/drawing/2014/main" id="{4FE48733-EE5F-6234-F2F6-E5F3B711D1AE}"/>
                </a:ext>
              </a:extLst>
            </p:cNvPr>
            <p:cNvGrpSpPr>
              <a:grpSpLocks noChangeAspect="1"/>
            </p:cNvGrpSpPr>
            <p:nvPr/>
          </p:nvGrpSpPr>
          <p:grpSpPr>
            <a:xfrm>
              <a:off x="10380540" y="6782879"/>
              <a:ext cx="886021" cy="792143"/>
              <a:chOff x="5842001" y="3161112"/>
              <a:chExt cx="493057" cy="440813"/>
            </a:xfrm>
            <a:solidFill>
              <a:schemeClr val="tx1"/>
            </a:solidFill>
          </p:grpSpPr>
          <p:sp>
            <p:nvSpPr>
              <p:cNvPr id="69" name="Freeform: Shape 68">
                <a:extLst>
                  <a:ext uri="{FF2B5EF4-FFF2-40B4-BE49-F238E27FC236}">
                    <a16:creationId xmlns:a16="http://schemas.microsoft.com/office/drawing/2014/main" id="{AFCACDAD-6C07-F359-4366-09A38321E653}"/>
                  </a:ext>
                </a:extLst>
              </p:cNvPr>
              <p:cNvSpPr/>
              <p:nvPr/>
            </p:nvSpPr>
            <p:spPr>
              <a:xfrm>
                <a:off x="6154420" y="3527219"/>
                <a:ext cx="134470" cy="74706"/>
              </a:xfrm>
              <a:custGeom>
                <a:avLst/>
                <a:gdLst>
                  <a:gd name="connsiteX0" fmla="*/ 132677 w 134470"/>
                  <a:gd name="connsiteY0" fmla="*/ 36248 h 74705"/>
                  <a:gd name="connsiteX1" fmla="*/ 129838 w 134470"/>
                  <a:gd name="connsiteY1" fmla="*/ 33410 h 74705"/>
                  <a:gd name="connsiteX2" fmla="*/ 85015 w 134470"/>
                  <a:gd name="connsiteY2" fmla="*/ 1436 h 74705"/>
                  <a:gd name="connsiteX3" fmla="*/ 74556 w 134470"/>
                  <a:gd name="connsiteY3" fmla="*/ 3079 h 74705"/>
                  <a:gd name="connsiteX4" fmla="*/ 76200 w 134470"/>
                  <a:gd name="connsiteY4" fmla="*/ 13538 h 74705"/>
                  <a:gd name="connsiteX5" fmla="*/ 107427 w 134470"/>
                  <a:gd name="connsiteY5" fmla="*/ 35651 h 74705"/>
                  <a:gd name="connsiteX6" fmla="*/ 7471 w 134470"/>
                  <a:gd name="connsiteY6" fmla="*/ 35651 h 74705"/>
                  <a:gd name="connsiteX7" fmla="*/ 0 w 134470"/>
                  <a:gd name="connsiteY7" fmla="*/ 43121 h 74705"/>
                  <a:gd name="connsiteX8" fmla="*/ 7471 w 134470"/>
                  <a:gd name="connsiteY8" fmla="*/ 50592 h 74705"/>
                  <a:gd name="connsiteX9" fmla="*/ 112058 w 134470"/>
                  <a:gd name="connsiteY9" fmla="*/ 50592 h 74705"/>
                  <a:gd name="connsiteX10" fmla="*/ 77246 w 134470"/>
                  <a:gd name="connsiteY10" fmla="*/ 72257 h 74705"/>
                  <a:gd name="connsiteX11" fmla="*/ 74855 w 134470"/>
                  <a:gd name="connsiteY11" fmla="*/ 82566 h 74705"/>
                  <a:gd name="connsiteX12" fmla="*/ 84886 w 134470"/>
                  <a:gd name="connsiteY12" fmla="*/ 85130 h 74705"/>
                  <a:gd name="connsiteX13" fmla="*/ 85164 w 134470"/>
                  <a:gd name="connsiteY13" fmla="*/ 84957 h 74705"/>
                  <a:gd name="connsiteX14" fmla="*/ 129241 w 134470"/>
                  <a:gd name="connsiteY14" fmla="*/ 57465 h 74705"/>
                  <a:gd name="connsiteX15" fmla="*/ 135815 w 134470"/>
                  <a:gd name="connsiteY15" fmla="*/ 47604 h 74705"/>
                  <a:gd name="connsiteX16" fmla="*/ 137458 w 134470"/>
                  <a:gd name="connsiteY16" fmla="*/ 43121 h 74705"/>
                  <a:gd name="connsiteX17" fmla="*/ 132677 w 134470"/>
                  <a:gd name="connsiteY17" fmla="*/ 36248 h 7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470" h="74705">
                    <a:moveTo>
                      <a:pt x="132677" y="36248"/>
                    </a:moveTo>
                    <a:cubicBezTo>
                      <a:pt x="131846" y="35194"/>
                      <a:pt x="130893" y="34240"/>
                      <a:pt x="129838" y="33410"/>
                    </a:cubicBezTo>
                    <a:lnTo>
                      <a:pt x="85015" y="1436"/>
                    </a:lnTo>
                    <a:cubicBezTo>
                      <a:pt x="81673" y="-998"/>
                      <a:pt x="76990" y="-263"/>
                      <a:pt x="74556" y="3079"/>
                    </a:cubicBezTo>
                    <a:cubicBezTo>
                      <a:pt x="72122" y="6421"/>
                      <a:pt x="72857" y="11104"/>
                      <a:pt x="76200" y="13538"/>
                    </a:cubicBezTo>
                    <a:lnTo>
                      <a:pt x="107427" y="35651"/>
                    </a:lnTo>
                    <a:lnTo>
                      <a:pt x="7471" y="35651"/>
                    </a:lnTo>
                    <a:cubicBezTo>
                      <a:pt x="3345" y="35651"/>
                      <a:pt x="0" y="38996"/>
                      <a:pt x="0" y="43121"/>
                    </a:cubicBezTo>
                    <a:cubicBezTo>
                      <a:pt x="79" y="47214"/>
                      <a:pt x="3378" y="50513"/>
                      <a:pt x="7471" y="50592"/>
                    </a:cubicBezTo>
                    <a:lnTo>
                      <a:pt x="112058" y="50592"/>
                    </a:lnTo>
                    <a:lnTo>
                      <a:pt x="77246" y="72257"/>
                    </a:lnTo>
                    <a:cubicBezTo>
                      <a:pt x="73803" y="74489"/>
                      <a:pt x="72747" y="79046"/>
                      <a:pt x="74855" y="82566"/>
                    </a:cubicBezTo>
                    <a:cubicBezTo>
                      <a:pt x="76917" y="86044"/>
                      <a:pt x="81408" y="87192"/>
                      <a:pt x="84886" y="85130"/>
                    </a:cubicBezTo>
                    <a:cubicBezTo>
                      <a:pt x="84981" y="85075"/>
                      <a:pt x="85073" y="85016"/>
                      <a:pt x="85164" y="84957"/>
                    </a:cubicBezTo>
                    <a:lnTo>
                      <a:pt x="129241" y="57465"/>
                    </a:lnTo>
                    <a:cubicBezTo>
                      <a:pt x="132698" y="55225"/>
                      <a:pt x="135077" y="51657"/>
                      <a:pt x="135815" y="47604"/>
                    </a:cubicBezTo>
                    <a:cubicBezTo>
                      <a:pt x="136793" y="46305"/>
                      <a:pt x="137366" y="44745"/>
                      <a:pt x="137458" y="43121"/>
                    </a:cubicBezTo>
                    <a:cubicBezTo>
                      <a:pt x="137461" y="40055"/>
                      <a:pt x="135553" y="37312"/>
                      <a:pt x="132677" y="36248"/>
                    </a:cubicBezTo>
                    <a:close/>
                  </a:path>
                </a:pathLst>
              </a:custGeom>
              <a:solidFill>
                <a:schemeClr val="tx2">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R="0" algn="ctr" defTabSz="822960">
                  <a:lnSpc>
                    <a:spcPct val="140000"/>
                  </a:lnSpc>
                </a:pPr>
                <a:endParaRPr lang="en-US" sz="2800">
                  <a:solidFill>
                    <a:schemeClr val="bg1"/>
                  </a:solidFill>
                  <a:uFillTx/>
                </a:endParaRPr>
              </a:p>
            </p:txBody>
          </p:sp>
          <p:sp>
            <p:nvSpPr>
              <p:cNvPr id="70" name="Freeform: Shape 69">
                <a:extLst>
                  <a:ext uri="{FF2B5EF4-FFF2-40B4-BE49-F238E27FC236}">
                    <a16:creationId xmlns:a16="http://schemas.microsoft.com/office/drawing/2014/main" id="{9D810535-835A-D3AB-5FCC-F094E98E445D}"/>
                  </a:ext>
                </a:extLst>
              </p:cNvPr>
              <p:cNvSpPr/>
              <p:nvPr/>
            </p:nvSpPr>
            <p:spPr>
              <a:xfrm>
                <a:off x="5842001" y="3161112"/>
                <a:ext cx="493057" cy="403411"/>
              </a:xfrm>
              <a:custGeom>
                <a:avLst/>
                <a:gdLst>
                  <a:gd name="connsiteX0" fmla="*/ 493057 w 493056"/>
                  <a:gd name="connsiteY0" fmla="*/ 39287 h 403410"/>
                  <a:gd name="connsiteX1" fmla="*/ 369902 w 493056"/>
                  <a:gd name="connsiteY1" fmla="*/ 15077 h 403410"/>
                  <a:gd name="connsiteX2" fmla="*/ 331693 w 493056"/>
                  <a:gd name="connsiteY2" fmla="*/ 102488 h 403410"/>
                  <a:gd name="connsiteX3" fmla="*/ 84015 w 493056"/>
                  <a:gd name="connsiteY3" fmla="*/ 132952 h 403410"/>
                  <a:gd name="connsiteX4" fmla="*/ 77694 w 493056"/>
                  <a:gd name="connsiteY4" fmla="*/ 341546 h 403410"/>
                  <a:gd name="connsiteX5" fmla="*/ 61557 w 493056"/>
                  <a:gd name="connsiteY5" fmla="*/ 337362 h 403410"/>
                  <a:gd name="connsiteX6" fmla="*/ 52450 w 493056"/>
                  <a:gd name="connsiteY6" fmla="*/ 342717 h 403410"/>
                  <a:gd name="connsiteX7" fmla="*/ 52443 w 493056"/>
                  <a:gd name="connsiteY7" fmla="*/ 342741 h 403410"/>
                  <a:gd name="connsiteX8" fmla="*/ 57673 w 493056"/>
                  <a:gd name="connsiteY8" fmla="*/ 351855 h 403410"/>
                  <a:gd name="connsiteX9" fmla="*/ 95324 w 493056"/>
                  <a:gd name="connsiteY9" fmla="*/ 361567 h 403410"/>
                  <a:gd name="connsiteX10" fmla="*/ 97117 w 493056"/>
                  <a:gd name="connsiteY10" fmla="*/ 361567 h 403410"/>
                  <a:gd name="connsiteX11" fmla="*/ 102048 w 493056"/>
                  <a:gd name="connsiteY11" fmla="*/ 359624 h 403410"/>
                  <a:gd name="connsiteX12" fmla="*/ 104588 w 493056"/>
                  <a:gd name="connsiteY12" fmla="*/ 353499 h 403410"/>
                  <a:gd name="connsiteX13" fmla="*/ 98462 w 493056"/>
                  <a:gd name="connsiteY13" fmla="*/ 312709 h 403410"/>
                  <a:gd name="connsiteX14" fmla="*/ 89832 w 493056"/>
                  <a:gd name="connsiteY14" fmla="*/ 306256 h 403410"/>
                  <a:gd name="connsiteX15" fmla="*/ 89647 w 493056"/>
                  <a:gd name="connsiteY15" fmla="*/ 306285 h 403410"/>
                  <a:gd name="connsiteX16" fmla="*/ 83222 w 493056"/>
                  <a:gd name="connsiteY16" fmla="*/ 314652 h 403410"/>
                  <a:gd name="connsiteX17" fmla="*/ 84866 w 493056"/>
                  <a:gd name="connsiteY17" fmla="*/ 327202 h 403410"/>
                  <a:gd name="connsiteX18" fmla="*/ 132309 w 493056"/>
                  <a:gd name="connsiteY18" fmla="*/ 104633 h 403410"/>
                  <a:gd name="connsiteX19" fmla="*/ 221427 w 493056"/>
                  <a:gd name="connsiteY19" fmla="*/ 78731 h 403410"/>
                  <a:gd name="connsiteX20" fmla="*/ 343646 w 493056"/>
                  <a:gd name="connsiteY20" fmla="*/ 135209 h 403410"/>
                  <a:gd name="connsiteX21" fmla="*/ 343646 w 493056"/>
                  <a:gd name="connsiteY21" fmla="*/ 136105 h 403410"/>
                  <a:gd name="connsiteX22" fmla="*/ 345887 w 493056"/>
                  <a:gd name="connsiteY22" fmla="*/ 138346 h 403410"/>
                  <a:gd name="connsiteX23" fmla="*/ 323327 w 493056"/>
                  <a:gd name="connsiteY23" fmla="*/ 365008 h 403410"/>
                  <a:gd name="connsiteX24" fmla="*/ 220381 w 493056"/>
                  <a:gd name="connsiteY24" fmla="*/ 401460 h 403410"/>
                  <a:gd name="connsiteX25" fmla="*/ 7471 w 493056"/>
                  <a:gd name="connsiteY25" fmla="*/ 401460 h 403410"/>
                  <a:gd name="connsiteX26" fmla="*/ 0 w 493056"/>
                  <a:gd name="connsiteY26" fmla="*/ 408930 h 403410"/>
                  <a:gd name="connsiteX27" fmla="*/ 7471 w 493056"/>
                  <a:gd name="connsiteY27" fmla="*/ 416401 h 403410"/>
                  <a:gd name="connsiteX28" fmla="*/ 221427 w 493056"/>
                  <a:gd name="connsiteY28" fmla="*/ 416401 h 403410"/>
                  <a:gd name="connsiteX29" fmla="*/ 398300 w 493056"/>
                  <a:gd name="connsiteY29" fmla="*/ 241265 h 403410"/>
                  <a:gd name="connsiteX30" fmla="*/ 356645 w 493056"/>
                  <a:gd name="connsiteY30" fmla="*/ 126692 h 403410"/>
                  <a:gd name="connsiteX31" fmla="*/ 380381 w 493056"/>
                  <a:gd name="connsiteY31" fmla="*/ 25045 h 403410"/>
                  <a:gd name="connsiteX32" fmla="*/ 482029 w 493056"/>
                  <a:gd name="connsiteY32" fmla="*/ 48782 h 403410"/>
                  <a:gd name="connsiteX33" fmla="*/ 459439 w 493056"/>
                  <a:gd name="connsiteY33" fmla="*/ 149702 h 403410"/>
                  <a:gd name="connsiteX34" fmla="*/ 424477 w 493056"/>
                  <a:gd name="connsiteY34" fmla="*/ 161206 h 403410"/>
                  <a:gd name="connsiteX35" fmla="*/ 430155 w 493056"/>
                  <a:gd name="connsiteY35" fmla="*/ 156873 h 403410"/>
                  <a:gd name="connsiteX36" fmla="*/ 431649 w 493056"/>
                  <a:gd name="connsiteY36" fmla="*/ 146414 h 403410"/>
                  <a:gd name="connsiteX37" fmla="*/ 421190 w 493056"/>
                  <a:gd name="connsiteY37" fmla="*/ 144920 h 403410"/>
                  <a:gd name="connsiteX38" fmla="*/ 396089 w 493056"/>
                  <a:gd name="connsiteY38" fmla="*/ 169573 h 403410"/>
                  <a:gd name="connsiteX39" fmla="*/ 420742 w 493056"/>
                  <a:gd name="connsiteY39" fmla="*/ 193330 h 403410"/>
                  <a:gd name="connsiteX40" fmla="*/ 425075 w 493056"/>
                  <a:gd name="connsiteY40" fmla="*/ 194674 h 403410"/>
                  <a:gd name="connsiteX41" fmla="*/ 432396 w 493056"/>
                  <a:gd name="connsiteY41" fmla="*/ 187057 h 403410"/>
                  <a:gd name="connsiteX42" fmla="*/ 429408 w 493056"/>
                  <a:gd name="connsiteY42" fmla="*/ 181227 h 403410"/>
                  <a:gd name="connsiteX43" fmla="*/ 422834 w 493056"/>
                  <a:gd name="connsiteY43" fmla="*/ 176297 h 403410"/>
                  <a:gd name="connsiteX44" fmla="*/ 507421 w 493056"/>
                  <a:gd name="connsiteY44" fmla="*/ 83856 h 403410"/>
                  <a:gd name="connsiteX45" fmla="*/ 493057 w 493056"/>
                  <a:gd name="connsiteY45" fmla="*/ 39287 h 40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93056" h="403410">
                    <a:moveTo>
                      <a:pt x="493057" y="39287"/>
                    </a:moveTo>
                    <a:cubicBezTo>
                      <a:pt x="465734" y="-1407"/>
                      <a:pt x="410595" y="-12246"/>
                      <a:pt x="369902" y="15077"/>
                    </a:cubicBezTo>
                    <a:cubicBezTo>
                      <a:pt x="341258" y="34310"/>
                      <a:pt x="326356" y="68401"/>
                      <a:pt x="331693" y="102488"/>
                    </a:cubicBezTo>
                    <a:cubicBezTo>
                      <a:pt x="254887" y="42506"/>
                      <a:pt x="143997" y="56145"/>
                      <a:pt x="84015" y="132952"/>
                    </a:cubicBezTo>
                    <a:cubicBezTo>
                      <a:pt x="36611" y="193652"/>
                      <a:pt x="34052" y="278086"/>
                      <a:pt x="77694" y="341546"/>
                    </a:cubicBezTo>
                    <a:lnTo>
                      <a:pt x="61557" y="337362"/>
                    </a:lnTo>
                    <a:cubicBezTo>
                      <a:pt x="57564" y="336325"/>
                      <a:pt x="53486" y="338723"/>
                      <a:pt x="52450" y="342717"/>
                    </a:cubicBezTo>
                    <a:cubicBezTo>
                      <a:pt x="52448" y="342725"/>
                      <a:pt x="52445" y="342734"/>
                      <a:pt x="52443" y="342741"/>
                    </a:cubicBezTo>
                    <a:cubicBezTo>
                      <a:pt x="51394" y="346699"/>
                      <a:pt x="53726" y="350763"/>
                      <a:pt x="57673" y="351855"/>
                    </a:cubicBezTo>
                    <a:lnTo>
                      <a:pt x="95324" y="361567"/>
                    </a:lnTo>
                    <a:lnTo>
                      <a:pt x="97117" y="361567"/>
                    </a:lnTo>
                    <a:cubicBezTo>
                      <a:pt x="98940" y="361529"/>
                      <a:pt x="100690" y="360841"/>
                      <a:pt x="102048" y="359624"/>
                    </a:cubicBezTo>
                    <a:cubicBezTo>
                      <a:pt x="103824" y="358105"/>
                      <a:pt x="104768" y="355829"/>
                      <a:pt x="104588" y="353499"/>
                    </a:cubicBezTo>
                    <a:lnTo>
                      <a:pt x="98462" y="312709"/>
                    </a:lnTo>
                    <a:cubicBezTo>
                      <a:pt x="97861" y="308544"/>
                      <a:pt x="93997" y="305654"/>
                      <a:pt x="89832" y="306256"/>
                    </a:cubicBezTo>
                    <a:cubicBezTo>
                      <a:pt x="89770" y="306265"/>
                      <a:pt x="89708" y="306274"/>
                      <a:pt x="89647" y="306285"/>
                    </a:cubicBezTo>
                    <a:cubicBezTo>
                      <a:pt x="85565" y="306827"/>
                      <a:pt x="82692" y="310568"/>
                      <a:pt x="83222" y="314652"/>
                    </a:cubicBezTo>
                    <a:lnTo>
                      <a:pt x="84866" y="327202"/>
                    </a:lnTo>
                    <a:cubicBezTo>
                      <a:pt x="36506" y="252640"/>
                      <a:pt x="57747" y="152993"/>
                      <a:pt x="132309" y="104633"/>
                    </a:cubicBezTo>
                    <a:cubicBezTo>
                      <a:pt x="158827" y="87434"/>
                      <a:pt x="189822" y="78426"/>
                      <a:pt x="221427" y="78731"/>
                    </a:cubicBezTo>
                    <a:cubicBezTo>
                      <a:pt x="268432" y="78930"/>
                      <a:pt x="313031" y="99539"/>
                      <a:pt x="343646" y="135209"/>
                    </a:cubicBezTo>
                    <a:lnTo>
                      <a:pt x="343646" y="136105"/>
                    </a:lnTo>
                    <a:cubicBezTo>
                      <a:pt x="344237" y="136993"/>
                      <a:pt x="344999" y="137755"/>
                      <a:pt x="345887" y="138346"/>
                    </a:cubicBezTo>
                    <a:cubicBezTo>
                      <a:pt x="402248" y="207167"/>
                      <a:pt x="392148" y="308647"/>
                      <a:pt x="323327" y="365008"/>
                    </a:cubicBezTo>
                    <a:cubicBezTo>
                      <a:pt x="294304" y="388776"/>
                      <a:pt x="257894" y="401669"/>
                      <a:pt x="220381" y="401460"/>
                    </a:cubicBezTo>
                    <a:lnTo>
                      <a:pt x="7471" y="401460"/>
                    </a:lnTo>
                    <a:cubicBezTo>
                      <a:pt x="3345" y="401460"/>
                      <a:pt x="0" y="404805"/>
                      <a:pt x="0" y="408930"/>
                    </a:cubicBezTo>
                    <a:cubicBezTo>
                      <a:pt x="0" y="413055"/>
                      <a:pt x="3345" y="416401"/>
                      <a:pt x="7471" y="416401"/>
                    </a:cubicBezTo>
                    <a:lnTo>
                      <a:pt x="221427" y="416401"/>
                    </a:lnTo>
                    <a:cubicBezTo>
                      <a:pt x="318631" y="416880"/>
                      <a:pt x="397821" y="338469"/>
                      <a:pt x="398300" y="241265"/>
                    </a:cubicBezTo>
                    <a:cubicBezTo>
                      <a:pt x="398507" y="199331"/>
                      <a:pt x="383734" y="158701"/>
                      <a:pt x="356645" y="126692"/>
                    </a:cubicBezTo>
                    <a:cubicBezTo>
                      <a:pt x="335131" y="92068"/>
                      <a:pt x="345758" y="46559"/>
                      <a:pt x="380381" y="25045"/>
                    </a:cubicBezTo>
                    <a:cubicBezTo>
                      <a:pt x="415006" y="3531"/>
                      <a:pt x="460515" y="14158"/>
                      <a:pt x="482029" y="48782"/>
                    </a:cubicBezTo>
                    <a:cubicBezTo>
                      <a:pt x="503263" y="82956"/>
                      <a:pt x="493217" y="127841"/>
                      <a:pt x="459439" y="149702"/>
                    </a:cubicBezTo>
                    <a:cubicBezTo>
                      <a:pt x="448991" y="156525"/>
                      <a:pt x="436937" y="160492"/>
                      <a:pt x="424477" y="161206"/>
                    </a:cubicBezTo>
                    <a:lnTo>
                      <a:pt x="430155" y="156873"/>
                    </a:lnTo>
                    <a:cubicBezTo>
                      <a:pt x="433455" y="154398"/>
                      <a:pt x="434125" y="149715"/>
                      <a:pt x="431649" y="146414"/>
                    </a:cubicBezTo>
                    <a:cubicBezTo>
                      <a:pt x="429173" y="143114"/>
                      <a:pt x="424491" y="142445"/>
                      <a:pt x="421190" y="144920"/>
                    </a:cubicBezTo>
                    <a:cubicBezTo>
                      <a:pt x="396089" y="163597"/>
                      <a:pt x="396089" y="165838"/>
                      <a:pt x="396089" y="169573"/>
                    </a:cubicBezTo>
                    <a:cubicBezTo>
                      <a:pt x="396089" y="173309"/>
                      <a:pt x="396089" y="175550"/>
                      <a:pt x="420742" y="193330"/>
                    </a:cubicBezTo>
                    <a:cubicBezTo>
                      <a:pt x="422021" y="194199"/>
                      <a:pt x="423528" y="194667"/>
                      <a:pt x="425075" y="194674"/>
                    </a:cubicBezTo>
                    <a:cubicBezTo>
                      <a:pt x="429200" y="194592"/>
                      <a:pt x="432478" y="191183"/>
                      <a:pt x="432396" y="187057"/>
                    </a:cubicBezTo>
                    <a:cubicBezTo>
                      <a:pt x="432351" y="184758"/>
                      <a:pt x="431248" y="182606"/>
                      <a:pt x="429408" y="181227"/>
                    </a:cubicBezTo>
                    <a:lnTo>
                      <a:pt x="422834" y="176297"/>
                    </a:lnTo>
                    <a:cubicBezTo>
                      <a:pt x="471718" y="174129"/>
                      <a:pt x="509589" y="132741"/>
                      <a:pt x="507421" y="83856"/>
                    </a:cubicBezTo>
                    <a:cubicBezTo>
                      <a:pt x="506716" y="67980"/>
                      <a:pt x="501756" y="52586"/>
                      <a:pt x="493057" y="39287"/>
                    </a:cubicBezTo>
                    <a:close/>
                  </a:path>
                </a:pathLst>
              </a:custGeom>
              <a:solidFill>
                <a:schemeClr val="tx2">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R="0" algn="ctr" defTabSz="822960">
                  <a:lnSpc>
                    <a:spcPct val="140000"/>
                  </a:lnSpc>
                </a:pPr>
                <a:endParaRPr lang="en-US" sz="2800">
                  <a:solidFill>
                    <a:schemeClr val="bg1"/>
                  </a:solidFill>
                  <a:uFillTx/>
                </a:endParaRPr>
              </a:p>
            </p:txBody>
          </p:sp>
        </p:grpSp>
        <p:sp>
          <p:nvSpPr>
            <p:cNvPr id="91" name="TextBox 90">
              <a:extLst>
                <a:ext uri="{FF2B5EF4-FFF2-40B4-BE49-F238E27FC236}">
                  <a16:creationId xmlns:a16="http://schemas.microsoft.com/office/drawing/2014/main" id="{01182743-7D50-A6BD-79F9-10B118355A7F}"/>
                </a:ext>
              </a:extLst>
            </p:cNvPr>
            <p:cNvSpPr txBox="1"/>
            <p:nvPr/>
          </p:nvSpPr>
          <p:spPr>
            <a:xfrm>
              <a:off x="5267452" y="4548100"/>
              <a:ext cx="1133389" cy="48785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r" defTabSz="1282700" rtl="0" fontAlgn="auto" latinLnBrk="0" hangingPunct="0">
                <a:lnSpc>
                  <a:spcPct val="140000"/>
                </a:lnSpc>
                <a:spcBef>
                  <a:spcPts val="0"/>
                </a:spcBef>
                <a:spcAft>
                  <a:spcPts val="0"/>
                </a:spcAft>
                <a:buClrTx/>
                <a:buSzTx/>
                <a:buFontTx/>
                <a:buNone/>
                <a:tabLst/>
              </a:pPr>
              <a:r>
                <a:rPr lang="de-DE" sz="2000">
                  <a:solidFill>
                    <a:schemeClr val="bg1"/>
                  </a:solidFill>
                </a:rPr>
                <a:t>1 </a:t>
              </a:r>
              <a:r>
                <a:rPr lang="de-DE" sz="2000" err="1">
                  <a:solidFill>
                    <a:schemeClr val="bg1"/>
                  </a:solidFill>
                </a:rPr>
                <a:t>Month</a:t>
              </a:r>
              <a:endParaRPr kumimoji="0" lang="en-US" sz="2000" b="0" i="0" u="none" strike="noStrike" cap="none" spc="0" normalizeH="0" baseline="0">
                <a:ln>
                  <a:noFill/>
                </a:ln>
                <a:solidFill>
                  <a:schemeClr val="bg1"/>
                </a:solidFill>
                <a:effectLst/>
                <a:uFill>
                  <a:solidFill>
                    <a:schemeClr val="accent1">
                      <a:lumOff val="-57413"/>
                    </a:schemeClr>
                  </a:solidFill>
                </a:uFill>
                <a:latin typeface="+mn-lt"/>
                <a:ea typeface="+mn-ea"/>
                <a:cs typeface="+mn-cs"/>
                <a:sym typeface="BentonSansF Book"/>
              </a:endParaRPr>
            </a:p>
          </p:txBody>
        </p:sp>
        <p:pic>
          <p:nvPicPr>
            <p:cNvPr id="22" name="Graphic 21" descr="Stopwatch with solid fill">
              <a:extLst>
                <a:ext uri="{FF2B5EF4-FFF2-40B4-BE49-F238E27FC236}">
                  <a16:creationId xmlns:a16="http://schemas.microsoft.com/office/drawing/2014/main" id="{548A0C7B-9D3B-FE22-7F7B-AB8233693E3F}"/>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4862994" y="4506820"/>
              <a:ext cx="487851" cy="487851"/>
            </a:xfrm>
            <a:prstGeom prst="rect">
              <a:avLst/>
            </a:prstGeom>
          </p:spPr>
        </p:pic>
        <p:grpSp>
          <p:nvGrpSpPr>
            <p:cNvPr id="25" name="Group 24">
              <a:extLst>
                <a:ext uri="{FF2B5EF4-FFF2-40B4-BE49-F238E27FC236}">
                  <a16:creationId xmlns:a16="http://schemas.microsoft.com/office/drawing/2014/main" id="{6A52E217-4197-2BAD-5D93-DB5713115F6E}"/>
                </a:ext>
              </a:extLst>
            </p:cNvPr>
            <p:cNvGrpSpPr/>
            <p:nvPr/>
          </p:nvGrpSpPr>
          <p:grpSpPr>
            <a:xfrm>
              <a:off x="10078858" y="4497629"/>
              <a:ext cx="1682674" cy="529131"/>
              <a:chOff x="10078858" y="4497629"/>
              <a:chExt cx="1682674" cy="529131"/>
            </a:xfrm>
          </p:grpSpPr>
          <p:sp>
            <p:nvSpPr>
              <p:cNvPr id="23" name="TextBox 22">
                <a:extLst>
                  <a:ext uri="{FF2B5EF4-FFF2-40B4-BE49-F238E27FC236}">
                    <a16:creationId xmlns:a16="http://schemas.microsoft.com/office/drawing/2014/main" id="{662F0388-47D1-C93D-9A71-436ED161B63D}"/>
                  </a:ext>
                </a:extLst>
              </p:cNvPr>
              <p:cNvSpPr txBox="1"/>
              <p:nvPr/>
            </p:nvSpPr>
            <p:spPr>
              <a:xfrm>
                <a:off x="10628143" y="4538909"/>
                <a:ext cx="1133389" cy="48785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r" defTabSz="1282700" rtl="0" fontAlgn="auto" latinLnBrk="0" hangingPunct="0">
                  <a:lnSpc>
                    <a:spcPct val="140000"/>
                  </a:lnSpc>
                  <a:spcBef>
                    <a:spcPts val="0"/>
                  </a:spcBef>
                  <a:spcAft>
                    <a:spcPts val="0"/>
                  </a:spcAft>
                  <a:buClrTx/>
                  <a:buSzTx/>
                  <a:buFontTx/>
                  <a:buNone/>
                  <a:tabLst/>
                </a:pPr>
                <a:r>
                  <a:rPr lang="de-DE" sz="2000">
                    <a:solidFill>
                      <a:schemeClr val="bg1"/>
                    </a:solidFill>
                  </a:rPr>
                  <a:t>5 </a:t>
                </a:r>
                <a:r>
                  <a:rPr lang="de-DE" sz="2000" err="1">
                    <a:solidFill>
                      <a:schemeClr val="bg1"/>
                    </a:solidFill>
                  </a:rPr>
                  <a:t>Months</a:t>
                </a:r>
                <a:endParaRPr kumimoji="0" lang="en-US" sz="2000" b="0" i="0" u="none" strike="noStrike" cap="none" spc="0" normalizeH="0" baseline="0">
                  <a:ln>
                    <a:noFill/>
                  </a:ln>
                  <a:solidFill>
                    <a:schemeClr val="bg1"/>
                  </a:solidFill>
                  <a:effectLst/>
                  <a:uFill>
                    <a:solidFill>
                      <a:schemeClr val="accent1">
                        <a:lumOff val="-57413"/>
                      </a:schemeClr>
                    </a:solidFill>
                  </a:uFill>
                  <a:latin typeface="+mn-lt"/>
                  <a:ea typeface="+mn-ea"/>
                  <a:cs typeface="+mn-cs"/>
                  <a:sym typeface="BentonSansF Book"/>
                </a:endParaRPr>
              </a:p>
            </p:txBody>
          </p:sp>
          <p:pic>
            <p:nvPicPr>
              <p:cNvPr id="24" name="Graphic 23" descr="Stopwatch with solid fill">
                <a:extLst>
                  <a:ext uri="{FF2B5EF4-FFF2-40B4-BE49-F238E27FC236}">
                    <a16:creationId xmlns:a16="http://schemas.microsoft.com/office/drawing/2014/main" id="{48AFF5B8-FD4C-4A97-BE81-C258FD2E1A3A}"/>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0078858" y="4497629"/>
                <a:ext cx="487851" cy="487851"/>
              </a:xfrm>
              <a:prstGeom prst="rect">
                <a:avLst/>
              </a:prstGeom>
            </p:spPr>
          </p:pic>
        </p:grpSp>
        <p:grpSp>
          <p:nvGrpSpPr>
            <p:cNvPr id="26" name="Group 25">
              <a:extLst>
                <a:ext uri="{FF2B5EF4-FFF2-40B4-BE49-F238E27FC236}">
                  <a16:creationId xmlns:a16="http://schemas.microsoft.com/office/drawing/2014/main" id="{C92259F6-B343-8222-1ECA-F191C8355477}"/>
                </a:ext>
              </a:extLst>
            </p:cNvPr>
            <p:cNvGrpSpPr/>
            <p:nvPr/>
          </p:nvGrpSpPr>
          <p:grpSpPr>
            <a:xfrm>
              <a:off x="15417818" y="4518268"/>
              <a:ext cx="1682674" cy="529131"/>
              <a:chOff x="10078858" y="4497629"/>
              <a:chExt cx="1682674" cy="529131"/>
            </a:xfrm>
          </p:grpSpPr>
          <p:sp>
            <p:nvSpPr>
              <p:cNvPr id="34" name="TextBox 33">
                <a:extLst>
                  <a:ext uri="{FF2B5EF4-FFF2-40B4-BE49-F238E27FC236}">
                    <a16:creationId xmlns:a16="http://schemas.microsoft.com/office/drawing/2014/main" id="{005A474A-C991-C43A-7713-958CF247A783}"/>
                  </a:ext>
                </a:extLst>
              </p:cNvPr>
              <p:cNvSpPr txBox="1"/>
              <p:nvPr/>
            </p:nvSpPr>
            <p:spPr>
              <a:xfrm>
                <a:off x="10628143" y="4538909"/>
                <a:ext cx="1133389" cy="48785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r" defTabSz="1282700" rtl="0" fontAlgn="auto" latinLnBrk="0" hangingPunct="0">
                  <a:lnSpc>
                    <a:spcPct val="140000"/>
                  </a:lnSpc>
                  <a:spcBef>
                    <a:spcPts val="0"/>
                  </a:spcBef>
                  <a:spcAft>
                    <a:spcPts val="0"/>
                  </a:spcAft>
                  <a:buClrTx/>
                  <a:buSzTx/>
                  <a:buFontTx/>
                  <a:buNone/>
                  <a:tabLst/>
                </a:pPr>
                <a:r>
                  <a:rPr lang="de-DE" sz="2000">
                    <a:solidFill>
                      <a:schemeClr val="bg1"/>
                    </a:solidFill>
                  </a:rPr>
                  <a:t>2 </a:t>
                </a:r>
                <a:r>
                  <a:rPr lang="de-DE" sz="2000" err="1">
                    <a:solidFill>
                      <a:schemeClr val="bg1"/>
                    </a:solidFill>
                  </a:rPr>
                  <a:t>Months</a:t>
                </a:r>
                <a:endParaRPr kumimoji="0" lang="en-US" sz="2000" b="0" i="0" u="none" strike="noStrike" cap="none" spc="0" normalizeH="0" baseline="0">
                  <a:ln>
                    <a:noFill/>
                  </a:ln>
                  <a:solidFill>
                    <a:schemeClr val="bg1"/>
                  </a:solidFill>
                  <a:effectLst/>
                  <a:uFill>
                    <a:solidFill>
                      <a:schemeClr val="accent1">
                        <a:lumOff val="-57413"/>
                      </a:schemeClr>
                    </a:solidFill>
                  </a:uFill>
                  <a:latin typeface="+mn-lt"/>
                  <a:ea typeface="+mn-ea"/>
                  <a:cs typeface="+mn-cs"/>
                  <a:sym typeface="BentonSansF Book"/>
                </a:endParaRPr>
              </a:p>
            </p:txBody>
          </p:sp>
          <p:pic>
            <p:nvPicPr>
              <p:cNvPr id="36" name="Graphic 35" descr="Stopwatch with solid fill">
                <a:extLst>
                  <a:ext uri="{FF2B5EF4-FFF2-40B4-BE49-F238E27FC236}">
                    <a16:creationId xmlns:a16="http://schemas.microsoft.com/office/drawing/2014/main" id="{C50DA717-E29C-3AD4-DCC7-6613C04AB5C3}"/>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0078858" y="4497629"/>
                <a:ext cx="487851" cy="487851"/>
              </a:xfrm>
              <a:prstGeom prst="rect">
                <a:avLst/>
              </a:prstGeom>
            </p:spPr>
          </p:pic>
        </p:grpSp>
        <p:grpSp>
          <p:nvGrpSpPr>
            <p:cNvPr id="81" name="Group 80">
              <a:extLst>
                <a:ext uri="{FF2B5EF4-FFF2-40B4-BE49-F238E27FC236}">
                  <a16:creationId xmlns:a16="http://schemas.microsoft.com/office/drawing/2014/main" id="{97DC67D2-98B4-A538-4CBA-B87AD2A50687}"/>
                </a:ext>
              </a:extLst>
            </p:cNvPr>
            <p:cNvGrpSpPr/>
            <p:nvPr/>
          </p:nvGrpSpPr>
          <p:grpSpPr>
            <a:xfrm>
              <a:off x="6696522" y="8105069"/>
              <a:ext cx="5343314" cy="1052304"/>
              <a:chOff x="6696522" y="7901927"/>
              <a:chExt cx="5343314" cy="1052304"/>
            </a:xfrm>
          </p:grpSpPr>
          <p:sp>
            <p:nvSpPr>
              <p:cNvPr id="168" name="Eingekerbter Richtungspfeil 12">
                <a:extLst>
                  <a:ext uri="{FF2B5EF4-FFF2-40B4-BE49-F238E27FC236}">
                    <a16:creationId xmlns:a16="http://schemas.microsoft.com/office/drawing/2014/main" id="{F02FBC31-5FFE-2A71-217B-CACD7FAE24E9}"/>
                  </a:ext>
                </a:extLst>
              </p:cNvPr>
              <p:cNvSpPr/>
              <p:nvPr>
                <p:custDataLst>
                  <p:tags r:id="rId11"/>
                </p:custDataLst>
              </p:nvPr>
            </p:nvSpPr>
            <p:spPr bwMode="auto">
              <a:xfrm>
                <a:off x="6696522" y="7901927"/>
                <a:ext cx="5343314" cy="1052304"/>
              </a:xfrm>
              <a:prstGeom prst="chevron">
                <a:avLst>
                  <a:gd name="adj" fmla="val 18199"/>
                </a:avLst>
              </a:prstGeom>
              <a:solidFill>
                <a:srgbClr val="C7D4FD"/>
              </a:solidFill>
              <a:ln w="38100" cmpd="sng">
                <a:noFill/>
                <a:prstDash val="solid"/>
                <a:miter lim="800000"/>
                <a:headEnd/>
                <a:tailEnd/>
              </a:ln>
              <a:effectLst/>
            </p:spPr>
            <p:txBody>
              <a:bodyPr lIns="144000" tIns="108000" rIns="144000" bIns="108000" anchor="t"/>
              <a:lstStyle/>
              <a:p>
                <a:endParaRPr lang="en-US" sz="2800" b="0" i="0">
                  <a:solidFill>
                    <a:schemeClr val="bg1"/>
                  </a:solidFill>
                  <a:effectLst/>
                </a:endParaRPr>
              </a:p>
            </p:txBody>
          </p:sp>
          <p:sp>
            <p:nvSpPr>
              <p:cNvPr id="48" name="Graphic 2">
                <a:extLst>
                  <a:ext uri="{FF2B5EF4-FFF2-40B4-BE49-F238E27FC236}">
                    <a16:creationId xmlns:a16="http://schemas.microsoft.com/office/drawing/2014/main" id="{181C094C-B725-5ECA-DF4B-F9DD77030D9E}"/>
                  </a:ext>
                </a:extLst>
              </p:cNvPr>
              <p:cNvSpPr>
                <a:spLocks noChangeAspect="1"/>
              </p:cNvSpPr>
              <p:nvPr/>
            </p:nvSpPr>
            <p:spPr>
              <a:xfrm>
                <a:off x="11261266" y="8140236"/>
                <a:ext cx="431754" cy="506842"/>
              </a:xfrm>
              <a:custGeom>
                <a:avLst/>
                <a:gdLst>
                  <a:gd name="connsiteX0" fmla="*/ 376992 w 380466"/>
                  <a:gd name="connsiteY0" fmla="*/ 134825 h 446634"/>
                  <a:gd name="connsiteX1" fmla="*/ 11083 w 380466"/>
                  <a:gd name="connsiteY1" fmla="*/ 339 h 446634"/>
                  <a:gd name="connsiteX2" fmla="*/ 3474 w 380466"/>
                  <a:gd name="connsiteY2" fmla="*/ 1827 h 446634"/>
                  <a:gd name="connsiteX3" fmla="*/ 0 w 380466"/>
                  <a:gd name="connsiteY3" fmla="*/ 8610 h 446634"/>
                  <a:gd name="connsiteX4" fmla="*/ 0 w 380466"/>
                  <a:gd name="connsiteY4" fmla="*/ 453755 h 446634"/>
                  <a:gd name="connsiteX5" fmla="*/ 8271 w 380466"/>
                  <a:gd name="connsiteY5" fmla="*/ 462026 h 446634"/>
                  <a:gd name="connsiteX6" fmla="*/ 16542 w 380466"/>
                  <a:gd name="connsiteY6" fmla="*/ 453755 h 446634"/>
                  <a:gd name="connsiteX7" fmla="*/ 16542 w 380466"/>
                  <a:gd name="connsiteY7" fmla="*/ 282380 h 446634"/>
                  <a:gd name="connsiteX8" fmla="*/ 376992 w 380466"/>
                  <a:gd name="connsiteY8" fmla="*/ 150044 h 446634"/>
                  <a:gd name="connsiteX9" fmla="*/ 381492 w 380466"/>
                  <a:gd name="connsiteY9" fmla="*/ 138994 h 446634"/>
                  <a:gd name="connsiteX10" fmla="*/ 376992 w 380466"/>
                  <a:gd name="connsiteY10" fmla="*/ 134494 h 446634"/>
                  <a:gd name="connsiteX11" fmla="*/ 16542 w 380466"/>
                  <a:gd name="connsiteY11" fmla="*/ 265011 h 446634"/>
                  <a:gd name="connsiteX12" fmla="*/ 16542 w 380466"/>
                  <a:gd name="connsiteY12" fmla="*/ 20520 h 446634"/>
                  <a:gd name="connsiteX13" fmla="*/ 350029 w 380466"/>
                  <a:gd name="connsiteY13" fmla="*/ 142600 h 446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0466" h="446634">
                    <a:moveTo>
                      <a:pt x="376992" y="134825"/>
                    </a:moveTo>
                    <a:lnTo>
                      <a:pt x="11083" y="339"/>
                    </a:lnTo>
                    <a:cubicBezTo>
                      <a:pt x="8455" y="-429"/>
                      <a:pt x="5618" y="126"/>
                      <a:pt x="3474" y="1827"/>
                    </a:cubicBezTo>
                    <a:cubicBezTo>
                      <a:pt x="1303" y="3407"/>
                      <a:pt x="13" y="5925"/>
                      <a:pt x="0" y="8610"/>
                    </a:cubicBezTo>
                    <a:lnTo>
                      <a:pt x="0" y="453755"/>
                    </a:lnTo>
                    <a:cubicBezTo>
                      <a:pt x="0" y="458322"/>
                      <a:pt x="3703" y="462026"/>
                      <a:pt x="8271" y="462026"/>
                    </a:cubicBezTo>
                    <a:cubicBezTo>
                      <a:pt x="12839" y="462026"/>
                      <a:pt x="16542" y="458322"/>
                      <a:pt x="16542" y="453755"/>
                    </a:cubicBezTo>
                    <a:lnTo>
                      <a:pt x="16542" y="282380"/>
                    </a:lnTo>
                    <a:lnTo>
                      <a:pt x="376992" y="150044"/>
                    </a:lnTo>
                    <a:cubicBezTo>
                      <a:pt x="381287" y="148235"/>
                      <a:pt x="383301" y="143288"/>
                      <a:pt x="381492" y="138994"/>
                    </a:cubicBezTo>
                    <a:cubicBezTo>
                      <a:pt x="380636" y="136964"/>
                      <a:pt x="379022" y="135349"/>
                      <a:pt x="376992" y="134494"/>
                    </a:cubicBezTo>
                    <a:close/>
                    <a:moveTo>
                      <a:pt x="16542" y="265011"/>
                    </a:moveTo>
                    <a:lnTo>
                      <a:pt x="16542" y="20520"/>
                    </a:lnTo>
                    <a:lnTo>
                      <a:pt x="350029" y="142600"/>
                    </a:lnTo>
                    <a:close/>
                  </a:path>
                </a:pathLst>
              </a:custGeom>
              <a:solidFill>
                <a:srgbClr val="416CF9"/>
              </a:solidFill>
              <a:ln w="25400" cap="flat">
                <a:solidFill>
                  <a:srgbClr val="416CF9"/>
                </a:solidFill>
                <a:prstDash val="solid"/>
                <a:miter/>
              </a:ln>
            </p:spPr>
            <p:txBody>
              <a:bodyPr rtlCol="0" anchor="ctr"/>
              <a:lstStyle/>
              <a:p>
                <a:endParaRPr lang="en-US"/>
              </a:p>
            </p:txBody>
          </p:sp>
          <p:sp>
            <p:nvSpPr>
              <p:cNvPr id="10" name="TextBox 61">
                <a:extLst>
                  <a:ext uri="{FF2B5EF4-FFF2-40B4-BE49-F238E27FC236}">
                    <a16:creationId xmlns:a16="http://schemas.microsoft.com/office/drawing/2014/main" id="{CC8997AE-1B5D-620F-689D-27C5CC7324E5}"/>
                  </a:ext>
                </a:extLst>
              </p:cNvPr>
              <p:cNvSpPr txBox="1"/>
              <p:nvPr/>
            </p:nvSpPr>
            <p:spPr>
              <a:xfrm>
                <a:off x="9020927" y="8168275"/>
                <a:ext cx="2076251" cy="5391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a:r>
                  <a:rPr kumimoji="0" lang="en-US" sz="1800" i="0" u="none" strike="noStrike" cap="none" spc="0" normalizeH="0" baseline="0">
                    <a:ln>
                      <a:noFill/>
                    </a:ln>
                    <a:solidFill>
                      <a:srgbClr val="416CF9"/>
                    </a:solidFill>
                    <a:effectLst/>
                    <a:uFill>
                      <a:solidFill>
                        <a:schemeClr val="accent1">
                          <a:lumOff val="-57413"/>
                        </a:schemeClr>
                      </a:solidFill>
                    </a:uFill>
                    <a:latin typeface="+mn-lt"/>
                    <a:ea typeface="+mn-ea"/>
                    <a:cs typeface="+mn-cs"/>
                    <a:sym typeface="BentonSansF Book"/>
                  </a:rPr>
                  <a:t>Functional prototype ready</a:t>
                </a:r>
              </a:p>
            </p:txBody>
          </p:sp>
        </p:grpSp>
        <p:grpSp>
          <p:nvGrpSpPr>
            <p:cNvPr id="85" name="Group 84">
              <a:extLst>
                <a:ext uri="{FF2B5EF4-FFF2-40B4-BE49-F238E27FC236}">
                  <a16:creationId xmlns:a16="http://schemas.microsoft.com/office/drawing/2014/main" id="{F696A1C2-74B0-F508-FB50-397DF6E6EE55}"/>
                </a:ext>
              </a:extLst>
            </p:cNvPr>
            <p:cNvGrpSpPr/>
            <p:nvPr/>
          </p:nvGrpSpPr>
          <p:grpSpPr>
            <a:xfrm>
              <a:off x="11993701" y="8117683"/>
              <a:ext cx="5343314" cy="1052304"/>
              <a:chOff x="6696522" y="7901927"/>
              <a:chExt cx="5343314" cy="1052304"/>
            </a:xfrm>
          </p:grpSpPr>
          <p:sp>
            <p:nvSpPr>
              <p:cNvPr id="89" name="Eingekerbter Richtungspfeil 12">
                <a:extLst>
                  <a:ext uri="{FF2B5EF4-FFF2-40B4-BE49-F238E27FC236}">
                    <a16:creationId xmlns:a16="http://schemas.microsoft.com/office/drawing/2014/main" id="{02871CCF-C588-BACE-42ED-C9D01E09440D}"/>
                  </a:ext>
                </a:extLst>
              </p:cNvPr>
              <p:cNvSpPr/>
              <p:nvPr>
                <p:custDataLst>
                  <p:tags r:id="rId10"/>
                </p:custDataLst>
              </p:nvPr>
            </p:nvSpPr>
            <p:spPr bwMode="auto">
              <a:xfrm>
                <a:off x="6696522" y="7901927"/>
                <a:ext cx="5343314" cy="1052304"/>
              </a:xfrm>
              <a:prstGeom prst="chevron">
                <a:avLst>
                  <a:gd name="adj" fmla="val 18199"/>
                </a:avLst>
              </a:prstGeom>
              <a:solidFill>
                <a:srgbClr val="C7D4FD"/>
              </a:solidFill>
              <a:ln w="38100" cmpd="sng">
                <a:noFill/>
                <a:prstDash val="solid"/>
                <a:miter lim="800000"/>
                <a:headEnd/>
                <a:tailEnd/>
              </a:ln>
              <a:effectLst/>
            </p:spPr>
            <p:txBody>
              <a:bodyPr lIns="144000" tIns="108000" rIns="144000" bIns="108000" anchor="t"/>
              <a:lstStyle/>
              <a:p>
                <a:endParaRPr lang="en-US" sz="2800" b="0" i="0">
                  <a:solidFill>
                    <a:schemeClr val="bg1"/>
                  </a:solidFill>
                  <a:effectLst/>
                </a:endParaRPr>
              </a:p>
            </p:txBody>
          </p:sp>
          <p:sp>
            <p:nvSpPr>
              <p:cNvPr id="90" name="Graphic 2">
                <a:extLst>
                  <a:ext uri="{FF2B5EF4-FFF2-40B4-BE49-F238E27FC236}">
                    <a16:creationId xmlns:a16="http://schemas.microsoft.com/office/drawing/2014/main" id="{EFC0D18C-67BA-8750-2656-39A8757AE314}"/>
                  </a:ext>
                </a:extLst>
              </p:cNvPr>
              <p:cNvSpPr>
                <a:spLocks noChangeAspect="1"/>
              </p:cNvSpPr>
              <p:nvPr/>
            </p:nvSpPr>
            <p:spPr>
              <a:xfrm>
                <a:off x="11261266" y="8140236"/>
                <a:ext cx="431754" cy="506842"/>
              </a:xfrm>
              <a:custGeom>
                <a:avLst/>
                <a:gdLst>
                  <a:gd name="connsiteX0" fmla="*/ 376992 w 380466"/>
                  <a:gd name="connsiteY0" fmla="*/ 134825 h 446634"/>
                  <a:gd name="connsiteX1" fmla="*/ 11083 w 380466"/>
                  <a:gd name="connsiteY1" fmla="*/ 339 h 446634"/>
                  <a:gd name="connsiteX2" fmla="*/ 3474 w 380466"/>
                  <a:gd name="connsiteY2" fmla="*/ 1827 h 446634"/>
                  <a:gd name="connsiteX3" fmla="*/ 0 w 380466"/>
                  <a:gd name="connsiteY3" fmla="*/ 8610 h 446634"/>
                  <a:gd name="connsiteX4" fmla="*/ 0 w 380466"/>
                  <a:gd name="connsiteY4" fmla="*/ 453755 h 446634"/>
                  <a:gd name="connsiteX5" fmla="*/ 8271 w 380466"/>
                  <a:gd name="connsiteY5" fmla="*/ 462026 h 446634"/>
                  <a:gd name="connsiteX6" fmla="*/ 16542 w 380466"/>
                  <a:gd name="connsiteY6" fmla="*/ 453755 h 446634"/>
                  <a:gd name="connsiteX7" fmla="*/ 16542 w 380466"/>
                  <a:gd name="connsiteY7" fmla="*/ 282380 h 446634"/>
                  <a:gd name="connsiteX8" fmla="*/ 376992 w 380466"/>
                  <a:gd name="connsiteY8" fmla="*/ 150044 h 446634"/>
                  <a:gd name="connsiteX9" fmla="*/ 381492 w 380466"/>
                  <a:gd name="connsiteY9" fmla="*/ 138994 h 446634"/>
                  <a:gd name="connsiteX10" fmla="*/ 376992 w 380466"/>
                  <a:gd name="connsiteY10" fmla="*/ 134494 h 446634"/>
                  <a:gd name="connsiteX11" fmla="*/ 16542 w 380466"/>
                  <a:gd name="connsiteY11" fmla="*/ 265011 h 446634"/>
                  <a:gd name="connsiteX12" fmla="*/ 16542 w 380466"/>
                  <a:gd name="connsiteY12" fmla="*/ 20520 h 446634"/>
                  <a:gd name="connsiteX13" fmla="*/ 350029 w 380466"/>
                  <a:gd name="connsiteY13" fmla="*/ 142600 h 446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0466" h="446634">
                    <a:moveTo>
                      <a:pt x="376992" y="134825"/>
                    </a:moveTo>
                    <a:lnTo>
                      <a:pt x="11083" y="339"/>
                    </a:lnTo>
                    <a:cubicBezTo>
                      <a:pt x="8455" y="-429"/>
                      <a:pt x="5618" y="126"/>
                      <a:pt x="3474" y="1827"/>
                    </a:cubicBezTo>
                    <a:cubicBezTo>
                      <a:pt x="1303" y="3407"/>
                      <a:pt x="13" y="5925"/>
                      <a:pt x="0" y="8610"/>
                    </a:cubicBezTo>
                    <a:lnTo>
                      <a:pt x="0" y="453755"/>
                    </a:lnTo>
                    <a:cubicBezTo>
                      <a:pt x="0" y="458322"/>
                      <a:pt x="3703" y="462026"/>
                      <a:pt x="8271" y="462026"/>
                    </a:cubicBezTo>
                    <a:cubicBezTo>
                      <a:pt x="12839" y="462026"/>
                      <a:pt x="16542" y="458322"/>
                      <a:pt x="16542" y="453755"/>
                    </a:cubicBezTo>
                    <a:lnTo>
                      <a:pt x="16542" y="282380"/>
                    </a:lnTo>
                    <a:lnTo>
                      <a:pt x="376992" y="150044"/>
                    </a:lnTo>
                    <a:cubicBezTo>
                      <a:pt x="381287" y="148235"/>
                      <a:pt x="383301" y="143288"/>
                      <a:pt x="381492" y="138994"/>
                    </a:cubicBezTo>
                    <a:cubicBezTo>
                      <a:pt x="380636" y="136964"/>
                      <a:pt x="379022" y="135349"/>
                      <a:pt x="376992" y="134494"/>
                    </a:cubicBezTo>
                    <a:close/>
                    <a:moveTo>
                      <a:pt x="16542" y="265011"/>
                    </a:moveTo>
                    <a:lnTo>
                      <a:pt x="16542" y="20520"/>
                    </a:lnTo>
                    <a:lnTo>
                      <a:pt x="350029" y="142600"/>
                    </a:lnTo>
                    <a:close/>
                  </a:path>
                </a:pathLst>
              </a:custGeom>
              <a:solidFill>
                <a:srgbClr val="416CF9"/>
              </a:solidFill>
              <a:ln w="25400" cap="flat">
                <a:solidFill>
                  <a:srgbClr val="416CF9"/>
                </a:solidFill>
                <a:prstDash val="solid"/>
                <a:miter/>
              </a:ln>
            </p:spPr>
            <p:txBody>
              <a:bodyPr rtlCol="0" anchor="ctr"/>
              <a:lstStyle/>
              <a:p>
                <a:endParaRPr lang="en-US"/>
              </a:p>
            </p:txBody>
          </p:sp>
          <p:sp>
            <p:nvSpPr>
              <p:cNvPr id="92" name="TextBox 61">
                <a:extLst>
                  <a:ext uri="{FF2B5EF4-FFF2-40B4-BE49-F238E27FC236}">
                    <a16:creationId xmlns:a16="http://schemas.microsoft.com/office/drawing/2014/main" id="{2F30A4C4-DB79-FB2E-0C36-724B1641EA53}"/>
                  </a:ext>
                </a:extLst>
              </p:cNvPr>
              <p:cNvSpPr txBox="1"/>
              <p:nvPr/>
            </p:nvSpPr>
            <p:spPr>
              <a:xfrm>
                <a:off x="9020927" y="8247366"/>
                <a:ext cx="2076251" cy="3175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a:r>
                  <a:rPr kumimoji="0" lang="en-US" sz="1800" i="0" u="none" strike="noStrike" cap="none" spc="0" normalizeH="0" baseline="0">
                    <a:ln>
                      <a:noFill/>
                    </a:ln>
                    <a:solidFill>
                      <a:srgbClr val="416CF9"/>
                    </a:solidFill>
                    <a:effectLst/>
                    <a:uFill>
                      <a:solidFill>
                        <a:schemeClr val="accent1">
                          <a:lumOff val="-57413"/>
                        </a:schemeClr>
                      </a:solidFill>
                    </a:uFill>
                    <a:latin typeface="+mn-lt"/>
                    <a:ea typeface="+mn-ea"/>
                    <a:cs typeface="+mn-cs"/>
                    <a:sym typeface="BentonSansF Book"/>
                  </a:rPr>
                  <a:t>App tested</a:t>
                </a:r>
              </a:p>
            </p:txBody>
          </p:sp>
        </p:grpSp>
        <p:grpSp>
          <p:nvGrpSpPr>
            <p:cNvPr id="96" name="Group 95">
              <a:extLst>
                <a:ext uri="{FF2B5EF4-FFF2-40B4-BE49-F238E27FC236}">
                  <a16:creationId xmlns:a16="http://schemas.microsoft.com/office/drawing/2014/main" id="{B5EDDC45-0BDF-4B3B-47EE-5BF2DFE4ED15}"/>
                </a:ext>
              </a:extLst>
            </p:cNvPr>
            <p:cNvGrpSpPr/>
            <p:nvPr/>
          </p:nvGrpSpPr>
          <p:grpSpPr>
            <a:xfrm>
              <a:off x="17290880" y="8100333"/>
              <a:ext cx="5343314" cy="1052304"/>
              <a:chOff x="6696522" y="7901927"/>
              <a:chExt cx="5343314" cy="1052304"/>
            </a:xfrm>
          </p:grpSpPr>
          <p:sp>
            <p:nvSpPr>
              <p:cNvPr id="97" name="Eingekerbter Richtungspfeil 12">
                <a:extLst>
                  <a:ext uri="{FF2B5EF4-FFF2-40B4-BE49-F238E27FC236}">
                    <a16:creationId xmlns:a16="http://schemas.microsoft.com/office/drawing/2014/main" id="{828C8D36-EA70-F437-FF04-A99F900524DD}"/>
                  </a:ext>
                </a:extLst>
              </p:cNvPr>
              <p:cNvSpPr/>
              <p:nvPr>
                <p:custDataLst>
                  <p:tags r:id="rId9"/>
                </p:custDataLst>
              </p:nvPr>
            </p:nvSpPr>
            <p:spPr bwMode="auto">
              <a:xfrm>
                <a:off x="6696522" y="7901927"/>
                <a:ext cx="5343314" cy="1052304"/>
              </a:xfrm>
              <a:prstGeom prst="chevron">
                <a:avLst>
                  <a:gd name="adj" fmla="val 18199"/>
                </a:avLst>
              </a:prstGeom>
              <a:solidFill>
                <a:srgbClr val="C7D4FD"/>
              </a:solidFill>
              <a:ln w="38100" cmpd="sng">
                <a:noFill/>
                <a:prstDash val="solid"/>
                <a:miter lim="800000"/>
                <a:headEnd/>
                <a:tailEnd/>
              </a:ln>
              <a:effectLst/>
            </p:spPr>
            <p:txBody>
              <a:bodyPr lIns="144000" tIns="108000" rIns="144000" bIns="108000" anchor="t"/>
              <a:lstStyle/>
              <a:p>
                <a:endParaRPr lang="en-US" sz="2800" b="0" i="0">
                  <a:solidFill>
                    <a:schemeClr val="bg1"/>
                  </a:solidFill>
                  <a:effectLst/>
                </a:endParaRPr>
              </a:p>
            </p:txBody>
          </p:sp>
          <p:sp>
            <p:nvSpPr>
              <p:cNvPr id="98" name="Graphic 2">
                <a:extLst>
                  <a:ext uri="{FF2B5EF4-FFF2-40B4-BE49-F238E27FC236}">
                    <a16:creationId xmlns:a16="http://schemas.microsoft.com/office/drawing/2014/main" id="{D76FDF4A-6D4A-715C-129C-E7B81492DAB6}"/>
                  </a:ext>
                </a:extLst>
              </p:cNvPr>
              <p:cNvSpPr>
                <a:spLocks noChangeAspect="1"/>
              </p:cNvSpPr>
              <p:nvPr/>
            </p:nvSpPr>
            <p:spPr>
              <a:xfrm>
                <a:off x="11261266" y="8140236"/>
                <a:ext cx="431754" cy="506842"/>
              </a:xfrm>
              <a:custGeom>
                <a:avLst/>
                <a:gdLst>
                  <a:gd name="connsiteX0" fmla="*/ 376992 w 380466"/>
                  <a:gd name="connsiteY0" fmla="*/ 134825 h 446634"/>
                  <a:gd name="connsiteX1" fmla="*/ 11083 w 380466"/>
                  <a:gd name="connsiteY1" fmla="*/ 339 h 446634"/>
                  <a:gd name="connsiteX2" fmla="*/ 3474 w 380466"/>
                  <a:gd name="connsiteY2" fmla="*/ 1827 h 446634"/>
                  <a:gd name="connsiteX3" fmla="*/ 0 w 380466"/>
                  <a:gd name="connsiteY3" fmla="*/ 8610 h 446634"/>
                  <a:gd name="connsiteX4" fmla="*/ 0 w 380466"/>
                  <a:gd name="connsiteY4" fmla="*/ 453755 h 446634"/>
                  <a:gd name="connsiteX5" fmla="*/ 8271 w 380466"/>
                  <a:gd name="connsiteY5" fmla="*/ 462026 h 446634"/>
                  <a:gd name="connsiteX6" fmla="*/ 16542 w 380466"/>
                  <a:gd name="connsiteY6" fmla="*/ 453755 h 446634"/>
                  <a:gd name="connsiteX7" fmla="*/ 16542 w 380466"/>
                  <a:gd name="connsiteY7" fmla="*/ 282380 h 446634"/>
                  <a:gd name="connsiteX8" fmla="*/ 376992 w 380466"/>
                  <a:gd name="connsiteY8" fmla="*/ 150044 h 446634"/>
                  <a:gd name="connsiteX9" fmla="*/ 381492 w 380466"/>
                  <a:gd name="connsiteY9" fmla="*/ 138994 h 446634"/>
                  <a:gd name="connsiteX10" fmla="*/ 376992 w 380466"/>
                  <a:gd name="connsiteY10" fmla="*/ 134494 h 446634"/>
                  <a:gd name="connsiteX11" fmla="*/ 16542 w 380466"/>
                  <a:gd name="connsiteY11" fmla="*/ 265011 h 446634"/>
                  <a:gd name="connsiteX12" fmla="*/ 16542 w 380466"/>
                  <a:gd name="connsiteY12" fmla="*/ 20520 h 446634"/>
                  <a:gd name="connsiteX13" fmla="*/ 350029 w 380466"/>
                  <a:gd name="connsiteY13" fmla="*/ 142600 h 446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0466" h="446634">
                    <a:moveTo>
                      <a:pt x="376992" y="134825"/>
                    </a:moveTo>
                    <a:lnTo>
                      <a:pt x="11083" y="339"/>
                    </a:lnTo>
                    <a:cubicBezTo>
                      <a:pt x="8455" y="-429"/>
                      <a:pt x="5618" y="126"/>
                      <a:pt x="3474" y="1827"/>
                    </a:cubicBezTo>
                    <a:cubicBezTo>
                      <a:pt x="1303" y="3407"/>
                      <a:pt x="13" y="5925"/>
                      <a:pt x="0" y="8610"/>
                    </a:cubicBezTo>
                    <a:lnTo>
                      <a:pt x="0" y="453755"/>
                    </a:lnTo>
                    <a:cubicBezTo>
                      <a:pt x="0" y="458322"/>
                      <a:pt x="3703" y="462026"/>
                      <a:pt x="8271" y="462026"/>
                    </a:cubicBezTo>
                    <a:cubicBezTo>
                      <a:pt x="12839" y="462026"/>
                      <a:pt x="16542" y="458322"/>
                      <a:pt x="16542" y="453755"/>
                    </a:cubicBezTo>
                    <a:lnTo>
                      <a:pt x="16542" y="282380"/>
                    </a:lnTo>
                    <a:lnTo>
                      <a:pt x="376992" y="150044"/>
                    </a:lnTo>
                    <a:cubicBezTo>
                      <a:pt x="381287" y="148235"/>
                      <a:pt x="383301" y="143288"/>
                      <a:pt x="381492" y="138994"/>
                    </a:cubicBezTo>
                    <a:cubicBezTo>
                      <a:pt x="380636" y="136964"/>
                      <a:pt x="379022" y="135349"/>
                      <a:pt x="376992" y="134494"/>
                    </a:cubicBezTo>
                    <a:close/>
                    <a:moveTo>
                      <a:pt x="16542" y="265011"/>
                    </a:moveTo>
                    <a:lnTo>
                      <a:pt x="16542" y="20520"/>
                    </a:lnTo>
                    <a:lnTo>
                      <a:pt x="350029" y="142600"/>
                    </a:lnTo>
                    <a:close/>
                  </a:path>
                </a:pathLst>
              </a:custGeom>
              <a:solidFill>
                <a:srgbClr val="416CF9"/>
              </a:solidFill>
              <a:ln w="25400" cap="flat">
                <a:solidFill>
                  <a:srgbClr val="416CF9"/>
                </a:solidFill>
                <a:prstDash val="solid"/>
                <a:miter/>
              </a:ln>
            </p:spPr>
            <p:txBody>
              <a:bodyPr rtlCol="0" anchor="ctr"/>
              <a:lstStyle/>
              <a:p>
                <a:endParaRPr lang="en-US"/>
              </a:p>
            </p:txBody>
          </p:sp>
          <p:sp>
            <p:nvSpPr>
              <p:cNvPr id="99" name="TextBox 61">
                <a:extLst>
                  <a:ext uri="{FF2B5EF4-FFF2-40B4-BE49-F238E27FC236}">
                    <a16:creationId xmlns:a16="http://schemas.microsoft.com/office/drawing/2014/main" id="{4CDD982D-AB4A-5B8D-DD47-999C94F2A358}"/>
                  </a:ext>
                </a:extLst>
              </p:cNvPr>
              <p:cNvSpPr txBox="1"/>
              <p:nvPr/>
            </p:nvSpPr>
            <p:spPr>
              <a:xfrm>
                <a:off x="9020927" y="8247366"/>
                <a:ext cx="2076251" cy="3175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a:r>
                  <a:rPr kumimoji="0" lang="en-US" sz="1800" i="0" u="none" strike="noStrike" cap="none" spc="0" normalizeH="0" baseline="0">
                    <a:ln>
                      <a:noFill/>
                    </a:ln>
                    <a:solidFill>
                      <a:srgbClr val="416CF9"/>
                    </a:solidFill>
                    <a:effectLst/>
                    <a:uFill>
                      <a:solidFill>
                        <a:schemeClr val="accent1">
                          <a:lumOff val="-57413"/>
                        </a:schemeClr>
                      </a:solidFill>
                    </a:uFill>
                    <a:latin typeface="+mn-lt"/>
                    <a:ea typeface="+mn-ea"/>
                    <a:cs typeface="+mn-cs"/>
                    <a:sym typeface="BentonSansF Book"/>
                  </a:rPr>
                  <a:t>App launched</a:t>
                </a:r>
              </a:p>
            </p:txBody>
          </p:sp>
        </p:grpSp>
      </p:grpSp>
      <p:pic>
        <p:nvPicPr>
          <p:cNvPr id="107" name="Graphic 106" descr="Circles with arrows with solid fill">
            <a:extLst>
              <a:ext uri="{FF2B5EF4-FFF2-40B4-BE49-F238E27FC236}">
                <a16:creationId xmlns:a16="http://schemas.microsoft.com/office/drawing/2014/main" id="{72819CF7-9776-3CDE-1520-1716CAEC972F}"/>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5820215" y="9594325"/>
            <a:ext cx="680568" cy="680568"/>
          </a:xfrm>
          <a:prstGeom prst="rect">
            <a:avLst/>
          </a:prstGeom>
        </p:spPr>
      </p:pic>
    </p:spTree>
    <p:extLst>
      <p:ext uri="{BB962C8B-B14F-4D97-AF65-F5344CB8AC3E}">
        <p14:creationId xmlns:p14="http://schemas.microsoft.com/office/powerpoint/2010/main" val="3192974848"/>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A car driving on a bridge over water&#10;&#10;Description automatically generated">
            <a:extLst>
              <a:ext uri="{FF2B5EF4-FFF2-40B4-BE49-F238E27FC236}">
                <a16:creationId xmlns:a16="http://schemas.microsoft.com/office/drawing/2014/main" id="{B84D531C-CC53-8802-F2E6-F8CFE951AAAC}"/>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44075" y="-1"/>
            <a:ext cx="24387628" cy="13716001"/>
          </a:xfrm>
          <a:prstGeom prst="rect">
            <a:avLst/>
          </a:prstGeom>
        </p:spPr>
      </p:pic>
      <p:sp>
        <p:nvSpPr>
          <p:cNvPr id="11" name="Rectangle 10">
            <a:extLst>
              <a:ext uri="{FF2B5EF4-FFF2-40B4-BE49-F238E27FC236}">
                <a16:creationId xmlns:a16="http://schemas.microsoft.com/office/drawing/2014/main" id="{5C206B30-4BBD-8568-91CE-25B4A850AD3E}"/>
              </a:ext>
            </a:extLst>
          </p:cNvPr>
          <p:cNvSpPr/>
          <p:nvPr/>
        </p:nvSpPr>
        <p:spPr>
          <a:xfrm>
            <a:off x="12358" y="0"/>
            <a:ext cx="24371642" cy="13724236"/>
          </a:xfrm>
          <a:prstGeom prst="rect">
            <a:avLst/>
          </a:prstGeom>
          <a:solidFill>
            <a:srgbClr val="0E176D">
              <a:alpha val="8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000" tIns="90000" rIns="90000" bIns="90000" numCol="1" spcCol="38100" rtlCol="0" anchor="ctr">
            <a:noAutofit/>
          </a:bodyPr>
          <a:lstStyle/>
          <a:p>
            <a:pPr marL="0" marR="0" indent="0" algn="ctr" defTabSz="822960" rtl="0" fontAlgn="auto" latinLnBrk="0" hangingPunct="0">
              <a:lnSpc>
                <a:spcPct val="140000"/>
              </a:lnSpc>
              <a:spcBef>
                <a:spcPts val="0"/>
              </a:spcBef>
              <a:spcAft>
                <a:spcPts val="0"/>
              </a:spcAft>
              <a:buClrTx/>
              <a:buSzTx/>
              <a:buFontTx/>
              <a:buNone/>
              <a:tabLst/>
            </a:pPr>
            <a:endParaRPr kumimoji="0" lang="en-US" sz="2800" b="0" i="0" u="none" strike="noStrike" cap="none" spc="0" normalizeH="0" baseline="0">
              <a:ln>
                <a:noFill/>
              </a:ln>
              <a:solidFill>
                <a:schemeClr val="bg1"/>
              </a:solidFill>
              <a:effectLst/>
              <a:uFillTx/>
              <a:latin typeface="+mn-lt"/>
              <a:ea typeface="+mn-ea"/>
              <a:cs typeface="+mn-cs"/>
              <a:sym typeface="BentonSansF Book"/>
            </a:endParaRPr>
          </a:p>
        </p:txBody>
      </p:sp>
      <p:sp>
        <p:nvSpPr>
          <p:cNvPr id="25" name="Rectangle 24">
            <a:extLst>
              <a:ext uri="{FF2B5EF4-FFF2-40B4-BE49-F238E27FC236}">
                <a16:creationId xmlns:a16="http://schemas.microsoft.com/office/drawing/2014/main" id="{8C5D5662-C26A-29B9-2412-712A672011E4}"/>
              </a:ext>
            </a:extLst>
          </p:cNvPr>
          <p:cNvSpPr/>
          <p:nvPr/>
        </p:nvSpPr>
        <p:spPr>
          <a:xfrm rot="10800000">
            <a:off x="63322" y="0"/>
            <a:ext cx="24368381" cy="13716000"/>
          </a:xfrm>
          <a:prstGeom prst="rect">
            <a:avLst/>
          </a:prstGeom>
          <a:gradFill flip="none" rotWithShape="0">
            <a:gsLst>
              <a:gs pos="0">
                <a:srgbClr val="416CF9">
                  <a:alpha val="39883"/>
                </a:srgbClr>
              </a:gs>
              <a:gs pos="100000">
                <a:srgbClr val="416CF9">
                  <a:alpha val="0"/>
                </a:srgbClr>
              </a:gs>
            </a:gsLst>
            <a:lin ang="8400000" scaled="0"/>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GB" sz="240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BentonSansF Book"/>
            </a:endParaRPr>
          </a:p>
        </p:txBody>
      </p:sp>
      <p:sp>
        <p:nvSpPr>
          <p:cNvPr id="8" name="TextBox 7">
            <a:extLst>
              <a:ext uri="{FF2B5EF4-FFF2-40B4-BE49-F238E27FC236}">
                <a16:creationId xmlns:a16="http://schemas.microsoft.com/office/drawing/2014/main" id="{AD1DB35D-0D7E-0845-C758-CE387971C3BF}"/>
              </a:ext>
            </a:extLst>
          </p:cNvPr>
          <p:cNvSpPr txBox="1"/>
          <p:nvPr/>
        </p:nvSpPr>
        <p:spPr>
          <a:xfrm>
            <a:off x="6984460" y="-3346315"/>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GB" sz="2800" u="none" strike="noStrike" cap="none" spc="0" normalizeH="0" baseline="0">
              <a:ln>
                <a:noFill/>
              </a:ln>
              <a:solidFill>
                <a:schemeClr val="accent1">
                  <a:lumOff val="-57413"/>
                </a:schemeClr>
              </a:solidFill>
              <a:effectLst/>
              <a:uFill>
                <a:solidFill>
                  <a:schemeClr val="accent1">
                    <a:lumOff val="-57413"/>
                  </a:schemeClr>
                </a:solidFill>
              </a:uFill>
              <a:latin typeface="Arial" panose="020B0604020202020204" pitchFamily="34" charset="0"/>
              <a:cs typeface="Arial" panose="020B0604020202020204" pitchFamily="34" charset="0"/>
              <a:sym typeface="BentonSansF Book"/>
            </a:endParaRPr>
          </a:p>
        </p:txBody>
      </p:sp>
      <p:sp>
        <p:nvSpPr>
          <p:cNvPr id="87" name="Title 2">
            <a:extLst>
              <a:ext uri="{FF2B5EF4-FFF2-40B4-BE49-F238E27FC236}">
                <a16:creationId xmlns:a16="http://schemas.microsoft.com/office/drawing/2014/main" id="{41451F7D-C3D2-91F0-6663-18CD0D50E95C}"/>
              </a:ext>
            </a:extLst>
          </p:cNvPr>
          <p:cNvSpPr txBox="1">
            <a:spLocks/>
          </p:cNvSpPr>
          <p:nvPr/>
        </p:nvSpPr>
        <p:spPr>
          <a:xfrm>
            <a:off x="1760304" y="2045211"/>
            <a:ext cx="4848781" cy="1098240"/>
          </a:xfrm>
          <a:prstGeom prst="rect">
            <a:avLst/>
          </a:prstGeom>
        </p:spPr>
        <p:txBody>
          <a:bodyPr/>
          <a:lstStyle>
            <a:lvl1pPr marL="0" marR="0" indent="0" algn="l" defTabSz="1130300" latinLnBrk="0">
              <a:lnSpc>
                <a:spcPct val="90000"/>
              </a:lnSpc>
              <a:spcBef>
                <a:spcPts val="0"/>
              </a:spcBef>
              <a:spcAft>
                <a:spcPts val="0"/>
              </a:spcAft>
              <a:buClrTx/>
              <a:buSzTx/>
              <a:buFontTx/>
              <a:buNone/>
              <a:tabLst/>
              <a:defRPr sz="7200" b="0" i="0"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hangingPunct="1"/>
            <a:r>
              <a:rPr lang="en-US">
                <a:solidFill>
                  <a:schemeClr val="bg1"/>
                </a:solidFill>
                <a:latin typeface="Times New Roman" panose="02020603050405020304" pitchFamily="18" charset="0"/>
                <a:cs typeface="Arial" panose="020B0604020202020204" pitchFamily="34" charset="0"/>
              </a:rPr>
              <a:t>Thank you.</a:t>
            </a:r>
          </a:p>
        </p:txBody>
      </p:sp>
      <p:sp>
        <p:nvSpPr>
          <p:cNvPr id="92" name="Text Placeholder 6">
            <a:extLst>
              <a:ext uri="{FF2B5EF4-FFF2-40B4-BE49-F238E27FC236}">
                <a16:creationId xmlns:a16="http://schemas.microsoft.com/office/drawing/2014/main" id="{E72C0C86-4F05-2ECC-DAF8-5150439C2E7B}"/>
              </a:ext>
            </a:extLst>
          </p:cNvPr>
          <p:cNvSpPr txBox="1">
            <a:spLocks/>
          </p:cNvSpPr>
          <p:nvPr/>
        </p:nvSpPr>
        <p:spPr>
          <a:xfrm>
            <a:off x="11071096" y="4984890"/>
            <a:ext cx="2986753" cy="1467964"/>
          </a:xfrm>
          <a:prstGeom prst="rect">
            <a:avLst/>
          </a:prstGeom>
        </p:spPr>
        <p:txBody>
          <a:bodyPr/>
          <a:lstStyle>
            <a:lvl1pPr marL="0" marR="0" indent="0" algn="l" defTabSz="1828432" latinLnBrk="0">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hangingPunct="1"/>
            <a:r>
              <a:rPr lang="en-US" sz="1800" b="1">
                <a:solidFill>
                  <a:schemeClr val="bg1"/>
                </a:solidFill>
                <a:latin typeface="Arial" panose="020B0604020202020204" pitchFamily="34" charset="0"/>
                <a:cs typeface="Arial" panose="020B0604020202020204" pitchFamily="34" charset="0"/>
              </a:rPr>
              <a:t>Rami </a:t>
            </a:r>
            <a:r>
              <a:rPr lang="en-US" sz="1800" b="1" err="1">
                <a:solidFill>
                  <a:schemeClr val="bg1"/>
                </a:solidFill>
                <a:latin typeface="Arial" panose="020B0604020202020204" pitchFamily="34" charset="0"/>
                <a:cs typeface="Arial" panose="020B0604020202020204" pitchFamily="34" charset="0"/>
              </a:rPr>
              <a:t>Hachicha</a:t>
            </a:r>
            <a:endParaRPr lang="en-US" sz="1800" b="1">
              <a:solidFill>
                <a:schemeClr val="bg1"/>
              </a:solidFill>
              <a:latin typeface="Arial" panose="020B0604020202020204" pitchFamily="34" charset="0"/>
              <a:cs typeface="Arial" panose="020B0604020202020204" pitchFamily="34" charset="0"/>
            </a:endParaRPr>
          </a:p>
          <a:p>
            <a:pPr hangingPunct="1"/>
            <a:r>
              <a:rPr lang="en-US" sz="1800">
                <a:solidFill>
                  <a:schemeClr val="bg1"/>
                </a:solidFill>
                <a:latin typeface="Arial" panose="020B0604020202020204" pitchFamily="34" charset="0"/>
                <a:cs typeface="Arial" panose="020B0604020202020204" pitchFamily="34" charset="0"/>
              </a:rPr>
              <a:t>Senior Consultant, Invent</a:t>
            </a:r>
          </a:p>
          <a:p>
            <a:pPr hangingPunct="1"/>
            <a:r>
              <a:rPr lang="en-US" sz="1800" i="1">
                <a:solidFill>
                  <a:srgbClr val="96AEFC"/>
                </a:solidFill>
                <a:latin typeface="Arial" panose="020B0604020202020204" pitchFamily="34" charset="0"/>
                <a:cs typeface="Arial" panose="020B0604020202020204" pitchFamily="34" charset="0"/>
              </a:rPr>
              <a:t>Data Scientist, Developer</a:t>
            </a:r>
          </a:p>
        </p:txBody>
      </p:sp>
      <p:sp>
        <p:nvSpPr>
          <p:cNvPr id="95" name="Text Placeholder 6">
            <a:extLst>
              <a:ext uri="{FF2B5EF4-FFF2-40B4-BE49-F238E27FC236}">
                <a16:creationId xmlns:a16="http://schemas.microsoft.com/office/drawing/2014/main" id="{69B931FA-466F-CB56-69CD-36B0EF382360}"/>
              </a:ext>
            </a:extLst>
          </p:cNvPr>
          <p:cNvSpPr txBox="1">
            <a:spLocks/>
          </p:cNvSpPr>
          <p:nvPr/>
        </p:nvSpPr>
        <p:spPr>
          <a:xfrm>
            <a:off x="14645060" y="4984890"/>
            <a:ext cx="2986753" cy="1467964"/>
          </a:xfrm>
          <a:prstGeom prst="rect">
            <a:avLst/>
          </a:prstGeom>
        </p:spPr>
        <p:txBody>
          <a:bodyPr/>
          <a:lstStyle>
            <a:lvl1pPr marL="0" marR="0" indent="0" algn="l" defTabSz="1828432" latinLnBrk="0">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hangingPunct="1"/>
            <a:r>
              <a:rPr lang="en-US" sz="1800" b="1">
                <a:solidFill>
                  <a:schemeClr val="bg1"/>
                </a:solidFill>
                <a:latin typeface="Arial" panose="020B0604020202020204" pitchFamily="34" charset="0"/>
                <a:cs typeface="Arial" panose="020B0604020202020204" pitchFamily="34" charset="0"/>
              </a:rPr>
              <a:t>Valentin </a:t>
            </a:r>
            <a:r>
              <a:rPr lang="en-US" sz="1800" b="1" err="1">
                <a:solidFill>
                  <a:schemeClr val="bg1"/>
                </a:solidFill>
                <a:latin typeface="Arial" panose="020B0604020202020204" pitchFamily="34" charset="0"/>
                <a:cs typeface="Arial" panose="020B0604020202020204" pitchFamily="34" charset="0"/>
              </a:rPr>
              <a:t>Khaydarov</a:t>
            </a:r>
            <a:endParaRPr lang="en-US" sz="1800" b="1">
              <a:solidFill>
                <a:schemeClr val="bg1"/>
              </a:solidFill>
              <a:latin typeface="Arial" panose="020B0604020202020204" pitchFamily="34" charset="0"/>
              <a:cs typeface="Arial" panose="020B0604020202020204" pitchFamily="34" charset="0"/>
            </a:endParaRPr>
          </a:p>
          <a:p>
            <a:pPr hangingPunct="1"/>
            <a:r>
              <a:rPr lang="en-US" sz="1800">
                <a:solidFill>
                  <a:schemeClr val="bg1"/>
                </a:solidFill>
                <a:latin typeface="Arial" panose="020B0604020202020204" pitchFamily="34" charset="0"/>
                <a:cs typeface="Arial" panose="020B0604020202020204" pitchFamily="34" charset="0"/>
              </a:rPr>
              <a:t>Senior Consultant, Invent</a:t>
            </a:r>
          </a:p>
          <a:p>
            <a:pPr hangingPunct="1"/>
            <a:r>
              <a:rPr lang="en-US" sz="1800" i="1">
                <a:solidFill>
                  <a:srgbClr val="96AEFC"/>
                </a:solidFill>
                <a:latin typeface="Arial" panose="020B0604020202020204" pitchFamily="34" charset="0"/>
                <a:cs typeface="Arial" panose="020B0604020202020204" pitchFamily="34" charset="0"/>
              </a:rPr>
              <a:t>Data Scientist, Developer</a:t>
            </a:r>
          </a:p>
        </p:txBody>
      </p:sp>
      <p:sp>
        <p:nvSpPr>
          <p:cNvPr id="96" name="Text Placeholder 6">
            <a:extLst>
              <a:ext uri="{FF2B5EF4-FFF2-40B4-BE49-F238E27FC236}">
                <a16:creationId xmlns:a16="http://schemas.microsoft.com/office/drawing/2014/main" id="{8EAF01F3-9DB2-1227-1025-EE17D7A48771}"/>
              </a:ext>
            </a:extLst>
          </p:cNvPr>
          <p:cNvSpPr txBox="1">
            <a:spLocks/>
          </p:cNvSpPr>
          <p:nvPr/>
        </p:nvSpPr>
        <p:spPr>
          <a:xfrm>
            <a:off x="11071094" y="10516165"/>
            <a:ext cx="2986753" cy="1467964"/>
          </a:xfrm>
          <a:prstGeom prst="rect">
            <a:avLst/>
          </a:prstGeom>
        </p:spPr>
        <p:txBody>
          <a:bodyPr/>
          <a:lstStyle>
            <a:lvl1pPr marL="0" marR="0" indent="0" algn="l" defTabSz="1828432" latinLnBrk="0">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hangingPunct="1"/>
            <a:r>
              <a:rPr lang="en-US" sz="1800" b="1">
                <a:solidFill>
                  <a:schemeClr val="bg1"/>
                </a:solidFill>
                <a:latin typeface="Arial" panose="020B0604020202020204" pitchFamily="34" charset="0"/>
                <a:cs typeface="Arial" panose="020B0604020202020204" pitchFamily="34" charset="0"/>
              </a:rPr>
              <a:t>Vincent Kammerer</a:t>
            </a:r>
          </a:p>
          <a:p>
            <a:pPr hangingPunct="1"/>
            <a:r>
              <a:rPr lang="en-US" sz="1800">
                <a:solidFill>
                  <a:schemeClr val="bg1"/>
                </a:solidFill>
                <a:latin typeface="Arial" panose="020B0604020202020204" pitchFamily="34" charset="0"/>
                <a:cs typeface="Arial" panose="020B0604020202020204" pitchFamily="34" charset="0"/>
              </a:rPr>
              <a:t>Consultant, Invent</a:t>
            </a:r>
          </a:p>
          <a:p>
            <a:pPr hangingPunct="1"/>
            <a:r>
              <a:rPr lang="en-US" sz="1800" i="1">
                <a:solidFill>
                  <a:srgbClr val="96AEFC"/>
                </a:solidFill>
                <a:latin typeface="Arial" panose="020B0604020202020204" pitchFamily="34" charset="0"/>
                <a:cs typeface="Arial" panose="020B0604020202020204" pitchFamily="34" charset="0"/>
              </a:rPr>
              <a:t>Data Analyst</a:t>
            </a:r>
          </a:p>
        </p:txBody>
      </p:sp>
      <p:sp>
        <p:nvSpPr>
          <p:cNvPr id="97" name="Text Placeholder 6">
            <a:extLst>
              <a:ext uri="{FF2B5EF4-FFF2-40B4-BE49-F238E27FC236}">
                <a16:creationId xmlns:a16="http://schemas.microsoft.com/office/drawing/2014/main" id="{6E5FB482-A0D8-6A47-B877-658295FFDB27}"/>
              </a:ext>
            </a:extLst>
          </p:cNvPr>
          <p:cNvSpPr txBox="1">
            <a:spLocks/>
          </p:cNvSpPr>
          <p:nvPr/>
        </p:nvSpPr>
        <p:spPr>
          <a:xfrm>
            <a:off x="18219024" y="4984890"/>
            <a:ext cx="2986753" cy="1467964"/>
          </a:xfrm>
          <a:prstGeom prst="rect">
            <a:avLst/>
          </a:prstGeom>
        </p:spPr>
        <p:txBody>
          <a:bodyPr/>
          <a:lstStyle>
            <a:lvl1pPr marL="0" marR="0" indent="0" algn="l" defTabSz="1828432" latinLnBrk="0">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hangingPunct="1"/>
            <a:r>
              <a:rPr lang="en-US" sz="1800" b="1">
                <a:solidFill>
                  <a:schemeClr val="bg1"/>
                </a:solidFill>
                <a:latin typeface="Arial" panose="020B0604020202020204" pitchFamily="34" charset="0"/>
                <a:cs typeface="Arial" panose="020B0604020202020204" pitchFamily="34" charset="0"/>
              </a:rPr>
              <a:t>Gargi Sarkar</a:t>
            </a:r>
          </a:p>
          <a:p>
            <a:pPr hangingPunct="1"/>
            <a:r>
              <a:rPr lang="en-US" sz="1800">
                <a:solidFill>
                  <a:schemeClr val="bg1"/>
                </a:solidFill>
                <a:latin typeface="Arial" panose="020B0604020202020204" pitchFamily="34" charset="0"/>
                <a:cs typeface="Arial" panose="020B0604020202020204" pitchFamily="34" charset="0"/>
              </a:rPr>
              <a:t>Consultant, Capgemini</a:t>
            </a:r>
          </a:p>
          <a:p>
            <a:pPr hangingPunct="1"/>
            <a:r>
              <a:rPr lang="en-US" sz="1800" i="1">
                <a:solidFill>
                  <a:srgbClr val="96AEFC"/>
                </a:solidFill>
                <a:latin typeface="Arial" panose="020B0604020202020204" pitchFamily="34" charset="0"/>
                <a:cs typeface="Arial" panose="020B0604020202020204" pitchFamily="34" charset="0"/>
              </a:rPr>
              <a:t>Developer</a:t>
            </a:r>
          </a:p>
          <a:p>
            <a:pPr hangingPunct="1"/>
            <a:r>
              <a:rPr lang="en-US" sz="1800">
                <a:latin typeface="Arial" panose="020B0604020202020204" pitchFamily="34" charset="0"/>
                <a:cs typeface="Arial" panose="020B0604020202020204" pitchFamily="34" charset="0"/>
              </a:rPr>
              <a:t> </a:t>
            </a:r>
          </a:p>
        </p:txBody>
      </p:sp>
      <p:sp>
        <p:nvSpPr>
          <p:cNvPr id="98" name="Text Placeholder 6">
            <a:extLst>
              <a:ext uri="{FF2B5EF4-FFF2-40B4-BE49-F238E27FC236}">
                <a16:creationId xmlns:a16="http://schemas.microsoft.com/office/drawing/2014/main" id="{3481F6FD-D963-68BE-794B-3F73322DB308}"/>
              </a:ext>
            </a:extLst>
          </p:cNvPr>
          <p:cNvSpPr txBox="1">
            <a:spLocks/>
          </p:cNvSpPr>
          <p:nvPr/>
        </p:nvSpPr>
        <p:spPr>
          <a:xfrm>
            <a:off x="14645058" y="10516165"/>
            <a:ext cx="2986753" cy="1467964"/>
          </a:xfrm>
          <a:prstGeom prst="rect">
            <a:avLst/>
          </a:prstGeom>
        </p:spPr>
        <p:txBody>
          <a:bodyPr/>
          <a:lstStyle>
            <a:lvl1pPr marL="0" marR="0" indent="0" algn="l" defTabSz="1828432" latinLnBrk="0">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hangingPunct="1"/>
            <a:r>
              <a:rPr lang="en-US" sz="1800" b="1">
                <a:solidFill>
                  <a:schemeClr val="bg1"/>
                </a:solidFill>
                <a:latin typeface="Arial" panose="020B0604020202020204" pitchFamily="34" charset="0"/>
                <a:cs typeface="Arial" panose="020B0604020202020204" pitchFamily="34" charset="0"/>
              </a:rPr>
              <a:t>Kim Anh Lilian Lê</a:t>
            </a:r>
          </a:p>
          <a:p>
            <a:pPr hangingPunct="1"/>
            <a:r>
              <a:rPr lang="en-US" sz="1800">
                <a:solidFill>
                  <a:schemeClr val="bg1"/>
                </a:solidFill>
                <a:latin typeface="Arial" panose="020B0604020202020204" pitchFamily="34" charset="0"/>
                <a:cs typeface="Arial" panose="020B0604020202020204" pitchFamily="34" charset="0"/>
              </a:rPr>
              <a:t>Consultant, Invent</a:t>
            </a:r>
          </a:p>
          <a:p>
            <a:pPr hangingPunct="1"/>
            <a:r>
              <a:rPr lang="en-US" sz="1800" i="1">
                <a:solidFill>
                  <a:srgbClr val="96AEFC"/>
                </a:solidFill>
                <a:latin typeface="Arial" panose="020B0604020202020204" pitchFamily="34" charset="0"/>
                <a:cs typeface="Arial" panose="020B0604020202020204" pitchFamily="34" charset="0"/>
              </a:rPr>
              <a:t>Data Analyst</a:t>
            </a:r>
          </a:p>
        </p:txBody>
      </p:sp>
      <p:sp>
        <p:nvSpPr>
          <p:cNvPr id="99" name="Text Placeholder 6">
            <a:extLst>
              <a:ext uri="{FF2B5EF4-FFF2-40B4-BE49-F238E27FC236}">
                <a16:creationId xmlns:a16="http://schemas.microsoft.com/office/drawing/2014/main" id="{2A9D0B41-5479-C512-209A-26662C489A40}"/>
              </a:ext>
            </a:extLst>
          </p:cNvPr>
          <p:cNvSpPr txBox="1">
            <a:spLocks/>
          </p:cNvSpPr>
          <p:nvPr/>
        </p:nvSpPr>
        <p:spPr>
          <a:xfrm>
            <a:off x="18219024" y="10516165"/>
            <a:ext cx="2986753" cy="1467964"/>
          </a:xfrm>
          <a:prstGeom prst="rect">
            <a:avLst/>
          </a:prstGeom>
        </p:spPr>
        <p:txBody>
          <a:bodyPr/>
          <a:lstStyle>
            <a:lvl1pPr marL="0" marR="0" indent="0" algn="l" defTabSz="1828432" latinLnBrk="0">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latinLnBrk="0">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latinLnBrk="0">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hangingPunct="1"/>
            <a:r>
              <a:rPr lang="en-US" sz="1800" b="1">
                <a:solidFill>
                  <a:schemeClr val="bg1"/>
                </a:solidFill>
                <a:latin typeface="Arial" panose="020B0604020202020204" pitchFamily="34" charset="0"/>
                <a:cs typeface="Arial" panose="020B0604020202020204" pitchFamily="34" charset="0"/>
              </a:rPr>
              <a:t>Anita </a:t>
            </a:r>
            <a:r>
              <a:rPr lang="en-US" sz="1800" b="1" err="1">
                <a:solidFill>
                  <a:schemeClr val="bg1"/>
                </a:solidFill>
                <a:latin typeface="Arial" panose="020B0604020202020204" pitchFamily="34" charset="0"/>
                <a:cs typeface="Arial" panose="020B0604020202020204" pitchFamily="34" charset="0"/>
              </a:rPr>
              <a:t>Tuma</a:t>
            </a:r>
            <a:endParaRPr lang="en-US" sz="1800" b="1">
              <a:solidFill>
                <a:schemeClr val="bg1"/>
              </a:solidFill>
              <a:latin typeface="Arial" panose="020B0604020202020204" pitchFamily="34" charset="0"/>
              <a:cs typeface="Arial" panose="020B0604020202020204" pitchFamily="34" charset="0"/>
            </a:endParaRPr>
          </a:p>
          <a:p>
            <a:pPr hangingPunct="1"/>
            <a:r>
              <a:rPr lang="en-US" sz="1800">
                <a:solidFill>
                  <a:schemeClr val="bg1"/>
                </a:solidFill>
                <a:latin typeface="Arial" panose="020B0604020202020204" pitchFamily="34" charset="0"/>
                <a:cs typeface="Arial" panose="020B0604020202020204" pitchFamily="34" charset="0"/>
              </a:rPr>
              <a:t>Experience Designer, frog</a:t>
            </a:r>
          </a:p>
          <a:p>
            <a:pPr hangingPunct="1"/>
            <a:r>
              <a:rPr lang="en-US" sz="1800" i="1">
                <a:solidFill>
                  <a:srgbClr val="96AEFC"/>
                </a:solidFill>
                <a:latin typeface="Arial" panose="020B0604020202020204" pitchFamily="34" charset="0"/>
                <a:cs typeface="Arial" panose="020B0604020202020204" pitchFamily="34" charset="0"/>
              </a:rPr>
              <a:t>Designer</a:t>
            </a:r>
          </a:p>
        </p:txBody>
      </p:sp>
      <p:sp>
        <p:nvSpPr>
          <p:cNvPr id="7" name="TextBox 6">
            <a:extLst>
              <a:ext uri="{FF2B5EF4-FFF2-40B4-BE49-F238E27FC236}">
                <a16:creationId xmlns:a16="http://schemas.microsoft.com/office/drawing/2014/main" id="{B3FDF9DC-16C5-463B-527B-F949CB9CF741}"/>
              </a:ext>
            </a:extLst>
          </p:cNvPr>
          <p:cNvSpPr txBox="1"/>
          <p:nvPr/>
        </p:nvSpPr>
        <p:spPr>
          <a:xfrm>
            <a:off x="3678865" y="-808074"/>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en-GB" sz="28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graphicFrame>
        <p:nvGraphicFramePr>
          <p:cNvPr id="2" name="Object 1" hidden="1">
            <a:extLst>
              <a:ext uri="{FF2B5EF4-FFF2-40B4-BE49-F238E27FC236}">
                <a16:creationId xmlns:a16="http://schemas.microsoft.com/office/drawing/2014/main" id="{93F2E194-567E-4E72-D46C-BBC7012BD2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93F2E194-567E-4E72-D46C-BBC7012BD2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1872B8A-2158-8953-581E-AA52F142F3A9}"/>
              </a:ext>
            </a:extLst>
          </p:cNvPr>
          <p:cNvSpPr/>
          <p:nvPr>
            <p:custDataLst>
              <p:tags r:id="rId2"/>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a:solidFill>
                <a:schemeClr val="tx1"/>
              </a:solidFill>
              <a:latin typeface="Ubuntu" panose="020B0504030602030204" pitchFamily="34" charset="0"/>
              <a:ea typeface="+mj-ea"/>
              <a:cs typeface="+mj-cs"/>
              <a:sym typeface="Ubuntu" panose="020B0504030602030204" pitchFamily="34" charset="0"/>
            </a:endParaRPr>
          </a:p>
        </p:txBody>
      </p:sp>
      <p:pic>
        <p:nvPicPr>
          <p:cNvPr id="5" name="Picture 4" descr="A person in a suit and glasses&#10;&#10;Description automatically generated">
            <a:extLst>
              <a:ext uri="{FF2B5EF4-FFF2-40B4-BE49-F238E27FC236}">
                <a16:creationId xmlns:a16="http://schemas.microsoft.com/office/drawing/2014/main" id="{6F9866BB-3FED-F7D6-6222-D189E6194D3B}"/>
              </a:ext>
            </a:extLst>
          </p:cNvPr>
          <p:cNvPicPr>
            <a:picLocks/>
          </p:cNvPicPr>
          <p:nvPr/>
        </p:nvPicPr>
        <p:blipFill>
          <a:blip r:embed="rId8" cstate="print">
            <a:extLst>
              <a:ext uri="{28A0092B-C50C-407E-A947-70E740481C1C}">
                <a14:useLocalDpi xmlns:a14="http://schemas.microsoft.com/office/drawing/2010/main"/>
              </a:ext>
            </a:extLst>
          </a:blip>
          <a:stretch>
            <a:fillRect/>
          </a:stretch>
        </p:blipFill>
        <p:spPr>
          <a:xfrm>
            <a:off x="14777572" y="2068890"/>
            <a:ext cx="2160000" cy="2160000"/>
          </a:xfrm>
          <a:prstGeom prst="ellipse">
            <a:avLst/>
          </a:prstGeom>
          <a:ln w="38100" cap="rnd">
            <a:solidFill>
              <a:schemeClr val="bg1">
                <a:lumMod val="95000"/>
              </a:schemeClr>
            </a:solidFill>
          </a:ln>
          <a:effectLst/>
        </p:spPr>
      </p:pic>
      <p:pic>
        <p:nvPicPr>
          <p:cNvPr id="4" name="Picture 3">
            <a:extLst>
              <a:ext uri="{FF2B5EF4-FFF2-40B4-BE49-F238E27FC236}">
                <a16:creationId xmlns:a16="http://schemas.microsoft.com/office/drawing/2014/main" id="{DC7402FD-D146-6C04-EBCF-B1C134664FF9}"/>
              </a:ext>
            </a:extLst>
          </p:cNvPr>
          <p:cNvPicPr>
            <a:picLocks noChangeAspect="1"/>
          </p:cNvPicPr>
          <p:nvPr/>
        </p:nvPicPr>
        <p:blipFill>
          <a:blip r:embed="rId9" cstate="hqprint">
            <a:extLst>
              <a:ext uri="{28A0092B-C50C-407E-A947-70E740481C1C}">
                <a14:useLocalDpi xmlns:a14="http://schemas.microsoft.com/office/drawing/2010/main"/>
              </a:ext>
            </a:extLst>
          </a:blip>
          <a:srcRect/>
          <a:stretch/>
        </p:blipFill>
        <p:spPr>
          <a:xfrm>
            <a:off x="14777571" y="7600165"/>
            <a:ext cx="2160000" cy="2162939"/>
          </a:xfrm>
          <a:prstGeom prst="ellipse">
            <a:avLst/>
          </a:prstGeom>
          <a:ln w="38100" cap="rnd">
            <a:solidFill>
              <a:schemeClr val="bg1">
                <a:lumMod val="95000"/>
              </a:schemeClr>
            </a:solidFill>
          </a:ln>
          <a:effectLst/>
        </p:spPr>
      </p:pic>
      <p:pic>
        <p:nvPicPr>
          <p:cNvPr id="15" name="Picture 14">
            <a:extLst>
              <a:ext uri="{FF2B5EF4-FFF2-40B4-BE49-F238E27FC236}">
                <a16:creationId xmlns:a16="http://schemas.microsoft.com/office/drawing/2014/main" id="{EBFEA272-AA0B-97FE-47A1-B8577528E3A9}"/>
              </a:ext>
            </a:extLst>
          </p:cNvPr>
          <p:cNvPicPr>
            <a:picLocks/>
          </p:cNvPicPr>
          <p:nvPr/>
        </p:nvPicPr>
        <p:blipFill>
          <a:blip r:embed="rId10" cstate="hqprint">
            <a:extLst>
              <a:ext uri="{28A0092B-C50C-407E-A947-70E740481C1C}">
                <a14:useLocalDpi xmlns:a14="http://schemas.microsoft.com/office/drawing/2010/main"/>
              </a:ext>
            </a:extLst>
          </a:blip>
          <a:srcRect/>
          <a:stretch/>
        </p:blipFill>
        <p:spPr>
          <a:xfrm>
            <a:off x="11203608" y="2089146"/>
            <a:ext cx="2160000" cy="2160000"/>
          </a:xfrm>
          <a:prstGeom prst="ellipse">
            <a:avLst/>
          </a:prstGeom>
          <a:solidFill>
            <a:schemeClr val="bg1"/>
          </a:solidFill>
          <a:ln w="38100" cap="rnd">
            <a:solidFill>
              <a:schemeClr val="bg1">
                <a:lumMod val="95000"/>
              </a:schemeClr>
            </a:solidFill>
          </a:ln>
          <a:effectLst/>
        </p:spPr>
      </p:pic>
      <p:pic>
        <p:nvPicPr>
          <p:cNvPr id="16" name="Picture 15">
            <a:extLst>
              <a:ext uri="{FF2B5EF4-FFF2-40B4-BE49-F238E27FC236}">
                <a16:creationId xmlns:a16="http://schemas.microsoft.com/office/drawing/2014/main" id="{38B66BF9-1F64-79A1-5BE4-2BBBEF267639}"/>
              </a:ext>
            </a:extLst>
          </p:cNvPr>
          <p:cNvPicPr>
            <a:picLocks noChangeAspect="1"/>
          </p:cNvPicPr>
          <p:nvPr/>
        </p:nvPicPr>
        <p:blipFill>
          <a:blip r:embed="rId11" cstate="hqprint">
            <a:extLst>
              <a:ext uri="{28A0092B-C50C-407E-A947-70E740481C1C}">
                <a14:useLocalDpi xmlns:a14="http://schemas.microsoft.com/office/drawing/2010/main"/>
              </a:ext>
            </a:extLst>
          </a:blip>
          <a:srcRect/>
          <a:stretch/>
        </p:blipFill>
        <p:spPr>
          <a:xfrm>
            <a:off x="18351536" y="2033721"/>
            <a:ext cx="2160000" cy="2162939"/>
          </a:xfrm>
          <a:prstGeom prst="ellipse">
            <a:avLst/>
          </a:prstGeom>
          <a:ln w="38100" cap="rnd">
            <a:solidFill>
              <a:schemeClr val="bg1">
                <a:lumMod val="95000"/>
              </a:schemeClr>
            </a:solidFill>
          </a:ln>
          <a:effectLst/>
        </p:spPr>
      </p:pic>
      <p:pic>
        <p:nvPicPr>
          <p:cNvPr id="17" name="Picture 16">
            <a:extLst>
              <a:ext uri="{FF2B5EF4-FFF2-40B4-BE49-F238E27FC236}">
                <a16:creationId xmlns:a16="http://schemas.microsoft.com/office/drawing/2014/main" id="{6FC2B1DE-3BC6-3253-B055-BF981DC376BF}"/>
              </a:ext>
            </a:extLst>
          </p:cNvPr>
          <p:cNvPicPr>
            <a:picLocks noChangeAspect="1"/>
          </p:cNvPicPr>
          <p:nvPr/>
        </p:nvPicPr>
        <p:blipFill>
          <a:blip r:embed="rId12" cstate="hqprint">
            <a:extLst>
              <a:ext uri="{28A0092B-C50C-407E-A947-70E740481C1C}">
                <a14:useLocalDpi xmlns:a14="http://schemas.microsoft.com/office/drawing/2010/main"/>
              </a:ext>
            </a:extLst>
          </a:blip>
          <a:srcRect/>
          <a:stretch/>
        </p:blipFill>
        <p:spPr>
          <a:xfrm>
            <a:off x="11203607" y="7595827"/>
            <a:ext cx="2160000" cy="2162939"/>
          </a:xfrm>
          <a:prstGeom prst="ellipse">
            <a:avLst/>
          </a:prstGeom>
          <a:ln w="38100" cap="rnd">
            <a:solidFill>
              <a:schemeClr val="bg1">
                <a:lumMod val="95000"/>
              </a:schemeClr>
            </a:solidFill>
          </a:ln>
          <a:effectLst/>
        </p:spPr>
      </p:pic>
      <p:pic>
        <p:nvPicPr>
          <p:cNvPr id="18" name="Picture 17">
            <a:extLst>
              <a:ext uri="{FF2B5EF4-FFF2-40B4-BE49-F238E27FC236}">
                <a16:creationId xmlns:a16="http://schemas.microsoft.com/office/drawing/2014/main" id="{A3E40BC2-E542-C923-260C-FB47F1BB052B}"/>
              </a:ext>
            </a:extLst>
          </p:cNvPr>
          <p:cNvPicPr>
            <a:picLocks noChangeAspect="1"/>
          </p:cNvPicPr>
          <p:nvPr/>
        </p:nvPicPr>
        <p:blipFill>
          <a:blip r:embed="rId13" cstate="hqprint">
            <a:extLst>
              <a:ext uri="{28A0092B-C50C-407E-A947-70E740481C1C}">
                <a14:useLocalDpi xmlns:a14="http://schemas.microsoft.com/office/drawing/2010/main"/>
              </a:ext>
            </a:extLst>
          </a:blip>
          <a:srcRect/>
          <a:stretch/>
        </p:blipFill>
        <p:spPr>
          <a:xfrm>
            <a:off x="18351536" y="7529827"/>
            <a:ext cx="2160000" cy="2162939"/>
          </a:xfrm>
          <a:prstGeom prst="ellipse">
            <a:avLst/>
          </a:prstGeom>
          <a:ln w="38100" cap="rnd">
            <a:solidFill>
              <a:schemeClr val="bg1">
                <a:lumMod val="95000"/>
              </a:schemeClr>
            </a:solidFill>
          </a:ln>
          <a:effectLst/>
        </p:spPr>
      </p:pic>
      <p:sp>
        <p:nvSpPr>
          <p:cNvPr id="9" name="Title 7">
            <a:extLst>
              <a:ext uri="{FF2B5EF4-FFF2-40B4-BE49-F238E27FC236}">
                <a16:creationId xmlns:a16="http://schemas.microsoft.com/office/drawing/2014/main" id="{A153ED45-1BB9-E5F0-06CF-244FF252B2C2}"/>
              </a:ext>
            </a:extLst>
          </p:cNvPr>
          <p:cNvSpPr txBox="1">
            <a:spLocks/>
          </p:cNvSpPr>
          <p:nvPr/>
        </p:nvSpPr>
        <p:spPr>
          <a:xfrm>
            <a:off x="1774040" y="7973330"/>
            <a:ext cx="7076089" cy="3269937"/>
          </a:xfrm>
          <a:prstGeom prst="rect">
            <a:avLst/>
          </a:prstGeom>
        </p:spPr>
        <p:txBody>
          <a:bodyPr/>
          <a:lstStyle>
            <a:lvl1pPr marL="0" marR="0" indent="0" algn="l" defTabSz="1130300" latinLnBrk="0">
              <a:lnSpc>
                <a:spcPct val="90000"/>
              </a:lnSpc>
              <a:spcBef>
                <a:spcPts val="0"/>
              </a:spcBef>
              <a:spcAft>
                <a:spcPts val="0"/>
              </a:spcAft>
              <a:buClrTx/>
              <a:buSzTx/>
              <a:buFontTx/>
              <a:buNone/>
              <a:tabLst/>
              <a:defRPr sz="7200" b="1" i="0" u="none" strike="noStrike" cap="none" spc="-72" baseline="0">
                <a:solidFill>
                  <a:schemeClr val="tx1"/>
                </a:solidFill>
                <a:uFill>
                  <a:solidFill>
                    <a:srgbClr val="FFFFFF"/>
                  </a:solidFill>
                </a:uFill>
                <a:latin typeface="Times New Roman" panose="02020603050405020304" pitchFamily="18" charset="0"/>
                <a:ea typeface="Arial" panose="020B0604020202020204" pitchFamily="34" charset="0"/>
                <a:cs typeface="Arial" panose="020B0604020202020204" pitchFamily="34" charset="0"/>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hangingPunct="1"/>
            <a:r>
              <a:rPr lang="en-US" sz="5800" b="0">
                <a:solidFill>
                  <a:schemeClr val="bg1"/>
                </a:solidFill>
              </a:rPr>
              <a:t>Embrace the future of car inspection with </a:t>
            </a:r>
            <a:r>
              <a:rPr lang="en-US" sz="5800" b="0" err="1">
                <a:solidFill>
                  <a:schemeClr val="bg1"/>
                </a:solidFill>
              </a:rPr>
              <a:t>GenAI</a:t>
            </a:r>
            <a:r>
              <a:rPr lang="en-US" sz="5800" b="0">
                <a:solidFill>
                  <a:schemeClr val="bg1"/>
                </a:solidFill>
              </a:rPr>
              <a:t> technologies by using </a:t>
            </a:r>
            <a:endParaRPr lang="en-US" sz="5800">
              <a:solidFill>
                <a:schemeClr val="bg1"/>
              </a:solidFill>
            </a:endParaRPr>
          </a:p>
        </p:txBody>
      </p:sp>
      <p:pic>
        <p:nvPicPr>
          <p:cNvPr id="1026" name="Picture 2">
            <a:extLst>
              <a:ext uri="{FF2B5EF4-FFF2-40B4-BE49-F238E27FC236}">
                <a16:creationId xmlns:a16="http://schemas.microsoft.com/office/drawing/2014/main" id="{896353F2-A727-2FA2-3632-C40D83E28377}"/>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3694521" y="10453347"/>
            <a:ext cx="3235125" cy="11298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4036811"/>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3edb2f5e-e25b-4bbf-81ee-2b4396447386"/>
</p:tagLst>
</file>

<file path=ppt/tags/tag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0"/>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0"/>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0"/>
</p:tagLst>
</file>

<file path=ppt/tags/tag14.xml><?xml version="1.0" encoding="utf-8"?>
<p:tagLst xmlns:a="http://schemas.openxmlformats.org/drawingml/2006/main" xmlns:r="http://schemas.openxmlformats.org/officeDocument/2006/relationships" xmlns:p="http://schemas.openxmlformats.org/presentationml/2006/main">
  <p:tag name="BULLETS" val="true"/>
</p:tagLst>
</file>

<file path=ppt/tags/tag15.xml><?xml version="1.0" encoding="utf-8"?>
<p:tagLst xmlns:a="http://schemas.openxmlformats.org/drawingml/2006/main" xmlns:r="http://schemas.openxmlformats.org/officeDocument/2006/relationships" xmlns:p="http://schemas.openxmlformats.org/presentationml/2006/main">
  <p:tag name="BULLETS" val="true"/>
</p:tagLst>
</file>

<file path=ppt/tags/tag16.xml><?xml version="1.0" encoding="utf-8"?>
<p:tagLst xmlns:a="http://schemas.openxmlformats.org/drawingml/2006/main" xmlns:r="http://schemas.openxmlformats.org/officeDocument/2006/relationships" xmlns:p="http://schemas.openxmlformats.org/presentationml/2006/main">
  <p:tag name="BULLETS" val="true"/>
</p:tagLst>
</file>

<file path=ppt/tags/tag17.xml><?xml version="1.0" encoding="utf-8"?>
<p:tagLst xmlns:a="http://schemas.openxmlformats.org/drawingml/2006/main" xmlns:r="http://schemas.openxmlformats.org/officeDocument/2006/relationships" xmlns:p="http://schemas.openxmlformats.org/presentationml/2006/main">
  <p:tag name="BULLETS" val="true"/>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0"/>
</p:tagLst>
</file>

<file path=ppt/tags/tag19.xml><?xml version="1.0" encoding="utf-8"?>
<p:tagLst xmlns:a="http://schemas.openxmlformats.org/drawingml/2006/main" xmlns:r="http://schemas.openxmlformats.org/officeDocument/2006/relationships" xmlns:p="http://schemas.openxmlformats.org/presentationml/2006/main">
  <p:tag name="BULLETS" val="true"/>
</p:tagLst>
</file>

<file path=ppt/tags/tag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xml><?xml version="1.0" encoding="utf-8"?>
<p:tagLst xmlns:a="http://schemas.openxmlformats.org/drawingml/2006/main" xmlns:r="http://schemas.openxmlformats.org/officeDocument/2006/relationships" xmlns:p="http://schemas.openxmlformats.org/presentationml/2006/main">
  <p:tag name="BULLETS" val="true"/>
</p:tagLst>
</file>

<file path=ppt/tags/tag21.xml><?xml version="1.0" encoding="utf-8"?>
<p:tagLst xmlns:a="http://schemas.openxmlformats.org/drawingml/2006/main" xmlns:r="http://schemas.openxmlformats.org/officeDocument/2006/relationships" xmlns:p="http://schemas.openxmlformats.org/presentationml/2006/main">
  <p:tag name="BULLETS" val="true"/>
</p:tagLst>
</file>

<file path=ppt/tags/tag22.xml><?xml version="1.0" encoding="utf-8"?>
<p:tagLst xmlns:a="http://schemas.openxmlformats.org/drawingml/2006/main" xmlns:r="http://schemas.openxmlformats.org/officeDocument/2006/relationships" xmlns:p="http://schemas.openxmlformats.org/presentationml/2006/main">
  <p:tag name="BULLETS" val="true"/>
</p:tagLst>
</file>

<file path=ppt/tags/tag23.xml><?xml version="1.0" encoding="utf-8"?>
<p:tagLst xmlns:a="http://schemas.openxmlformats.org/drawingml/2006/main" xmlns:r="http://schemas.openxmlformats.org/officeDocument/2006/relationships" xmlns:p="http://schemas.openxmlformats.org/presentationml/2006/main">
  <p:tag name="BULLETS" val="true"/>
</p:tagLst>
</file>

<file path=ppt/tags/tag24.xml><?xml version="1.0" encoding="utf-8"?>
<p:tagLst xmlns:a="http://schemas.openxmlformats.org/drawingml/2006/main" xmlns:r="http://schemas.openxmlformats.org/officeDocument/2006/relationships" xmlns:p="http://schemas.openxmlformats.org/presentationml/2006/main">
  <p:tag name="BULLETS" val="true"/>
</p:tagLst>
</file>

<file path=ppt/tags/tag25.xml><?xml version="1.0" encoding="utf-8"?>
<p:tagLst xmlns:a="http://schemas.openxmlformats.org/drawingml/2006/main" xmlns:r="http://schemas.openxmlformats.org/officeDocument/2006/relationships" xmlns:p="http://schemas.openxmlformats.org/presentationml/2006/main">
  <p:tag name="BULLETS" val="true"/>
</p:tagLst>
</file>

<file path=ppt/tags/tag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xml><?xml version="1.0" encoding="utf-8"?>
<p:tagLst xmlns:a="http://schemas.openxmlformats.org/drawingml/2006/main" xmlns:r="http://schemas.openxmlformats.org/officeDocument/2006/relationships" xmlns:p="http://schemas.openxmlformats.org/presentationml/2006/main">
  <p:tag name="EE4P_TEMPLATESTYLE" val="10"/>
</p:tagLst>
</file>

<file path=ppt/tags/tag28.xml><?xml version="1.0" encoding="utf-8"?>
<p:tagLst xmlns:a="http://schemas.openxmlformats.org/drawingml/2006/main" xmlns:r="http://schemas.openxmlformats.org/officeDocument/2006/relationships" xmlns:p="http://schemas.openxmlformats.org/presentationml/2006/main">
  <p:tag name="EE4P_TEMPLATESTYLE" val="10"/>
</p:tagLst>
</file>

<file path=ppt/tags/tag29.xml><?xml version="1.0" encoding="utf-8"?>
<p:tagLst xmlns:a="http://schemas.openxmlformats.org/drawingml/2006/main" xmlns:r="http://schemas.openxmlformats.org/officeDocument/2006/relationships" xmlns:p="http://schemas.openxmlformats.org/presentationml/2006/main">
  <p:tag name="EE4P_TEMPLATESTYLE" val="10"/>
</p:tagLst>
</file>

<file path=ppt/tags/tag3.xml><?xml version="1.0" encoding="utf-8"?>
<p:tagLst xmlns:a="http://schemas.openxmlformats.org/drawingml/2006/main" xmlns:r="http://schemas.openxmlformats.org/officeDocument/2006/relationships" xmlns:p="http://schemas.openxmlformats.org/presentationml/2006/main">
  <p:tag name="EE4P_TEMPLATESTYLE" val="10"/>
</p:tagLst>
</file>

<file path=ppt/tags/tag30.xml><?xml version="1.0" encoding="utf-8"?>
<p:tagLst xmlns:a="http://schemas.openxmlformats.org/drawingml/2006/main" xmlns:r="http://schemas.openxmlformats.org/officeDocument/2006/relationships" xmlns:p="http://schemas.openxmlformats.org/presentationml/2006/main">
  <p:tag name="BULLETS" val="true"/>
</p:tagLst>
</file>

<file path=ppt/tags/tag31.xml><?xml version="1.0" encoding="utf-8"?>
<p:tagLst xmlns:a="http://schemas.openxmlformats.org/drawingml/2006/main" xmlns:r="http://schemas.openxmlformats.org/officeDocument/2006/relationships" xmlns:p="http://schemas.openxmlformats.org/presentationml/2006/main">
  <p:tag name="BULLETS" val="true"/>
</p:tagLst>
</file>

<file path=ppt/tags/tag32.xml><?xml version="1.0" encoding="utf-8"?>
<p:tagLst xmlns:a="http://schemas.openxmlformats.org/drawingml/2006/main" xmlns:r="http://schemas.openxmlformats.org/officeDocument/2006/relationships" xmlns:p="http://schemas.openxmlformats.org/presentationml/2006/main">
  <p:tag name="BULLETS" val="true"/>
</p:tagLst>
</file>

<file path=ppt/tags/tag33.xml><?xml version="1.0" encoding="utf-8"?>
<p:tagLst xmlns:a="http://schemas.openxmlformats.org/drawingml/2006/main" xmlns:r="http://schemas.openxmlformats.org/officeDocument/2006/relationships" xmlns:p="http://schemas.openxmlformats.org/presentationml/2006/main">
  <p:tag name="BULLETS" val="true"/>
</p:tagLst>
</file>

<file path=ppt/tags/tag34.xml><?xml version="1.0" encoding="utf-8"?>
<p:tagLst xmlns:a="http://schemas.openxmlformats.org/drawingml/2006/main" xmlns:r="http://schemas.openxmlformats.org/officeDocument/2006/relationships" xmlns:p="http://schemas.openxmlformats.org/presentationml/2006/main">
  <p:tag name="EE4P_TEMPLATESTYLE" val="10"/>
</p:tagLst>
</file>

<file path=ppt/tags/tag35.xml><?xml version="1.0" encoding="utf-8"?>
<p:tagLst xmlns:a="http://schemas.openxmlformats.org/drawingml/2006/main" xmlns:r="http://schemas.openxmlformats.org/officeDocument/2006/relationships" xmlns:p="http://schemas.openxmlformats.org/presentationml/2006/main">
  <p:tag name="EE4P_TEMPLATESTYLE" val="10"/>
</p:tagLst>
</file>

<file path=ppt/tags/tag36.xml><?xml version="1.0" encoding="utf-8"?>
<p:tagLst xmlns:a="http://schemas.openxmlformats.org/drawingml/2006/main" xmlns:r="http://schemas.openxmlformats.org/officeDocument/2006/relationships" xmlns:p="http://schemas.openxmlformats.org/presentationml/2006/main">
  <p:tag name="EE4P_TEMPLATESTYLE" val="10"/>
</p:tagLst>
</file>

<file path=ppt/tags/tag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y0EarHsQJWzYmlBnjSONQ"/>
</p:tagLst>
</file>

<file path=ppt/tags/tag4.xml><?xml version="1.0" encoding="utf-8"?>
<p:tagLst xmlns:a="http://schemas.openxmlformats.org/drawingml/2006/main" xmlns:r="http://schemas.openxmlformats.org/officeDocument/2006/relationships" xmlns:p="http://schemas.openxmlformats.org/presentationml/2006/main">
  <p:tag name="EE4P_TEMPLATESTYLE" val="10"/>
</p:tagLst>
</file>

<file path=ppt/tags/tag5.xml><?xml version="1.0" encoding="utf-8"?>
<p:tagLst xmlns:a="http://schemas.openxmlformats.org/drawingml/2006/main" xmlns:r="http://schemas.openxmlformats.org/officeDocument/2006/relationships" xmlns:p="http://schemas.openxmlformats.org/presentationml/2006/main">
  <p:tag name="EE4P_TEMPLATESTYLE" val="10"/>
</p:tagLst>
</file>

<file path=ppt/tags/tag6.xml><?xml version="1.0" encoding="utf-8"?>
<p:tagLst xmlns:a="http://schemas.openxmlformats.org/drawingml/2006/main" xmlns:r="http://schemas.openxmlformats.org/officeDocument/2006/relationships" xmlns:p="http://schemas.openxmlformats.org/presentationml/2006/main">
  <p:tag name="BULLETS" val="true"/>
</p:tagLst>
</file>

<file path=ppt/tags/tag7.xml><?xml version="1.0" encoding="utf-8"?>
<p:tagLst xmlns:a="http://schemas.openxmlformats.org/drawingml/2006/main" xmlns:r="http://schemas.openxmlformats.org/officeDocument/2006/relationships" xmlns:p="http://schemas.openxmlformats.org/presentationml/2006/main">
  <p:tag name="BULLETS" val="true"/>
</p:tagLst>
</file>

<file path=ppt/tags/tag8.xml><?xml version="1.0" encoding="utf-8"?>
<p:tagLst xmlns:a="http://schemas.openxmlformats.org/drawingml/2006/main" xmlns:r="http://schemas.openxmlformats.org/officeDocument/2006/relationships" xmlns:p="http://schemas.openxmlformats.org/presentationml/2006/main">
  <p:tag name="BULLETS" val="true"/>
</p:tagLst>
</file>

<file path=ppt/tags/tag9.xml><?xml version="1.0" encoding="utf-8"?>
<p:tagLst xmlns:a="http://schemas.openxmlformats.org/drawingml/2006/main" xmlns:r="http://schemas.openxmlformats.org/officeDocument/2006/relationships" xmlns:p="http://schemas.openxmlformats.org/presentationml/2006/main">
  <p:tag name="BULLETS" val="true"/>
</p:tagLst>
</file>

<file path=ppt/theme/theme1.xml><?xml version="1.0" encoding="utf-8"?>
<a:theme xmlns:a="http://schemas.openxmlformats.org/drawingml/2006/main" name="White">
  <a:themeElements>
    <a:clrScheme name="Custom 2">
      <a:dk1>
        <a:srgbClr val="000000"/>
      </a:dk1>
      <a:lt1>
        <a:srgbClr val="FFFFFF"/>
      </a:lt1>
      <a:dk2>
        <a:srgbClr val="1B2EDB"/>
      </a:dk2>
      <a:lt2>
        <a:srgbClr val="6A07E0"/>
      </a:lt2>
      <a:accent1>
        <a:srgbClr val="F7580E"/>
      </a:accent1>
      <a:accent2>
        <a:srgbClr val="079492"/>
      </a:accent2>
      <a:accent3>
        <a:srgbClr val="FF00B1"/>
      </a:accent3>
      <a:accent4>
        <a:srgbClr val="4EE700"/>
      </a:accent4>
      <a:accent5>
        <a:srgbClr val="515151"/>
      </a:accent5>
      <a:accent6>
        <a:srgbClr val="DFDFDF"/>
      </a:accent6>
      <a:hlink>
        <a:srgbClr val="0000FF"/>
      </a:hlink>
      <a:folHlink>
        <a:srgbClr val="FF00FF"/>
      </a:folHlink>
    </a:clrScheme>
    <a:fontScheme name="Custom 62">
      <a:majorFont>
        <a:latin typeface="Quarto Light"/>
        <a:ea typeface="Quarto Light"/>
        <a:cs typeface="Quarto Light"/>
      </a:majorFont>
      <a:minorFont>
        <a:latin typeface="BentonSansF Book"/>
        <a:ea typeface="BentonSansF Book"/>
        <a:cs typeface="BentonSansF Book"/>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853FF"/>
        </a:solidFill>
        <a:ln w="12700" cap="flat">
          <a:noFill/>
          <a:miter lim="400000"/>
        </a:ln>
        <a:effectLst/>
        <a:sp3d/>
      </a:spPr>
      <a:bodyPr rot="0" spcFirstLastPara="1" vertOverflow="overflow" horzOverflow="overflow" vert="horz" wrap="square" lIns="90000" tIns="90000" rIns="90000" bIns="90000" numCol="1" spcCol="38100" rtlCol="0" anchor="ctr">
        <a:noAutofit/>
      </a:bodyPr>
      <a:lstStyle>
        <a:defPPr marL="0" marR="0" indent="0" algn="ctr" defTabSz="822960" rtl="0" fontAlgn="auto" latinLnBrk="0" hangingPunct="0">
          <a:lnSpc>
            <a:spcPct val="140000"/>
          </a:lnSpc>
          <a:spcBef>
            <a:spcPts val="0"/>
          </a:spcBef>
          <a:spcAft>
            <a:spcPts val="0"/>
          </a:spcAft>
          <a:buClrTx/>
          <a:buSzTx/>
          <a:buFontTx/>
          <a:buNone/>
          <a:tabLst/>
          <a:defRPr kumimoji="0" sz="2800" b="0" i="0" u="none" strike="noStrike" cap="none" spc="0" normalizeH="0" baseline="0" dirty="0" smtClean="0">
            <a:ln>
              <a:noFill/>
            </a:ln>
            <a:solidFill>
              <a:schemeClr val="bg1"/>
            </a:solidFill>
            <a:effectLst/>
            <a:uFillTx/>
            <a:latin typeface="+mn-lt"/>
            <a:ea typeface="+mn-ea"/>
            <a:cs typeface="+mn-cs"/>
            <a:sym typeface="BentonSansF Book"/>
          </a:defRPr>
        </a:defPPr>
      </a:lstStyle>
      <a:style>
        <a:lnRef idx="0">
          <a:scrgbClr r="0" g="0" b="0"/>
        </a:lnRef>
        <a:fillRef idx="0">
          <a:scrgbClr r="0" g="0" b="0"/>
        </a:fillRef>
        <a:effectRef idx="0">
          <a:scrgbClr r="0" g="0" b="0"/>
        </a:effectRef>
        <a:fontRef idx="none"/>
      </a:style>
    </a:spDef>
    <a:lnDef>
      <a:spPr>
        <a:noFill/>
        <a:ln w="25400" cap="flat" cmpd="sng" algn="ctr">
          <a:solidFill>
            <a:schemeClr val="bg2"/>
          </a:solidFill>
          <a:prstDash val="solid"/>
          <a:round/>
          <a:headEnd type="none" w="med" len="med"/>
          <a:tailEnd type="none" w="med" len="med"/>
        </a:ln>
        <a:effectLst/>
        <a:sp3d/>
      </a:spPr>
      <a:body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noAutofit/>
      </a:bodyPr>
      <a:lstStyle>
        <a:defPPr marL="0" marR="57150" indent="0" algn="l" defTabSz="1282700" rtl="0" fontAlgn="auto" latinLnBrk="0" hangingPunct="0">
          <a:lnSpc>
            <a:spcPct val="140000"/>
          </a:lnSpc>
          <a:spcBef>
            <a:spcPts val="0"/>
          </a:spcBef>
          <a:spcAft>
            <a:spcPts val="0"/>
          </a:spcAft>
          <a:buClrTx/>
          <a:buSzTx/>
          <a:buFontTx/>
          <a:buNone/>
          <a:tabLst/>
          <a:defRPr kumimoji="0" sz="2800" b="0" i="0" u="none" strike="noStrike" cap="none" spc="0" normalizeH="0" baseline="0" dirty="0" smtClean="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def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FF01B0"/>
      </a:dk2>
      <a:lt2>
        <a:srgbClr val="9958FF"/>
      </a:lt2>
      <a:accent1>
        <a:srgbClr val="929292"/>
      </a:accent1>
      <a:accent2>
        <a:srgbClr val="A8A8A8"/>
      </a:accent2>
      <a:accent3>
        <a:srgbClr val="E0E0E0"/>
      </a:accent3>
      <a:accent4>
        <a:srgbClr val="F0F0F0"/>
      </a:accent4>
      <a:accent5>
        <a:srgbClr val="FDFCFE"/>
      </a:accent5>
      <a:accent6>
        <a:srgbClr val="FBFBFC"/>
      </a:accent6>
      <a:hlink>
        <a:srgbClr val="0000FF"/>
      </a:hlink>
      <a:folHlink>
        <a:srgbClr val="FF00FF"/>
      </a:folHlink>
    </a:clrScheme>
    <a:fontScheme name="White">
      <a:majorFont>
        <a:latin typeface="BentonSansF Book"/>
        <a:ea typeface="BentonSansF Book"/>
        <a:cs typeface="BentonSansF Book"/>
      </a:majorFont>
      <a:minorFont>
        <a:latin typeface="BentonSansF Book"/>
        <a:ea typeface="BentonSansF Book"/>
        <a:cs typeface="BentonSansF Book"/>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853FF"/>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2960" rtl="0" fontAlgn="auto" latinLnBrk="0" hangingPunct="0">
          <a:lnSpc>
            <a:spcPct val="13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Tx/>
            <a:latin typeface="+mn-lt"/>
            <a:ea typeface="+mn-ea"/>
            <a:cs typeface="+mn-cs"/>
            <a:sym typeface="BentonSansF Book"/>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24C1F6"/>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960A798E77854CAC72C7FFA8AC44E8" ma:contentTypeVersion="15" ma:contentTypeDescription="Create a new document." ma:contentTypeScope="" ma:versionID="bb37db1d51e2ab8a012e3443ad53e4fc">
  <xsd:schema xmlns:xsd="http://www.w3.org/2001/XMLSchema" xmlns:xs="http://www.w3.org/2001/XMLSchema" xmlns:p="http://schemas.microsoft.com/office/2006/metadata/properties" xmlns:ns2="870ad911-97fa-461a-9c78-6d6e571c1be4" xmlns:ns3="f682d54b-b2e8-4a00-9f71-ac4a7e6e2add" xmlns:ns4="592733ea-428f-4285-baf9-fcf028c1f9f2" targetNamespace="http://schemas.microsoft.com/office/2006/metadata/properties" ma:root="true" ma:fieldsID="1a2dd03ad95976a1b7332ff3d4436cdc" ns2:_="" ns3:_="" ns4:_="">
    <xsd:import namespace="870ad911-97fa-461a-9c78-6d6e571c1be4"/>
    <xsd:import namespace="f682d54b-b2e8-4a00-9f71-ac4a7e6e2add"/>
    <xsd:import namespace="592733ea-428f-4285-baf9-fcf028c1f9f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4:SourceFileRefPath" minOccurs="0"/>
                <xsd:element ref="ns4:SourceFileItemID" minOccurs="0"/>
                <xsd:element ref="ns4:SourceCreatedBy" minOccurs="0"/>
                <xsd:element ref="ns4:SourceModifiedBy" minOccurs="0"/>
                <xsd:element ref="ns4:SourceModified" minOccurs="0"/>
                <xsd:element ref="ns4:SourceCreated"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0ad911-97fa-461a-9c78-6d6e571c1b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82d54b-b2e8-4a00-9f71-ac4a7e6e2ad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92733ea-428f-4285-baf9-fcf028c1f9f2" elementFormDefault="qualified">
    <xsd:import namespace="http://schemas.microsoft.com/office/2006/documentManagement/types"/>
    <xsd:import namespace="http://schemas.microsoft.com/office/infopath/2007/PartnerControls"/>
    <xsd:element name="SourceFileRefPath" ma:index="12" nillable="true" ma:displayName="Source File Ref Path" ma:indexed="true" ma:internalName="SourceFileRefPath">
      <xsd:simpleType>
        <xsd:restriction base="dms:Text">
          <xsd:maxLength value="255"/>
        </xsd:restriction>
      </xsd:simpleType>
    </xsd:element>
    <xsd:element name="SourceFileItemID" ma:index="13" nillable="true" ma:displayName="Source File ItemID" ma:indexed="true" ma:internalName="SourceFileItemID" ma:percentage="FALSE">
      <xsd:simpleType>
        <xsd:restriction base="dms:Number"/>
      </xsd:simpleType>
    </xsd:element>
    <xsd:element name="SourceCreatedBy" ma:index="14" nillable="true" ma:displayName="Source-CreatedBy" ma:internalName="SourceCreatedBy">
      <xsd:simpleType>
        <xsd:restriction base="dms:Text"/>
      </xsd:simpleType>
    </xsd:element>
    <xsd:element name="SourceModifiedBy" ma:index="15" nillable="true" ma:displayName="Source-ModifiedBy" ma:internalName="SourceModifiedBy">
      <xsd:simpleType>
        <xsd:restriction base="dms:Text"/>
      </xsd:simpleType>
    </xsd:element>
    <xsd:element name="SourceModified" ma:index="16" nillable="true" ma:displayName="Source-Modified" ma:internalName="SourceModified">
      <xsd:simpleType>
        <xsd:restriction base="dms:DateTime"/>
      </xsd:simpleType>
    </xsd:element>
    <xsd:element name="SourceCreated" ma:index="17" nillable="true" ma:displayName="Source-Created" ma:internalName="SourceCreated">
      <xsd:simpleType>
        <xsd:restriction base="dms:DateTime"/>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ourceFileRefPath xmlns="592733ea-428f-4285-baf9-fcf028c1f9f2">/sites/Knowledge/Sources/frog-CaseStudyToolkit-PowerPoint-Templates&amp;Toolkits-Q1-2022.pptx</SourceFileRefPath>
    <SourceCreated xmlns="592733ea-428f-4285-baf9-fcf028c1f9f2">2022-03-07T19:45:00+00:00</SourceCreated>
    <SourceFileItemID xmlns="592733ea-428f-4285-baf9-fcf028c1f9f2">57717</SourceFileItemID>
    <SourceModifiedBy xmlns="592733ea-428f-4285-baf9-fcf028c1f9f2">mariana.gallardo@frogdesign.com</SourceModifiedBy>
    <SourceCreatedBy xmlns="592733ea-428f-4285-baf9-fcf028c1f9f2">mariana.gallardo@frogdesign.com</SourceCreatedBy>
    <SourceModified xmlns="592733ea-428f-4285-baf9-fcf028c1f9f2">2022-03-15T02:25:40+00:00</SourceModified>
  </documentManagement>
</p:properties>
</file>

<file path=customXml/itemProps1.xml><?xml version="1.0" encoding="utf-8"?>
<ds:datastoreItem xmlns:ds="http://schemas.openxmlformats.org/officeDocument/2006/customXml" ds:itemID="{2FA8E61C-4AF1-4AB8-A6A2-CFCE39C2AC07}">
  <ds:schemaRefs>
    <ds:schemaRef ds:uri="592733ea-428f-4285-baf9-fcf028c1f9f2"/>
    <ds:schemaRef ds:uri="870ad911-97fa-461a-9c78-6d6e571c1be4"/>
    <ds:schemaRef ds:uri="f682d54b-b2e8-4a00-9f71-ac4a7e6e2ad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E69D024-1175-4D85-A833-A15767812613}">
  <ds:schemaRefs>
    <ds:schemaRef ds:uri="http://schemas.microsoft.com/sharepoint/v3/contenttype/forms"/>
  </ds:schemaRefs>
</ds:datastoreItem>
</file>

<file path=customXml/itemProps3.xml><?xml version="1.0" encoding="utf-8"?>
<ds:datastoreItem xmlns:ds="http://schemas.openxmlformats.org/officeDocument/2006/customXml" ds:itemID="{894997B6-532B-4227-A9C3-6A4E3D353353}">
  <ds:schemaRefs>
    <ds:schemaRef ds:uri="http://schemas.microsoft.com/office/2006/documentManagement/types"/>
    <ds:schemaRef ds:uri="http://purl.org/dc/dcmitype/"/>
    <ds:schemaRef ds:uri="http://purl.org/dc/elements/1.1/"/>
    <ds:schemaRef ds:uri="http://schemas.microsoft.com/office/infopath/2007/PartnerControls"/>
    <ds:schemaRef ds:uri="http://schemas.openxmlformats.org/package/2006/metadata/core-properties"/>
    <ds:schemaRef ds:uri="http://www.w3.org/XML/1998/namespace"/>
    <ds:schemaRef ds:uri="http://schemas.microsoft.com/office/2006/metadata/properties"/>
    <ds:schemaRef ds:uri="http://purl.org/dc/terms/"/>
    <ds:schemaRef ds:uri="592733ea-428f-4285-baf9-fcf028c1f9f2"/>
    <ds:schemaRef ds:uri="f682d54b-b2e8-4a00-9f71-ac4a7e6e2add"/>
    <ds:schemaRef ds:uri="870ad911-97fa-461a-9c78-6d6e571c1be4"/>
  </ds:schemaRefs>
</ds:datastoreItem>
</file>

<file path=docProps/app.xml><?xml version="1.0" encoding="utf-8"?>
<Properties xmlns="http://schemas.openxmlformats.org/officeDocument/2006/extended-properties" xmlns:vt="http://schemas.openxmlformats.org/officeDocument/2006/docPropsVTypes">
  <Template>{5F51119C-DAC9-5041-9514-CBAA9F668FAA}tf10001121</Template>
  <TotalTime>9</TotalTime>
  <Words>2127</Words>
  <Application>Microsoft Office PowerPoint</Application>
  <PresentationFormat>Custom</PresentationFormat>
  <Paragraphs>299</Paragraphs>
  <Slides>7</Slides>
  <Notes>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9" baseType="lpstr">
      <vt:lpstr>-apple-system</vt:lpstr>
      <vt:lpstr>Arial</vt:lpstr>
      <vt:lpstr>BentonSansF Book</vt:lpstr>
      <vt:lpstr>BentonSansF Medium</vt:lpstr>
      <vt:lpstr>Cambria Math</vt:lpstr>
      <vt:lpstr>Quarto Light</vt:lpstr>
      <vt:lpstr>Times New Roman</vt:lpstr>
      <vt:lpstr>Ubuntu</vt:lpstr>
      <vt:lpstr>var(--chakra-fonts-heading)</vt:lpstr>
      <vt:lpstr>Wingdings</vt:lpstr>
      <vt:lpstr>White</vt:lpstr>
      <vt:lpstr>think-cell Slide</vt:lpstr>
      <vt:lpstr>AI Service for Car Workshops</vt:lpstr>
      <vt:lpstr>We Examined the Challenges Confronting the Car Repair Estimation Process</vt:lpstr>
      <vt:lpstr>Various Users Could Benefit from Streamlining the Repair Estimation Process </vt:lpstr>
      <vt:lpstr>We Introduce CLAIRE, Chat-based Tool for Car Inspection</vt:lpstr>
      <vt:lpstr>We Established a Framework for Measuring the Model on Technical Reliability and Delivery Effectiveness </vt:lpstr>
      <vt:lpstr> We Plan to Develop, Deploy and Scale Claire as a Web-Based App within 7 Months in a Team of 8 Professionals</vt:lpstr>
      <vt:lpstr>PowerPoint Presentation</vt:lpstr>
    </vt:vector>
  </TitlesOfParts>
  <Company>fro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esu Imhof</dc:creator>
  <cp:lastModifiedBy>Khaydarov, Valentin</cp:lastModifiedBy>
  <cp:revision>1</cp:revision>
  <dcterms:modified xsi:type="dcterms:W3CDTF">2024-03-24T22:5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960A798E77854CAC72C7FFA8AC44E8</vt:lpwstr>
  </property>
</Properties>
</file>